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3" r:id="rId5"/>
    <p:sldMasterId id="2147483671" r:id="rId6"/>
    <p:sldMasterId id="2147483696" r:id="rId7"/>
    <p:sldMasterId id="2147483705" r:id="rId8"/>
    <p:sldMasterId id="2147483714" r:id="rId9"/>
  </p:sldMasterIdLst>
  <p:notesMasterIdLst>
    <p:notesMasterId r:id="rId38"/>
  </p:notesMasterIdLst>
  <p:handoutMasterIdLst>
    <p:handoutMasterId r:id="rId39"/>
  </p:handoutMasterIdLst>
  <p:sldIdLst>
    <p:sldId id="1416256108" r:id="rId10"/>
    <p:sldId id="429" r:id="rId11"/>
    <p:sldId id="1416256119" r:id="rId12"/>
    <p:sldId id="2147472754" r:id="rId13"/>
    <p:sldId id="1416256095" r:id="rId14"/>
    <p:sldId id="3298" r:id="rId15"/>
    <p:sldId id="3299" r:id="rId16"/>
    <p:sldId id="3300" r:id="rId17"/>
    <p:sldId id="1416256148" r:id="rId18"/>
    <p:sldId id="1416256145" r:id="rId19"/>
    <p:sldId id="1416256096" r:id="rId20"/>
    <p:sldId id="1416256102" r:id="rId21"/>
    <p:sldId id="1416256115" r:id="rId22"/>
    <p:sldId id="1416256116" r:id="rId23"/>
    <p:sldId id="2147472757" r:id="rId24"/>
    <p:sldId id="2147472759" r:id="rId25"/>
    <p:sldId id="2147472760" r:id="rId26"/>
    <p:sldId id="2147472756" r:id="rId27"/>
    <p:sldId id="2147472761" r:id="rId28"/>
    <p:sldId id="1416256112" r:id="rId29"/>
    <p:sldId id="1215" r:id="rId30"/>
    <p:sldId id="2147472762" r:id="rId31"/>
    <p:sldId id="2147472764" r:id="rId32"/>
    <p:sldId id="2147472769" r:id="rId33"/>
    <p:sldId id="1416256098" r:id="rId34"/>
    <p:sldId id="2147472768" r:id="rId35"/>
    <p:sldId id="1416256114" r:id="rId36"/>
    <p:sldId id="1416256090" r:id="rId37"/>
  </p:sldIdLst>
  <p:sldSz cx="16256000" cy="9144000"/>
  <p:notesSz cx="6797675" cy="9926638"/>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23CA33-B376-834B-BE4B-9356DC5BA1C3}" name="LEGUERNEY Alexis" initials="LA" userId="S::alexis.leguerney@ccca-btp.fr::518446a1-643b-41b6-ae6b-4a3f71cc16ab" providerId="AD"/>
  <p188:author id="{91711FC1-3228-4319-4B8E-DDD7C79A3213}" name="GILLAND Mélanie" initials="GM" userId="S::mg.convictionsrh@ccca-btp.fr::b53cc87c-602f-476a-aee6-4a2c57ab200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NOULD Astou" initials="AA" lastIdx="1" clrIdx="0">
    <p:extLst>
      <p:ext uri="{19B8F6BF-5375-455C-9EA6-DF929625EA0E}">
        <p15:presenceInfo xmlns:p15="http://schemas.microsoft.com/office/powerpoint/2012/main" userId="S::astou.arnould@ccca-btp.fr::c5536a2a-d1d7-4698-9a9f-e580742130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EC02"/>
    <a:srgbClr val="F2F2F2"/>
    <a:srgbClr val="8C8C8C"/>
    <a:srgbClr val="FFFFFF"/>
    <a:srgbClr val="FDEB1A"/>
    <a:srgbClr val="FCFCFC"/>
    <a:srgbClr val="F3F1EF"/>
    <a:srgbClr val="FFED00"/>
    <a:srgbClr val="FFE500"/>
    <a:srgbClr val="284F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8F47D1-A492-52AE-4102-F5CD8AAF2DC9}" v="103" dt="2025-03-19T10:06:30.49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47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46" Type="http://schemas.microsoft.com/office/2016/11/relationships/changesInfo" Target="changesInfos/changesInfo1.xml"/><Relationship Id="rId20" Type="http://schemas.openxmlformats.org/officeDocument/2006/relationships/slide" Target="slides/slide11.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OIS Ewa" userId="S::em@ccca-btp.fr::e15a782e-2e74-42de-8a9b-bd971e1532ed" providerId="AD" clId="Web-{348F47D1-A492-52AE-4102-F5CD8AAF2DC9}"/>
    <pc:docChg chg="addSld delSld modSld addMainMaster">
      <pc:chgData name="MOLLOIS Ewa" userId="S::em@ccca-btp.fr::e15a782e-2e74-42de-8a9b-bd971e1532ed" providerId="AD" clId="Web-{348F47D1-A492-52AE-4102-F5CD8AAF2DC9}" dt="2025-03-19T10:06:30.413" v="88" actId="20577"/>
      <pc:docMkLst>
        <pc:docMk/>
      </pc:docMkLst>
      <pc:sldChg chg="addSp delSp modSp">
        <pc:chgData name="MOLLOIS Ewa" userId="S::em@ccca-btp.fr::e15a782e-2e74-42de-8a9b-bd971e1532ed" providerId="AD" clId="Web-{348F47D1-A492-52AE-4102-F5CD8AAF2DC9}" dt="2025-03-19T10:04:40.140" v="68" actId="20577"/>
        <pc:sldMkLst>
          <pc:docMk/>
          <pc:sldMk cId="2663093027" sldId="429"/>
        </pc:sldMkLst>
        <pc:spChg chg="mod">
          <ac:chgData name="MOLLOIS Ewa" userId="S::em@ccca-btp.fr::e15a782e-2e74-42de-8a9b-bd971e1532ed" providerId="AD" clId="Web-{348F47D1-A492-52AE-4102-F5CD8AAF2DC9}" dt="2025-03-19T10:03:18.369" v="35" actId="20577"/>
          <ac:spMkLst>
            <pc:docMk/>
            <pc:sldMk cId="2663093027" sldId="429"/>
            <ac:spMk id="6" creationId="{8AC260FA-E7B3-32D0-C671-E232F1027BAD}"/>
          </ac:spMkLst>
        </pc:spChg>
        <pc:spChg chg="mod">
          <ac:chgData name="MOLLOIS Ewa" userId="S::em@ccca-btp.fr::e15a782e-2e74-42de-8a9b-bd971e1532ed" providerId="AD" clId="Web-{348F47D1-A492-52AE-4102-F5CD8AAF2DC9}" dt="2025-03-19T10:02:39.523" v="25" actId="20577"/>
          <ac:spMkLst>
            <pc:docMk/>
            <pc:sldMk cId="2663093027" sldId="429"/>
            <ac:spMk id="10" creationId="{F2C151D3-6D2C-3267-BC11-F988C7540782}"/>
          </ac:spMkLst>
        </pc:spChg>
        <pc:spChg chg="add mod">
          <ac:chgData name="MOLLOIS Ewa" userId="S::em@ccca-btp.fr::e15a782e-2e74-42de-8a9b-bd971e1532ed" providerId="AD" clId="Web-{348F47D1-A492-52AE-4102-F5CD8AAF2DC9}" dt="2025-03-19T10:03:05.759" v="30" actId="1076"/>
          <ac:spMkLst>
            <pc:docMk/>
            <pc:sldMk cId="2663093027" sldId="429"/>
            <ac:spMk id="12" creationId="{4BC6DA40-16AD-7FA3-B975-591B7488E162}"/>
          </ac:spMkLst>
        </pc:spChg>
        <pc:spChg chg="add mod">
          <ac:chgData name="MOLLOIS Ewa" userId="S::em@ccca-btp.fr::e15a782e-2e74-42de-8a9b-bd971e1532ed" providerId="AD" clId="Web-{348F47D1-A492-52AE-4102-F5CD8AAF2DC9}" dt="2025-03-19T10:03:10.947" v="33" actId="20577"/>
          <ac:spMkLst>
            <pc:docMk/>
            <pc:sldMk cId="2663093027" sldId="429"/>
            <ac:spMk id="14" creationId="{8F96E5D2-4570-9AAD-8CDC-C46156DA7A38}"/>
          </ac:spMkLst>
        </pc:spChg>
        <pc:spChg chg="add del mod">
          <ac:chgData name="MOLLOIS Ewa" userId="S::em@ccca-btp.fr::e15a782e-2e74-42de-8a9b-bd971e1532ed" providerId="AD" clId="Web-{348F47D1-A492-52AE-4102-F5CD8AAF2DC9}" dt="2025-03-19T10:03:27.557" v="38"/>
          <ac:spMkLst>
            <pc:docMk/>
            <pc:sldMk cId="2663093027" sldId="429"/>
            <ac:spMk id="15" creationId="{1E1EC346-EB34-771D-EAF4-CC7A9094D798}"/>
          </ac:spMkLst>
        </pc:spChg>
        <pc:spChg chg="add mod">
          <ac:chgData name="MOLLOIS Ewa" userId="S::em@ccca-btp.fr::e15a782e-2e74-42de-8a9b-bd971e1532ed" providerId="AD" clId="Web-{348F47D1-A492-52AE-4102-F5CD8AAF2DC9}" dt="2025-03-19T10:03:45.121" v="43" actId="1076"/>
          <ac:spMkLst>
            <pc:docMk/>
            <pc:sldMk cId="2663093027" sldId="429"/>
            <ac:spMk id="16" creationId="{4B02F89F-85D5-4A38-0A25-9FE44D50A63D}"/>
          </ac:spMkLst>
        </pc:spChg>
        <pc:spChg chg="add mod">
          <ac:chgData name="MOLLOIS Ewa" userId="S::em@ccca-btp.fr::e15a782e-2e74-42de-8a9b-bd971e1532ed" providerId="AD" clId="Web-{348F47D1-A492-52AE-4102-F5CD8AAF2DC9}" dt="2025-03-19T10:04:17.404" v="51" actId="1076"/>
          <ac:spMkLst>
            <pc:docMk/>
            <pc:sldMk cId="2663093027" sldId="429"/>
            <ac:spMk id="17" creationId="{9B72E68B-1F8F-EE17-131D-017BE34CE1A0}"/>
          </ac:spMkLst>
        </pc:spChg>
        <pc:spChg chg="mod">
          <ac:chgData name="MOLLOIS Ewa" userId="S::em@ccca-btp.fr::e15a782e-2e74-42de-8a9b-bd971e1532ed" providerId="AD" clId="Web-{348F47D1-A492-52AE-4102-F5CD8AAF2DC9}" dt="2025-03-19T10:03:56.122" v="46" actId="20577"/>
          <ac:spMkLst>
            <pc:docMk/>
            <pc:sldMk cId="2663093027" sldId="429"/>
            <ac:spMk id="22" creationId="{AF85867E-1754-5410-D564-21875307CF3A}"/>
          </ac:spMkLst>
        </pc:spChg>
        <pc:spChg chg="mod">
          <ac:chgData name="MOLLOIS Ewa" userId="S::em@ccca-btp.fr::e15a782e-2e74-42de-8a9b-bd971e1532ed" providerId="AD" clId="Web-{348F47D1-A492-52AE-4102-F5CD8AAF2DC9}" dt="2025-03-19T10:04:40.140" v="68" actId="20577"/>
          <ac:spMkLst>
            <pc:docMk/>
            <pc:sldMk cId="2663093027" sldId="429"/>
            <ac:spMk id="37" creationId="{9F83844A-172C-F689-6389-C7D3EFE68056}"/>
          </ac:spMkLst>
        </pc:spChg>
      </pc:sldChg>
      <pc:sldChg chg="add">
        <pc:chgData name="MOLLOIS Ewa" userId="S::em@ccca-btp.fr::e15a782e-2e74-42de-8a9b-bd971e1532ed" providerId="AD" clId="Web-{348F47D1-A492-52AE-4102-F5CD8AAF2DC9}" dt="2025-03-19T10:01:36.175" v="2"/>
        <pc:sldMkLst>
          <pc:docMk/>
          <pc:sldMk cId="2436644921" sldId="3298"/>
        </pc:sldMkLst>
      </pc:sldChg>
      <pc:sldChg chg="add">
        <pc:chgData name="MOLLOIS Ewa" userId="S::em@ccca-btp.fr::e15a782e-2e74-42de-8a9b-bd971e1532ed" providerId="AD" clId="Web-{348F47D1-A492-52AE-4102-F5CD8AAF2DC9}" dt="2025-03-19T10:01:36.769" v="3"/>
        <pc:sldMkLst>
          <pc:docMk/>
          <pc:sldMk cId="2100317759" sldId="3299"/>
        </pc:sldMkLst>
      </pc:sldChg>
      <pc:sldChg chg="add">
        <pc:chgData name="MOLLOIS Ewa" userId="S::em@ccca-btp.fr::e15a782e-2e74-42de-8a9b-bd971e1532ed" providerId="AD" clId="Web-{348F47D1-A492-52AE-4102-F5CD8AAF2DC9}" dt="2025-03-19T10:01:37.066" v="4"/>
        <pc:sldMkLst>
          <pc:docMk/>
          <pc:sldMk cId="756911871" sldId="3300"/>
        </pc:sldMkLst>
      </pc:sldChg>
      <pc:sldChg chg="addSp delSp modSp">
        <pc:chgData name="MOLLOIS Ewa" userId="S::em@ccca-btp.fr::e15a782e-2e74-42de-8a9b-bd971e1532ed" providerId="AD" clId="Web-{348F47D1-A492-52AE-4102-F5CD8AAF2DC9}" dt="2025-03-19T10:01:18.080" v="1"/>
        <pc:sldMkLst>
          <pc:docMk/>
          <pc:sldMk cId="3072265482" sldId="1416256095"/>
        </pc:sldMkLst>
        <pc:picChg chg="add del mod">
          <ac:chgData name="MOLLOIS Ewa" userId="S::em@ccca-btp.fr::e15a782e-2e74-42de-8a9b-bd971e1532ed" providerId="AD" clId="Web-{348F47D1-A492-52AE-4102-F5CD8AAF2DC9}" dt="2025-03-19T10:01:18.080" v="1"/>
          <ac:picMkLst>
            <pc:docMk/>
            <pc:sldMk cId="3072265482" sldId="1416256095"/>
            <ac:picMk id="2" creationId="{5E7469BF-8704-7DFE-CADF-731BED03EE81}"/>
          </ac:picMkLst>
        </pc:picChg>
      </pc:sldChg>
      <pc:sldChg chg="modSp">
        <pc:chgData name="MOLLOIS Ewa" userId="S::em@ccca-btp.fr::e15a782e-2e74-42de-8a9b-bd971e1532ed" providerId="AD" clId="Web-{348F47D1-A492-52AE-4102-F5CD8AAF2DC9}" dt="2025-03-19T10:06:19.428" v="84" actId="20577"/>
        <pc:sldMkLst>
          <pc:docMk/>
          <pc:sldMk cId="4217844406" sldId="1416256096"/>
        </pc:sldMkLst>
        <pc:spChg chg="mod">
          <ac:chgData name="MOLLOIS Ewa" userId="S::em@ccca-btp.fr::e15a782e-2e74-42de-8a9b-bd971e1532ed" providerId="AD" clId="Web-{348F47D1-A492-52AE-4102-F5CD8AAF2DC9}" dt="2025-03-19T10:06:19.428" v="84" actId="20577"/>
          <ac:spMkLst>
            <pc:docMk/>
            <pc:sldMk cId="4217844406" sldId="1416256096"/>
            <ac:spMk id="6" creationId="{A0FD1C0C-D969-1998-54FA-0FC02520F5CB}"/>
          </ac:spMkLst>
        </pc:spChg>
      </pc:sldChg>
      <pc:sldChg chg="modSp">
        <pc:chgData name="MOLLOIS Ewa" userId="S::em@ccca-btp.fr::e15a782e-2e74-42de-8a9b-bd971e1532ed" providerId="AD" clId="Web-{348F47D1-A492-52AE-4102-F5CD8AAF2DC9}" dt="2025-03-19T10:06:30.413" v="88" actId="20577"/>
        <pc:sldMkLst>
          <pc:docMk/>
          <pc:sldMk cId="3818892215" sldId="1416256098"/>
        </pc:sldMkLst>
        <pc:spChg chg="mod">
          <ac:chgData name="MOLLOIS Ewa" userId="S::em@ccca-btp.fr::e15a782e-2e74-42de-8a9b-bd971e1532ed" providerId="AD" clId="Web-{348F47D1-A492-52AE-4102-F5CD8AAF2DC9}" dt="2025-03-19T10:06:30.413" v="88" actId="20577"/>
          <ac:spMkLst>
            <pc:docMk/>
            <pc:sldMk cId="3818892215" sldId="1416256098"/>
            <ac:spMk id="6" creationId="{A0FD1C0C-D969-1998-54FA-0FC02520F5CB}"/>
          </ac:spMkLst>
        </pc:spChg>
      </pc:sldChg>
      <pc:sldChg chg="del">
        <pc:chgData name="MOLLOIS Ewa" userId="S::em@ccca-btp.fr::e15a782e-2e74-42de-8a9b-bd971e1532ed" providerId="AD" clId="Web-{348F47D1-A492-52AE-4102-F5CD8AAF2DC9}" dt="2025-03-19T10:01:54.254" v="5"/>
        <pc:sldMkLst>
          <pc:docMk/>
          <pc:sldMk cId="2436644921" sldId="1416256109"/>
        </pc:sldMkLst>
      </pc:sldChg>
      <pc:sldChg chg="del">
        <pc:chgData name="MOLLOIS Ewa" userId="S::em@ccca-btp.fr::e15a782e-2e74-42de-8a9b-bd971e1532ed" providerId="AD" clId="Web-{348F47D1-A492-52AE-4102-F5CD8AAF2DC9}" dt="2025-03-19T10:02:00.067" v="6"/>
        <pc:sldMkLst>
          <pc:docMk/>
          <pc:sldMk cId="2100317759" sldId="1416256110"/>
        </pc:sldMkLst>
      </pc:sldChg>
      <pc:sldChg chg="del">
        <pc:chgData name="MOLLOIS Ewa" userId="S::em@ccca-btp.fr::e15a782e-2e74-42de-8a9b-bd971e1532ed" providerId="AD" clId="Web-{348F47D1-A492-52AE-4102-F5CD8AAF2DC9}" dt="2025-03-19T10:02:01.020" v="7"/>
        <pc:sldMkLst>
          <pc:docMk/>
          <pc:sldMk cId="756911871" sldId="1416256111"/>
        </pc:sldMkLst>
      </pc:sldChg>
      <pc:sldChg chg="add">
        <pc:chgData name="MOLLOIS Ewa" userId="S::em@ccca-btp.fr::e15a782e-2e74-42de-8a9b-bd971e1532ed" providerId="AD" clId="Web-{348F47D1-A492-52AE-4102-F5CD8AAF2DC9}" dt="2025-03-19T10:02:07.521" v="9"/>
        <pc:sldMkLst>
          <pc:docMk/>
          <pc:sldMk cId="4139177859" sldId="1416256145"/>
        </pc:sldMkLst>
      </pc:sldChg>
      <pc:sldChg chg="modSp add">
        <pc:chgData name="MOLLOIS Ewa" userId="S::em@ccca-btp.fr::e15a782e-2e74-42de-8a9b-bd971e1532ed" providerId="AD" clId="Web-{348F47D1-A492-52AE-4102-F5CD8AAF2DC9}" dt="2025-03-19T10:05:55.020" v="79" actId="20577"/>
        <pc:sldMkLst>
          <pc:docMk/>
          <pc:sldMk cId="2318460983" sldId="1416256148"/>
        </pc:sldMkLst>
        <pc:spChg chg="mod">
          <ac:chgData name="MOLLOIS Ewa" userId="S::em@ccca-btp.fr::e15a782e-2e74-42de-8a9b-bd971e1532ed" providerId="AD" clId="Web-{348F47D1-A492-52AE-4102-F5CD8AAF2DC9}" dt="2025-03-19T10:05:55.020" v="79" actId="20577"/>
          <ac:spMkLst>
            <pc:docMk/>
            <pc:sldMk cId="2318460983" sldId="1416256148"/>
            <ac:spMk id="2" creationId="{9DA47011-7108-2A5E-7301-7A3AE78E7757}"/>
          </ac:spMkLst>
        </pc:spChg>
      </pc:sldChg>
      <pc:sldChg chg="modSp">
        <pc:chgData name="MOLLOIS Ewa" userId="S::em@ccca-btp.fr::e15a782e-2e74-42de-8a9b-bd971e1532ed" providerId="AD" clId="Web-{348F47D1-A492-52AE-4102-F5CD8AAF2DC9}" dt="2025-03-19T10:06:23.412" v="86" actId="20577"/>
        <pc:sldMkLst>
          <pc:docMk/>
          <pc:sldMk cId="4052310318" sldId="2147472761"/>
        </pc:sldMkLst>
        <pc:spChg chg="mod">
          <ac:chgData name="MOLLOIS Ewa" userId="S::em@ccca-btp.fr::e15a782e-2e74-42de-8a9b-bd971e1532ed" providerId="AD" clId="Web-{348F47D1-A492-52AE-4102-F5CD8AAF2DC9}" dt="2025-03-19T10:06:23.412" v="86" actId="20577"/>
          <ac:spMkLst>
            <pc:docMk/>
            <pc:sldMk cId="4052310318" sldId="2147472761"/>
            <ac:spMk id="6" creationId="{92103C9A-5B77-2B31-0E0B-E19F8AB6E625}"/>
          </ac:spMkLst>
        </pc:spChg>
      </pc:sldChg>
      <pc:sldMasterChg chg="add addSldLayout">
        <pc:chgData name="MOLLOIS Ewa" userId="S::em@ccca-btp.fr::e15a782e-2e74-42de-8a9b-bd971e1532ed" providerId="AD" clId="Web-{348F47D1-A492-52AE-4102-F5CD8AAF2DC9}" dt="2025-03-19T10:01:36.175" v="2"/>
        <pc:sldMasterMkLst>
          <pc:docMk/>
          <pc:sldMasterMk cId="3622318922" sldId="2147483714"/>
        </pc:sldMasterMkLst>
        <pc:sldLayoutChg chg="add">
          <pc:chgData name="MOLLOIS Ewa" userId="S::em@ccca-btp.fr::e15a782e-2e74-42de-8a9b-bd971e1532ed" providerId="AD" clId="Web-{348F47D1-A492-52AE-4102-F5CD8AAF2DC9}" dt="2025-03-19T10:01:36.175" v="2"/>
          <pc:sldLayoutMkLst>
            <pc:docMk/>
            <pc:sldMasterMk cId="3622318922" sldId="2147483714"/>
            <pc:sldLayoutMk cId="3971584040" sldId="2147483715"/>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1134387024" sldId="2147483716"/>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1281926766" sldId="2147483717"/>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148423628" sldId="2147483718"/>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1966786557" sldId="2147483719"/>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2663015820" sldId="2147483720"/>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3697630495" sldId="2147483721"/>
          </pc:sldLayoutMkLst>
        </pc:sldLayoutChg>
        <pc:sldLayoutChg chg="add">
          <pc:chgData name="MOLLOIS Ewa" userId="S::em@ccca-btp.fr::e15a782e-2e74-42de-8a9b-bd971e1532ed" providerId="AD" clId="Web-{348F47D1-A492-52AE-4102-F5CD8AAF2DC9}" dt="2025-03-19T10:01:36.175" v="2"/>
          <pc:sldLayoutMkLst>
            <pc:docMk/>
            <pc:sldMasterMk cId="3622318922" sldId="2147483714"/>
            <pc:sldLayoutMk cId="2057118616" sldId="2147483722"/>
          </pc:sldLayoutMkLst>
        </pc:sldLayoutChg>
      </pc:sldMasterChg>
    </pc:docChg>
  </pc:docChgLst>
  <pc:docChgLst>
    <pc:chgData name="KOMBATE Martin-Tilate" userId="S::martin-tilate.kombate@ccca-btp.fr::57f776a2-400b-4e4d-b9ba-f24a367634d2" providerId="AD" clId="Web-{7F0CAADD-FCD3-C83B-7219-77CF83BAE252}"/>
    <pc:docChg chg="modSld">
      <pc:chgData name="KOMBATE Martin-Tilate" userId="S::martin-tilate.kombate@ccca-btp.fr::57f776a2-400b-4e4d-b9ba-f24a367634d2" providerId="AD" clId="Web-{7F0CAADD-FCD3-C83B-7219-77CF83BAE252}" dt="2025-02-05T14:12:37.683" v="5" actId="14100"/>
      <pc:docMkLst>
        <pc:docMk/>
      </pc:docMkLst>
      <pc:sldChg chg="modSp">
        <pc:chgData name="KOMBATE Martin-Tilate" userId="S::martin-tilate.kombate@ccca-btp.fr::57f776a2-400b-4e4d-b9ba-f24a367634d2" providerId="AD" clId="Web-{7F0CAADD-FCD3-C83B-7219-77CF83BAE252}" dt="2025-02-05T13:55:29.262" v="1" actId="1076"/>
        <pc:sldMkLst>
          <pc:docMk/>
          <pc:sldMk cId="2436644921" sldId="1416256109"/>
        </pc:sldMkLst>
        <pc:grpChg chg="mod">
          <ac:chgData name="KOMBATE Martin-Tilate" userId="S::martin-tilate.kombate@ccca-btp.fr::57f776a2-400b-4e4d-b9ba-f24a367634d2" providerId="AD" clId="Web-{7F0CAADD-FCD3-C83B-7219-77CF83BAE252}" dt="2025-02-05T13:55:29.262" v="1" actId="1076"/>
          <ac:grpSpMkLst>
            <pc:docMk/>
            <pc:sldMk cId="2436644921" sldId="1416256109"/>
            <ac:grpSpMk id="38" creationId="{B7B0EB06-C5CE-25E8-B170-47AB9391C244}"/>
          </ac:grpSpMkLst>
        </pc:grpChg>
      </pc:sldChg>
      <pc:sldChg chg="modSp">
        <pc:chgData name="KOMBATE Martin-Tilate" userId="S::martin-tilate.kombate@ccca-btp.fr::57f776a2-400b-4e4d-b9ba-f24a367634d2" providerId="AD" clId="Web-{7F0CAADD-FCD3-C83B-7219-77CF83BAE252}" dt="2025-02-05T14:10:10.460" v="3" actId="1076"/>
        <pc:sldMkLst>
          <pc:docMk/>
          <pc:sldMk cId="2100317759" sldId="1416256110"/>
        </pc:sldMkLst>
        <pc:spChg chg="mod">
          <ac:chgData name="KOMBATE Martin-Tilate" userId="S::martin-tilate.kombate@ccca-btp.fr::57f776a2-400b-4e4d-b9ba-f24a367634d2" providerId="AD" clId="Web-{7F0CAADD-FCD3-C83B-7219-77CF83BAE252}" dt="2025-02-05T14:10:10.460" v="3" actId="1076"/>
          <ac:spMkLst>
            <pc:docMk/>
            <pc:sldMk cId="2100317759" sldId="1416256110"/>
            <ac:spMk id="83" creationId="{FF1992D8-B585-75F2-0D6F-AB36824C0609}"/>
          </ac:spMkLst>
        </pc:spChg>
      </pc:sldChg>
      <pc:sldChg chg="modSp">
        <pc:chgData name="KOMBATE Martin-Tilate" userId="S::martin-tilate.kombate@ccca-btp.fr::57f776a2-400b-4e4d-b9ba-f24a367634d2" providerId="AD" clId="Web-{7F0CAADD-FCD3-C83B-7219-77CF83BAE252}" dt="2025-02-05T14:12:37.683" v="5" actId="14100"/>
        <pc:sldMkLst>
          <pc:docMk/>
          <pc:sldMk cId="756911871" sldId="1416256111"/>
        </pc:sldMkLst>
        <pc:spChg chg="mod">
          <ac:chgData name="KOMBATE Martin-Tilate" userId="S::martin-tilate.kombate@ccca-btp.fr::57f776a2-400b-4e4d-b9ba-f24a367634d2" providerId="AD" clId="Web-{7F0CAADD-FCD3-C83B-7219-77CF83BAE252}" dt="2025-02-05T14:12:37.683" v="5" actId="14100"/>
          <ac:spMkLst>
            <pc:docMk/>
            <pc:sldMk cId="756911871" sldId="1416256111"/>
            <ac:spMk id="69" creationId="{D2F0CCD2-D584-E5A8-AC53-D3C21DE0FDCE}"/>
          </ac:spMkLst>
        </pc:spChg>
      </pc:sldChg>
    </pc:docChg>
  </pc:docChgLst>
  <pc:docChgLst>
    <pc:chgData name="LEGUERNEY Alexis" userId="518446a1-643b-41b6-ae6b-4a3f71cc16ab" providerId="ADAL" clId="{39844FF0-D5A3-4848-9184-C9BEB376352A}"/>
    <pc:docChg chg="undo custSel modSld">
      <pc:chgData name="LEGUERNEY Alexis" userId="518446a1-643b-41b6-ae6b-4a3f71cc16ab" providerId="ADAL" clId="{39844FF0-D5A3-4848-9184-C9BEB376352A}" dt="2025-03-12T10:20:25.542" v="471" actId="1076"/>
      <pc:docMkLst>
        <pc:docMk/>
      </pc:docMkLst>
      <pc:sldChg chg="modSp mod">
        <pc:chgData name="LEGUERNEY Alexis" userId="518446a1-643b-41b6-ae6b-4a3f71cc16ab" providerId="ADAL" clId="{39844FF0-D5A3-4848-9184-C9BEB376352A}" dt="2025-02-05T10:19:26.707" v="88" actId="20577"/>
        <pc:sldMkLst>
          <pc:docMk/>
          <pc:sldMk cId="4217844406" sldId="1416256096"/>
        </pc:sldMkLst>
        <pc:spChg chg="mod">
          <ac:chgData name="LEGUERNEY Alexis" userId="518446a1-643b-41b6-ae6b-4a3f71cc16ab" providerId="ADAL" clId="{39844FF0-D5A3-4848-9184-C9BEB376352A}" dt="2025-02-05T10:19:26.707" v="88" actId="20577"/>
          <ac:spMkLst>
            <pc:docMk/>
            <pc:sldMk cId="4217844406" sldId="1416256096"/>
            <ac:spMk id="6" creationId="{A0FD1C0C-D969-1998-54FA-0FC02520F5CB}"/>
          </ac:spMkLst>
        </pc:spChg>
      </pc:sldChg>
      <pc:sldChg chg="addSp delSp modSp mod">
        <pc:chgData name="LEGUERNEY Alexis" userId="518446a1-643b-41b6-ae6b-4a3f71cc16ab" providerId="ADAL" clId="{39844FF0-D5A3-4848-9184-C9BEB376352A}" dt="2025-02-28T15:45:10.798" v="470" actId="20577"/>
        <pc:sldMkLst>
          <pc:docMk/>
          <pc:sldMk cId="2436644921" sldId="1416256109"/>
        </pc:sldMkLst>
        <pc:spChg chg="mod">
          <ac:chgData name="LEGUERNEY Alexis" userId="518446a1-643b-41b6-ae6b-4a3f71cc16ab" providerId="ADAL" clId="{39844FF0-D5A3-4848-9184-C9BEB376352A}" dt="2025-02-28T15:15:27.007" v="220" actId="20577"/>
          <ac:spMkLst>
            <pc:docMk/>
            <pc:sldMk cId="2436644921" sldId="1416256109"/>
            <ac:spMk id="19" creationId="{7BACC506-81E3-A2B2-EF67-78B669BB1910}"/>
          </ac:spMkLst>
        </pc:spChg>
        <pc:spChg chg="del">
          <ac:chgData name="LEGUERNEY Alexis" userId="518446a1-643b-41b6-ae6b-4a3f71cc16ab" providerId="ADAL" clId="{39844FF0-D5A3-4848-9184-C9BEB376352A}" dt="2025-02-28T15:31:35.206" v="382" actId="478"/>
          <ac:spMkLst>
            <pc:docMk/>
            <pc:sldMk cId="2436644921" sldId="1416256109"/>
            <ac:spMk id="23" creationId="{DDBA88B7-44F6-7D6A-E16C-44B8F2DD2EDB}"/>
          </ac:spMkLst>
        </pc:spChg>
        <pc:spChg chg="del">
          <ac:chgData name="LEGUERNEY Alexis" userId="518446a1-643b-41b6-ae6b-4a3f71cc16ab" providerId="ADAL" clId="{39844FF0-D5A3-4848-9184-C9BEB376352A}" dt="2025-02-28T15:32:09.170" v="389" actId="478"/>
          <ac:spMkLst>
            <pc:docMk/>
            <pc:sldMk cId="2436644921" sldId="1416256109"/>
            <ac:spMk id="24" creationId="{63298DCD-6C59-4054-B698-046E6FF7F7BE}"/>
          </ac:spMkLst>
        </pc:spChg>
        <pc:spChg chg="del">
          <ac:chgData name="LEGUERNEY Alexis" userId="518446a1-643b-41b6-ae6b-4a3f71cc16ab" providerId="ADAL" clId="{39844FF0-D5A3-4848-9184-C9BEB376352A}" dt="2025-02-28T15:40:18.100" v="462" actId="478"/>
          <ac:spMkLst>
            <pc:docMk/>
            <pc:sldMk cId="2436644921" sldId="1416256109"/>
            <ac:spMk id="29" creationId="{067EA84A-6566-9A56-1216-037B37D839E5}"/>
          </ac:spMkLst>
        </pc:spChg>
        <pc:spChg chg="mod">
          <ac:chgData name="LEGUERNEY Alexis" userId="518446a1-643b-41b6-ae6b-4a3f71cc16ab" providerId="ADAL" clId="{39844FF0-D5A3-4848-9184-C9BEB376352A}" dt="2025-02-28T15:29:18.551" v="371" actId="14100"/>
          <ac:spMkLst>
            <pc:docMk/>
            <pc:sldMk cId="2436644921" sldId="1416256109"/>
            <ac:spMk id="33" creationId="{EFD0C094-CF3C-31C6-7FDD-0177E8CB301A}"/>
          </ac:spMkLst>
        </pc:spChg>
        <pc:spChg chg="mod">
          <ac:chgData name="LEGUERNEY Alexis" userId="518446a1-643b-41b6-ae6b-4a3f71cc16ab" providerId="ADAL" clId="{39844FF0-D5A3-4848-9184-C9BEB376352A}" dt="2025-02-28T15:25:20.584" v="354" actId="14100"/>
          <ac:spMkLst>
            <pc:docMk/>
            <pc:sldMk cId="2436644921" sldId="1416256109"/>
            <ac:spMk id="44" creationId="{3CAB2479-B70D-CE08-D131-20CD10CA417D}"/>
          </ac:spMkLst>
        </pc:spChg>
        <pc:spChg chg="add del">
          <ac:chgData name="LEGUERNEY Alexis" userId="518446a1-643b-41b6-ae6b-4a3f71cc16ab" providerId="ADAL" clId="{39844FF0-D5A3-4848-9184-C9BEB376352A}" dt="2025-02-28T15:28:14.760" v="365" actId="478"/>
          <ac:spMkLst>
            <pc:docMk/>
            <pc:sldMk cId="2436644921" sldId="1416256109"/>
            <ac:spMk id="45" creationId="{4E012153-6EBD-BC49-37A1-D3E28D1EF001}"/>
          </ac:spMkLst>
        </pc:spChg>
        <pc:spChg chg="del mod topLvl">
          <ac:chgData name="LEGUERNEY Alexis" userId="518446a1-643b-41b6-ae6b-4a3f71cc16ab" providerId="ADAL" clId="{39844FF0-D5A3-4848-9184-C9BEB376352A}" dt="2025-02-28T15:28:11.830" v="364" actId="478"/>
          <ac:spMkLst>
            <pc:docMk/>
            <pc:sldMk cId="2436644921" sldId="1416256109"/>
            <ac:spMk id="49" creationId="{34C46DCC-A0AB-EAB1-D83E-0288940EBE40}"/>
          </ac:spMkLst>
        </pc:spChg>
        <pc:spChg chg="add mod">
          <ac:chgData name="LEGUERNEY Alexis" userId="518446a1-643b-41b6-ae6b-4a3f71cc16ab" providerId="ADAL" clId="{39844FF0-D5A3-4848-9184-C9BEB376352A}" dt="2025-02-28T15:45:10.798" v="470" actId="20577"/>
          <ac:spMkLst>
            <pc:docMk/>
            <pc:sldMk cId="2436644921" sldId="1416256109"/>
            <ac:spMk id="50" creationId="{33FA42AA-BF1A-7CE4-5369-BF6C76434FB6}"/>
          </ac:spMkLst>
        </pc:spChg>
        <pc:spChg chg="add mod">
          <ac:chgData name="LEGUERNEY Alexis" userId="518446a1-643b-41b6-ae6b-4a3f71cc16ab" providerId="ADAL" clId="{39844FF0-D5A3-4848-9184-C9BEB376352A}" dt="2025-02-28T15:31:26.749" v="380" actId="164"/>
          <ac:spMkLst>
            <pc:docMk/>
            <pc:sldMk cId="2436644921" sldId="1416256109"/>
            <ac:spMk id="51" creationId="{D639F908-2B70-F714-AE33-2A64E79D3898}"/>
          </ac:spMkLst>
        </pc:spChg>
        <pc:spChg chg="add mod">
          <ac:chgData name="LEGUERNEY Alexis" userId="518446a1-643b-41b6-ae6b-4a3f71cc16ab" providerId="ADAL" clId="{39844FF0-D5A3-4848-9184-C9BEB376352A}" dt="2025-02-28T15:31:49.835" v="385" actId="404"/>
          <ac:spMkLst>
            <pc:docMk/>
            <pc:sldMk cId="2436644921" sldId="1416256109"/>
            <ac:spMk id="52" creationId="{0A88916F-110F-4602-9CAA-AA27CE97FB1A}"/>
          </ac:spMkLst>
        </pc:spChg>
        <pc:spChg chg="mod">
          <ac:chgData name="LEGUERNEY Alexis" userId="518446a1-643b-41b6-ae6b-4a3f71cc16ab" providerId="ADAL" clId="{39844FF0-D5A3-4848-9184-C9BEB376352A}" dt="2025-02-28T15:32:03.109" v="387"/>
          <ac:spMkLst>
            <pc:docMk/>
            <pc:sldMk cId="2436644921" sldId="1416256109"/>
            <ac:spMk id="56" creationId="{FDEFD78E-9978-0CF5-7FBA-FB62E35B855B}"/>
          </ac:spMkLst>
        </pc:spChg>
        <pc:spChg chg="mod">
          <ac:chgData name="LEGUERNEY Alexis" userId="518446a1-643b-41b6-ae6b-4a3f71cc16ab" providerId="ADAL" clId="{39844FF0-D5A3-4848-9184-C9BEB376352A}" dt="2025-02-28T15:32:20.708" v="392" actId="20577"/>
          <ac:spMkLst>
            <pc:docMk/>
            <pc:sldMk cId="2436644921" sldId="1416256109"/>
            <ac:spMk id="57" creationId="{26B63F23-B2A0-7DED-FA91-B220372877F0}"/>
          </ac:spMkLst>
        </pc:spChg>
        <pc:spChg chg="mod">
          <ac:chgData name="LEGUERNEY Alexis" userId="518446a1-643b-41b6-ae6b-4a3f71cc16ab" providerId="ADAL" clId="{39844FF0-D5A3-4848-9184-C9BEB376352A}" dt="2025-02-28T15:40:18.586" v="463"/>
          <ac:spMkLst>
            <pc:docMk/>
            <pc:sldMk cId="2436644921" sldId="1416256109"/>
            <ac:spMk id="61" creationId="{8E436D56-DD76-5D6B-F3BA-7F1E00499080}"/>
          </ac:spMkLst>
        </pc:spChg>
        <pc:spChg chg="mod">
          <ac:chgData name="LEGUERNEY Alexis" userId="518446a1-643b-41b6-ae6b-4a3f71cc16ab" providerId="ADAL" clId="{39844FF0-D5A3-4848-9184-C9BEB376352A}" dt="2025-02-28T15:40:18.586" v="463"/>
          <ac:spMkLst>
            <pc:docMk/>
            <pc:sldMk cId="2436644921" sldId="1416256109"/>
            <ac:spMk id="62" creationId="{C2D2AE9D-B836-3BE1-B920-07377B947318}"/>
          </ac:spMkLst>
        </pc:spChg>
        <pc:grpChg chg="add del mod">
          <ac:chgData name="LEGUERNEY Alexis" userId="518446a1-643b-41b6-ae6b-4a3f71cc16ab" providerId="ADAL" clId="{39844FF0-D5A3-4848-9184-C9BEB376352A}" dt="2025-02-28T15:25:21.206" v="355"/>
          <ac:grpSpMkLst>
            <pc:docMk/>
            <pc:sldMk cId="2436644921" sldId="1416256109"/>
            <ac:grpSpMk id="22" creationId="{37C127A2-EFD6-CA44-B908-A13E19604521}"/>
          </ac:grpSpMkLst>
        </pc:grpChg>
        <pc:grpChg chg="add del mod">
          <ac:chgData name="LEGUERNEY Alexis" userId="518446a1-643b-41b6-ae6b-4a3f71cc16ab" providerId="ADAL" clId="{39844FF0-D5A3-4848-9184-C9BEB376352A}" dt="2025-02-28T15:28:11.830" v="364" actId="478"/>
          <ac:grpSpMkLst>
            <pc:docMk/>
            <pc:sldMk cId="2436644921" sldId="1416256109"/>
            <ac:grpSpMk id="47" creationId="{BE7DAB3E-A151-FB95-6AE6-4F56F0CECE86}"/>
          </ac:grpSpMkLst>
        </pc:grpChg>
        <pc:grpChg chg="add mod">
          <ac:chgData name="LEGUERNEY Alexis" userId="518446a1-643b-41b6-ae6b-4a3f71cc16ab" providerId="ADAL" clId="{39844FF0-D5A3-4848-9184-C9BEB376352A}" dt="2025-02-28T15:31:58.052" v="386" actId="1076"/>
          <ac:grpSpMkLst>
            <pc:docMk/>
            <pc:sldMk cId="2436644921" sldId="1416256109"/>
            <ac:grpSpMk id="54" creationId="{5450AAC1-732F-273D-1A9C-5FA2D13D3DC3}"/>
          </ac:grpSpMkLst>
        </pc:grpChg>
        <pc:grpChg chg="add mod">
          <ac:chgData name="LEGUERNEY Alexis" userId="518446a1-643b-41b6-ae6b-4a3f71cc16ab" providerId="ADAL" clId="{39844FF0-D5A3-4848-9184-C9BEB376352A}" dt="2025-02-28T15:32:16.761" v="390" actId="1076"/>
          <ac:grpSpMkLst>
            <pc:docMk/>
            <pc:sldMk cId="2436644921" sldId="1416256109"/>
            <ac:grpSpMk id="55" creationId="{2E40CA1E-2BEB-93D7-8EF2-6167F3446648}"/>
          </ac:grpSpMkLst>
        </pc:grpChg>
        <pc:grpChg chg="add mod">
          <ac:chgData name="LEGUERNEY Alexis" userId="518446a1-643b-41b6-ae6b-4a3f71cc16ab" providerId="ADAL" clId="{39844FF0-D5A3-4848-9184-C9BEB376352A}" dt="2025-02-28T15:33:28.389" v="401" actId="164"/>
          <ac:grpSpMkLst>
            <pc:docMk/>
            <pc:sldMk cId="2436644921" sldId="1416256109"/>
            <ac:grpSpMk id="59" creationId="{CE4C425C-DD2D-4ABC-1723-846A4017107B}"/>
          </ac:grpSpMkLst>
        </pc:grpChg>
        <pc:grpChg chg="add mod">
          <ac:chgData name="LEGUERNEY Alexis" userId="518446a1-643b-41b6-ae6b-4a3f71cc16ab" providerId="ADAL" clId="{39844FF0-D5A3-4848-9184-C9BEB376352A}" dt="2025-02-28T15:40:22.961" v="464" actId="1076"/>
          <ac:grpSpMkLst>
            <pc:docMk/>
            <pc:sldMk cId="2436644921" sldId="1416256109"/>
            <ac:grpSpMk id="60" creationId="{3463D045-41AA-B51A-800E-3947A40A95AC}"/>
          </ac:grpSpMkLst>
        </pc:grpChg>
        <pc:picChg chg="mod">
          <ac:chgData name="LEGUERNEY Alexis" userId="518446a1-643b-41b6-ae6b-4a3f71cc16ab" providerId="ADAL" clId="{39844FF0-D5A3-4848-9184-C9BEB376352A}" dt="2025-02-28T15:25:20.584" v="354" actId="14100"/>
          <ac:picMkLst>
            <pc:docMk/>
            <pc:sldMk cId="2436644921" sldId="1416256109"/>
            <ac:picMk id="43" creationId="{E9E7EA2A-4238-B883-C2BC-A04CFA9A8252}"/>
          </ac:picMkLst>
        </pc:picChg>
        <pc:picChg chg="mod topLvl">
          <ac:chgData name="LEGUERNEY Alexis" userId="518446a1-643b-41b6-ae6b-4a3f71cc16ab" providerId="ADAL" clId="{39844FF0-D5A3-4848-9184-C9BEB376352A}" dt="2025-02-28T15:33:28.389" v="401" actId="164"/>
          <ac:picMkLst>
            <pc:docMk/>
            <pc:sldMk cId="2436644921" sldId="1416256109"/>
            <ac:picMk id="48" creationId="{9B92FE2B-4B82-041A-388B-1A865A7C8C14}"/>
          </ac:picMkLst>
        </pc:picChg>
        <pc:picChg chg="add mod">
          <ac:chgData name="LEGUERNEY Alexis" userId="518446a1-643b-41b6-ae6b-4a3f71cc16ab" providerId="ADAL" clId="{39844FF0-D5A3-4848-9184-C9BEB376352A}" dt="2025-02-28T15:31:26.749" v="380" actId="164"/>
          <ac:picMkLst>
            <pc:docMk/>
            <pc:sldMk cId="2436644921" sldId="1416256109"/>
            <ac:picMk id="53" creationId="{39AFDBDF-7258-0DDC-0745-6217E47C44D7}"/>
          </ac:picMkLst>
        </pc:picChg>
        <pc:picChg chg="mod">
          <ac:chgData name="LEGUERNEY Alexis" userId="518446a1-643b-41b6-ae6b-4a3f71cc16ab" providerId="ADAL" clId="{39844FF0-D5A3-4848-9184-C9BEB376352A}" dt="2025-02-28T15:32:03.109" v="387"/>
          <ac:picMkLst>
            <pc:docMk/>
            <pc:sldMk cId="2436644921" sldId="1416256109"/>
            <ac:picMk id="58" creationId="{ABBD2A76-D7F6-35C5-B7C2-8CE9EA526214}"/>
          </ac:picMkLst>
        </pc:picChg>
        <pc:picChg chg="mod">
          <ac:chgData name="LEGUERNEY Alexis" userId="518446a1-643b-41b6-ae6b-4a3f71cc16ab" providerId="ADAL" clId="{39844FF0-D5A3-4848-9184-C9BEB376352A}" dt="2025-02-28T15:40:18.586" v="463"/>
          <ac:picMkLst>
            <pc:docMk/>
            <pc:sldMk cId="2436644921" sldId="1416256109"/>
            <ac:picMk id="63" creationId="{6BE1E3EB-07EB-1EAE-F0A2-40A1663EC82F}"/>
          </ac:picMkLst>
        </pc:picChg>
      </pc:sldChg>
      <pc:sldChg chg="addSp delSp modSp mod">
        <pc:chgData name="LEGUERNEY Alexis" userId="518446a1-643b-41b6-ae6b-4a3f71cc16ab" providerId="ADAL" clId="{39844FF0-D5A3-4848-9184-C9BEB376352A}" dt="2025-02-28T15:35:27.866" v="431" actId="20577"/>
        <pc:sldMkLst>
          <pc:docMk/>
          <pc:sldMk cId="2100317759" sldId="1416256110"/>
        </pc:sldMkLst>
        <pc:spChg chg="mod">
          <ac:chgData name="LEGUERNEY Alexis" userId="518446a1-643b-41b6-ae6b-4a3f71cc16ab" providerId="ADAL" clId="{39844FF0-D5A3-4848-9184-C9BEB376352A}" dt="2025-02-28T15:32:29.604" v="393"/>
          <ac:spMkLst>
            <pc:docMk/>
            <pc:sldMk cId="2100317759" sldId="1416256110"/>
            <ac:spMk id="8" creationId="{ED025EA9-D63F-1C39-BC6F-91D1361DBCFD}"/>
          </ac:spMkLst>
        </pc:spChg>
        <pc:spChg chg="mod">
          <ac:chgData name="LEGUERNEY Alexis" userId="518446a1-643b-41b6-ae6b-4a3f71cc16ab" providerId="ADAL" clId="{39844FF0-D5A3-4848-9184-C9BEB376352A}" dt="2025-02-28T15:32:44.652" v="396" actId="20577"/>
          <ac:spMkLst>
            <pc:docMk/>
            <pc:sldMk cId="2100317759" sldId="1416256110"/>
            <ac:spMk id="9" creationId="{824D5AEC-0E80-42B1-97AD-279BD96C1D22}"/>
          </ac:spMkLst>
        </pc:spChg>
        <pc:spChg chg="mod">
          <ac:chgData name="LEGUERNEY Alexis" userId="518446a1-643b-41b6-ae6b-4a3f71cc16ab" providerId="ADAL" clId="{39844FF0-D5A3-4848-9184-C9BEB376352A}" dt="2025-02-28T15:32:56.238" v="398"/>
          <ac:spMkLst>
            <pc:docMk/>
            <pc:sldMk cId="2100317759" sldId="1416256110"/>
            <ac:spMk id="13" creationId="{E1E8D16D-5264-0C45-E439-6FCAC3CFB47F}"/>
          </ac:spMkLst>
        </pc:spChg>
        <pc:spChg chg="mod">
          <ac:chgData name="LEGUERNEY Alexis" userId="518446a1-643b-41b6-ae6b-4a3f71cc16ab" providerId="ADAL" clId="{39844FF0-D5A3-4848-9184-C9BEB376352A}" dt="2025-02-28T15:32:56.238" v="398"/>
          <ac:spMkLst>
            <pc:docMk/>
            <pc:sldMk cId="2100317759" sldId="1416256110"/>
            <ac:spMk id="14" creationId="{E058E9DE-555C-A564-8E64-0968A29D045B}"/>
          </ac:spMkLst>
        </pc:spChg>
        <pc:spChg chg="mod">
          <ac:chgData name="LEGUERNEY Alexis" userId="518446a1-643b-41b6-ae6b-4a3f71cc16ab" providerId="ADAL" clId="{39844FF0-D5A3-4848-9184-C9BEB376352A}" dt="2025-02-28T15:34:09.019" v="411" actId="20577"/>
          <ac:spMkLst>
            <pc:docMk/>
            <pc:sldMk cId="2100317759" sldId="1416256110"/>
            <ac:spMk id="18" creationId="{5582EE8C-DF2F-3968-318E-22C1F4AD3977}"/>
          </ac:spMkLst>
        </pc:spChg>
        <pc:spChg chg="mod">
          <ac:chgData name="LEGUERNEY Alexis" userId="518446a1-643b-41b6-ae6b-4a3f71cc16ab" providerId="ADAL" clId="{39844FF0-D5A3-4848-9184-C9BEB376352A}" dt="2025-02-28T15:34:23.703" v="414"/>
          <ac:spMkLst>
            <pc:docMk/>
            <pc:sldMk cId="2100317759" sldId="1416256110"/>
            <ac:spMk id="20" creationId="{E13FF33A-A145-1CF6-2B0E-4ABBD322976A}"/>
          </ac:spMkLst>
        </pc:spChg>
        <pc:spChg chg="mod">
          <ac:chgData name="LEGUERNEY Alexis" userId="518446a1-643b-41b6-ae6b-4a3f71cc16ab" providerId="ADAL" clId="{39844FF0-D5A3-4848-9184-C9BEB376352A}" dt="2025-02-28T15:35:27.866" v="431" actId="20577"/>
          <ac:spMkLst>
            <pc:docMk/>
            <pc:sldMk cId="2100317759" sldId="1416256110"/>
            <ac:spMk id="22" creationId="{45BB34E5-34B6-4671-C6A6-739A24049191}"/>
          </ac:spMkLst>
        </pc:spChg>
        <pc:spChg chg="mod">
          <ac:chgData name="LEGUERNEY Alexis" userId="518446a1-643b-41b6-ae6b-4a3f71cc16ab" providerId="ADAL" clId="{39844FF0-D5A3-4848-9184-C9BEB376352A}" dt="2025-02-28T15:34:30.061" v="415" actId="1076"/>
          <ac:spMkLst>
            <pc:docMk/>
            <pc:sldMk cId="2100317759" sldId="1416256110"/>
            <ac:spMk id="73" creationId="{8A3F240E-88BC-F66E-AA30-3F00A5A0A292}"/>
          </ac:spMkLst>
        </pc:spChg>
        <pc:spChg chg="del">
          <ac:chgData name="LEGUERNEY Alexis" userId="518446a1-643b-41b6-ae6b-4a3f71cc16ab" providerId="ADAL" clId="{39844FF0-D5A3-4848-9184-C9BEB376352A}" dt="2025-02-28T15:32:38.700" v="395" actId="478"/>
          <ac:spMkLst>
            <pc:docMk/>
            <pc:sldMk cId="2100317759" sldId="1416256110"/>
            <ac:spMk id="78" creationId="{18C81975-0F1B-72AF-D305-2F64B48FBDC4}"/>
          </ac:spMkLst>
        </pc:spChg>
        <pc:spChg chg="add del">
          <ac:chgData name="LEGUERNEY Alexis" userId="518446a1-643b-41b6-ae6b-4a3f71cc16ab" providerId="ADAL" clId="{39844FF0-D5A3-4848-9184-C9BEB376352A}" dt="2025-02-28T15:35:17.155" v="428" actId="478"/>
          <ac:spMkLst>
            <pc:docMk/>
            <pc:sldMk cId="2100317759" sldId="1416256110"/>
            <ac:spMk id="80" creationId="{48EE436B-AD57-AF78-DF60-2A2C020C417E}"/>
          </ac:spMkLst>
        </pc:spChg>
        <pc:spChg chg="del">
          <ac:chgData name="LEGUERNEY Alexis" userId="518446a1-643b-41b6-ae6b-4a3f71cc16ab" providerId="ADAL" clId="{39844FF0-D5A3-4848-9184-C9BEB376352A}" dt="2025-02-28T15:32:59.702" v="399" actId="478"/>
          <ac:spMkLst>
            <pc:docMk/>
            <pc:sldMk cId="2100317759" sldId="1416256110"/>
            <ac:spMk id="81" creationId="{86038299-CED8-AF6A-C9C0-99EE770A90C3}"/>
          </ac:spMkLst>
        </pc:spChg>
        <pc:spChg chg="mod">
          <ac:chgData name="LEGUERNEY Alexis" userId="518446a1-643b-41b6-ae6b-4a3f71cc16ab" providerId="ADAL" clId="{39844FF0-D5A3-4848-9184-C9BEB376352A}" dt="2025-02-28T15:19:23.994" v="350" actId="14100"/>
          <ac:spMkLst>
            <pc:docMk/>
            <pc:sldMk cId="2100317759" sldId="1416256110"/>
            <ac:spMk id="87" creationId="{F9199A87-97B8-5E6F-1BCA-8CBBF54F3F89}"/>
          </ac:spMkLst>
        </pc:spChg>
        <pc:spChg chg="del">
          <ac:chgData name="LEGUERNEY Alexis" userId="518446a1-643b-41b6-ae6b-4a3f71cc16ab" providerId="ADAL" clId="{39844FF0-D5A3-4848-9184-C9BEB376352A}" dt="2025-02-28T15:33:46.769" v="404" actId="478"/>
          <ac:spMkLst>
            <pc:docMk/>
            <pc:sldMk cId="2100317759" sldId="1416256110"/>
            <ac:spMk id="101" creationId="{F0B33757-1A18-3255-6CF5-BC12A54AB6A8}"/>
          </ac:spMkLst>
        </pc:spChg>
        <pc:grpChg chg="add mod">
          <ac:chgData name="LEGUERNEY Alexis" userId="518446a1-643b-41b6-ae6b-4a3f71cc16ab" providerId="ADAL" clId="{39844FF0-D5A3-4848-9184-C9BEB376352A}" dt="2025-02-28T15:32:51.479" v="397" actId="1076"/>
          <ac:grpSpMkLst>
            <pc:docMk/>
            <pc:sldMk cId="2100317759" sldId="1416256110"/>
            <ac:grpSpMk id="7" creationId="{60B5C7AF-8DC5-C4D4-4246-797AC14BB519}"/>
          </ac:grpSpMkLst>
        </pc:grpChg>
        <pc:grpChg chg="add mod">
          <ac:chgData name="LEGUERNEY Alexis" userId="518446a1-643b-41b6-ae6b-4a3f71cc16ab" providerId="ADAL" clId="{39844FF0-D5A3-4848-9184-C9BEB376352A}" dt="2025-02-28T15:33:05.587" v="400" actId="1076"/>
          <ac:grpSpMkLst>
            <pc:docMk/>
            <pc:sldMk cId="2100317759" sldId="1416256110"/>
            <ac:grpSpMk id="12" creationId="{5D41DFEA-7F78-7659-2E7E-0E91BA8C7C85}"/>
          </ac:grpSpMkLst>
        </pc:grpChg>
        <pc:grpChg chg="add mod">
          <ac:chgData name="LEGUERNEY Alexis" userId="518446a1-643b-41b6-ae6b-4a3f71cc16ab" providerId="ADAL" clId="{39844FF0-D5A3-4848-9184-C9BEB376352A}" dt="2025-02-28T15:33:51.367" v="405" actId="1076"/>
          <ac:grpSpMkLst>
            <pc:docMk/>
            <pc:sldMk cId="2100317759" sldId="1416256110"/>
            <ac:grpSpMk id="16" creationId="{3E19564B-FBC2-C634-BCE2-97C9C025E697}"/>
          </ac:grpSpMkLst>
        </pc:grpChg>
        <pc:grpChg chg="add mod">
          <ac:chgData name="LEGUERNEY Alexis" userId="518446a1-643b-41b6-ae6b-4a3f71cc16ab" providerId="ADAL" clId="{39844FF0-D5A3-4848-9184-C9BEB376352A}" dt="2025-02-28T15:35:25.440" v="429" actId="1076"/>
          <ac:grpSpMkLst>
            <pc:docMk/>
            <pc:sldMk cId="2100317759" sldId="1416256110"/>
            <ac:grpSpMk id="19" creationId="{B1763958-24D0-0EAD-D334-CB8B8FE0AE32}"/>
          </ac:grpSpMkLst>
        </pc:grpChg>
        <pc:picChg chg="mod">
          <ac:chgData name="LEGUERNEY Alexis" userId="518446a1-643b-41b6-ae6b-4a3f71cc16ab" providerId="ADAL" clId="{39844FF0-D5A3-4848-9184-C9BEB376352A}" dt="2025-02-28T15:32:29.604" v="393"/>
          <ac:picMkLst>
            <pc:docMk/>
            <pc:sldMk cId="2100317759" sldId="1416256110"/>
            <ac:picMk id="11" creationId="{8B5174AF-3B57-ECAD-658B-F3207E8D581B}"/>
          </ac:picMkLst>
        </pc:picChg>
        <pc:picChg chg="mod">
          <ac:chgData name="LEGUERNEY Alexis" userId="518446a1-643b-41b6-ae6b-4a3f71cc16ab" providerId="ADAL" clId="{39844FF0-D5A3-4848-9184-C9BEB376352A}" dt="2025-02-28T15:32:56.238" v="398"/>
          <ac:picMkLst>
            <pc:docMk/>
            <pc:sldMk cId="2100317759" sldId="1416256110"/>
            <ac:picMk id="15" creationId="{11AAF471-CA80-4EA7-AF70-8A04748253C0}"/>
          </ac:picMkLst>
        </pc:picChg>
        <pc:picChg chg="mod">
          <ac:chgData name="LEGUERNEY Alexis" userId="518446a1-643b-41b6-ae6b-4a3f71cc16ab" providerId="ADAL" clId="{39844FF0-D5A3-4848-9184-C9BEB376352A}" dt="2025-02-28T15:33:51.367" v="405" actId="1076"/>
          <ac:picMkLst>
            <pc:docMk/>
            <pc:sldMk cId="2100317759" sldId="1416256110"/>
            <ac:picMk id="17" creationId="{1063AB81-B58E-5184-39ED-5694F4BBF4AD}"/>
          </ac:picMkLst>
        </pc:picChg>
        <pc:picChg chg="mod">
          <ac:chgData name="LEGUERNEY Alexis" userId="518446a1-643b-41b6-ae6b-4a3f71cc16ab" providerId="ADAL" clId="{39844FF0-D5A3-4848-9184-C9BEB376352A}" dt="2025-02-28T15:34:23.703" v="414"/>
          <ac:picMkLst>
            <pc:docMk/>
            <pc:sldMk cId="2100317759" sldId="1416256110"/>
            <ac:picMk id="23" creationId="{2D95B7E8-33B0-2295-0550-DB6A04FDA41E}"/>
          </ac:picMkLst>
        </pc:picChg>
      </pc:sldChg>
      <pc:sldChg chg="addSp delSp modSp mod">
        <pc:chgData name="LEGUERNEY Alexis" userId="518446a1-643b-41b6-ae6b-4a3f71cc16ab" providerId="ADAL" clId="{39844FF0-D5A3-4848-9184-C9BEB376352A}" dt="2025-02-28T15:37:43.021" v="461" actId="1076"/>
        <pc:sldMkLst>
          <pc:docMk/>
          <pc:sldMk cId="756911871" sldId="1416256111"/>
        </pc:sldMkLst>
        <pc:spChg chg="add del">
          <ac:chgData name="LEGUERNEY Alexis" userId="518446a1-643b-41b6-ae6b-4a3f71cc16ab" providerId="ADAL" clId="{39844FF0-D5A3-4848-9184-C9BEB376352A}" dt="2025-02-28T15:36:53.875" v="444" actId="478"/>
          <ac:spMkLst>
            <pc:docMk/>
            <pc:sldMk cId="756911871" sldId="1416256111"/>
            <ac:spMk id="3" creationId="{1E9CE9A2-8CC1-590F-91E9-18678C953D48}"/>
          </ac:spMkLst>
        </pc:spChg>
        <pc:spChg chg="mod">
          <ac:chgData name="LEGUERNEY Alexis" userId="518446a1-643b-41b6-ae6b-4a3f71cc16ab" providerId="ADAL" clId="{39844FF0-D5A3-4848-9184-C9BEB376352A}" dt="2025-02-28T15:34:51.057" v="420"/>
          <ac:spMkLst>
            <pc:docMk/>
            <pc:sldMk cId="756911871" sldId="1416256111"/>
            <ac:spMk id="6" creationId="{346E284C-342A-E892-ECB6-96A91E33A0F1}"/>
          </ac:spMkLst>
        </pc:spChg>
        <pc:spChg chg="mod">
          <ac:chgData name="LEGUERNEY Alexis" userId="518446a1-643b-41b6-ae6b-4a3f71cc16ab" providerId="ADAL" clId="{39844FF0-D5A3-4848-9184-C9BEB376352A}" dt="2025-02-28T15:34:51.057" v="420"/>
          <ac:spMkLst>
            <pc:docMk/>
            <pc:sldMk cId="756911871" sldId="1416256111"/>
            <ac:spMk id="8" creationId="{8ED55B1A-B2E2-A4FC-F51C-0DE353F2D407}"/>
          </ac:spMkLst>
        </pc:spChg>
        <pc:spChg chg="mod">
          <ac:chgData name="LEGUERNEY Alexis" userId="518446a1-643b-41b6-ae6b-4a3f71cc16ab" providerId="ADAL" clId="{39844FF0-D5A3-4848-9184-C9BEB376352A}" dt="2025-02-28T15:34:55.676" v="421"/>
          <ac:spMkLst>
            <pc:docMk/>
            <pc:sldMk cId="756911871" sldId="1416256111"/>
            <ac:spMk id="11" creationId="{52C4545E-C934-F9CF-8662-26F75E1A03C6}"/>
          </ac:spMkLst>
        </pc:spChg>
        <pc:spChg chg="mod">
          <ac:chgData name="LEGUERNEY Alexis" userId="518446a1-643b-41b6-ae6b-4a3f71cc16ab" providerId="ADAL" clId="{39844FF0-D5A3-4848-9184-C9BEB376352A}" dt="2025-02-28T15:34:55.676" v="421"/>
          <ac:spMkLst>
            <pc:docMk/>
            <pc:sldMk cId="756911871" sldId="1416256111"/>
            <ac:spMk id="12" creationId="{2FF1C287-ED41-E5D1-D2ED-2325BE059415}"/>
          </ac:spMkLst>
        </pc:spChg>
        <pc:spChg chg="mod">
          <ac:chgData name="LEGUERNEY Alexis" userId="518446a1-643b-41b6-ae6b-4a3f71cc16ab" providerId="ADAL" clId="{39844FF0-D5A3-4848-9184-C9BEB376352A}" dt="2025-02-28T15:35:32.970" v="432"/>
          <ac:spMkLst>
            <pc:docMk/>
            <pc:sldMk cId="756911871" sldId="1416256111"/>
            <ac:spMk id="18" creationId="{1BE4324C-B56D-BB67-D4E2-BAA227CC8E83}"/>
          </ac:spMkLst>
        </pc:spChg>
        <pc:spChg chg="mod">
          <ac:chgData name="LEGUERNEY Alexis" userId="518446a1-643b-41b6-ae6b-4a3f71cc16ab" providerId="ADAL" clId="{39844FF0-D5A3-4848-9184-C9BEB376352A}" dt="2025-02-28T15:35:36.182" v="433" actId="20577"/>
          <ac:spMkLst>
            <pc:docMk/>
            <pc:sldMk cId="756911871" sldId="1416256111"/>
            <ac:spMk id="19" creationId="{999B21B9-AE16-930B-98BA-C9FADF6FC86E}"/>
          </ac:spMkLst>
        </pc:spChg>
        <pc:spChg chg="mod">
          <ac:chgData name="LEGUERNEY Alexis" userId="518446a1-643b-41b6-ae6b-4a3f71cc16ab" providerId="ADAL" clId="{39844FF0-D5A3-4848-9184-C9BEB376352A}" dt="2025-02-28T15:35:39.952" v="434"/>
          <ac:spMkLst>
            <pc:docMk/>
            <pc:sldMk cId="756911871" sldId="1416256111"/>
            <ac:spMk id="23" creationId="{7F9C40AE-EFC0-35F6-69B3-9125920A86B7}"/>
          </ac:spMkLst>
        </pc:spChg>
        <pc:spChg chg="mod">
          <ac:chgData name="LEGUERNEY Alexis" userId="518446a1-643b-41b6-ae6b-4a3f71cc16ab" providerId="ADAL" clId="{39844FF0-D5A3-4848-9184-C9BEB376352A}" dt="2025-02-28T15:35:39.952" v="434"/>
          <ac:spMkLst>
            <pc:docMk/>
            <pc:sldMk cId="756911871" sldId="1416256111"/>
            <ac:spMk id="24" creationId="{6516D761-B241-ADE4-5250-17EA2466F3FE}"/>
          </ac:spMkLst>
        </pc:spChg>
        <pc:spChg chg="mod">
          <ac:chgData name="LEGUERNEY Alexis" userId="518446a1-643b-41b6-ae6b-4a3f71cc16ab" providerId="ADAL" clId="{39844FF0-D5A3-4848-9184-C9BEB376352A}" dt="2025-02-28T15:37:43.021" v="461" actId="1076"/>
          <ac:spMkLst>
            <pc:docMk/>
            <pc:sldMk cId="756911871" sldId="1416256111"/>
            <ac:spMk id="28" creationId="{8FBFA279-6A1D-1EAD-A414-5E27FABFDA3D}"/>
          </ac:spMkLst>
        </pc:spChg>
        <pc:spChg chg="add del">
          <ac:chgData name="LEGUERNEY Alexis" userId="518446a1-643b-41b6-ae6b-4a3f71cc16ab" providerId="ADAL" clId="{39844FF0-D5A3-4848-9184-C9BEB376352A}" dt="2025-02-28T15:35:43.328" v="436" actId="478"/>
          <ac:spMkLst>
            <pc:docMk/>
            <pc:sldMk cId="756911871" sldId="1416256111"/>
            <ac:spMk id="79" creationId="{3A4FC487-4202-89E4-23DE-AC97206B7119}"/>
          </ac:spMkLst>
        </pc:spChg>
        <pc:spChg chg="del">
          <ac:chgData name="LEGUERNEY Alexis" userId="518446a1-643b-41b6-ae6b-4a3f71cc16ab" providerId="ADAL" clId="{39844FF0-D5A3-4848-9184-C9BEB376352A}" dt="2025-02-28T15:35:42.321" v="435" actId="478"/>
          <ac:spMkLst>
            <pc:docMk/>
            <pc:sldMk cId="756911871" sldId="1416256111"/>
            <ac:spMk id="82" creationId="{99B5ABAD-D351-A760-76EE-6B80BB38536F}"/>
          </ac:spMkLst>
        </pc:spChg>
        <pc:grpChg chg="add del mod">
          <ac:chgData name="LEGUERNEY Alexis" userId="518446a1-643b-41b6-ae6b-4a3f71cc16ab" providerId="ADAL" clId="{39844FF0-D5A3-4848-9184-C9BEB376352A}" dt="2025-02-28T15:35:08.722" v="423"/>
          <ac:grpSpMkLst>
            <pc:docMk/>
            <pc:sldMk cId="756911871" sldId="1416256111"/>
            <ac:grpSpMk id="5" creationId="{7551C0D4-6DE1-A048-103B-1A5793569A52}"/>
          </ac:grpSpMkLst>
        </pc:grpChg>
        <pc:grpChg chg="add del mod">
          <ac:chgData name="LEGUERNEY Alexis" userId="518446a1-643b-41b6-ae6b-4a3f71cc16ab" providerId="ADAL" clId="{39844FF0-D5A3-4848-9184-C9BEB376352A}" dt="2025-02-28T15:35:07.411" v="422"/>
          <ac:grpSpMkLst>
            <pc:docMk/>
            <pc:sldMk cId="756911871" sldId="1416256111"/>
            <ac:grpSpMk id="10" creationId="{968E055B-0821-3AFC-3A6F-7737D791E7DA}"/>
          </ac:grpSpMkLst>
        </pc:grpChg>
        <pc:grpChg chg="add mod">
          <ac:chgData name="LEGUERNEY Alexis" userId="518446a1-643b-41b6-ae6b-4a3f71cc16ab" providerId="ADAL" clId="{39844FF0-D5A3-4848-9184-C9BEB376352A}" dt="2025-02-28T15:35:32.970" v="432"/>
          <ac:grpSpMkLst>
            <pc:docMk/>
            <pc:sldMk cId="756911871" sldId="1416256111"/>
            <ac:grpSpMk id="14" creationId="{7DE44DEC-C4DE-E9AF-83CD-D5FC845DCD18}"/>
          </ac:grpSpMkLst>
        </pc:grpChg>
        <pc:grpChg chg="add mod">
          <ac:chgData name="LEGUERNEY Alexis" userId="518446a1-643b-41b6-ae6b-4a3f71cc16ab" providerId="ADAL" clId="{39844FF0-D5A3-4848-9184-C9BEB376352A}" dt="2025-02-28T15:35:48.831" v="437" actId="1076"/>
          <ac:grpSpMkLst>
            <pc:docMk/>
            <pc:sldMk cId="756911871" sldId="1416256111"/>
            <ac:grpSpMk id="22" creationId="{3A6F5937-7B3F-A910-1696-8837EC3AB987}"/>
          </ac:grpSpMkLst>
        </pc:grpChg>
        <pc:grpChg chg="add mod">
          <ac:chgData name="LEGUERNEY Alexis" userId="518446a1-643b-41b6-ae6b-4a3f71cc16ab" providerId="ADAL" clId="{39844FF0-D5A3-4848-9184-C9BEB376352A}" dt="2025-02-28T15:37:43.021" v="461" actId="1076"/>
          <ac:grpSpMkLst>
            <pc:docMk/>
            <pc:sldMk cId="756911871" sldId="1416256111"/>
            <ac:grpSpMk id="26" creationId="{664646B3-B935-9B7A-87F1-14FF57CC11A6}"/>
          </ac:grpSpMkLst>
        </pc:grpChg>
        <pc:picChg chg="mod">
          <ac:chgData name="LEGUERNEY Alexis" userId="518446a1-643b-41b6-ae6b-4a3f71cc16ab" providerId="ADAL" clId="{39844FF0-D5A3-4848-9184-C9BEB376352A}" dt="2025-02-28T15:34:51.057" v="420"/>
          <ac:picMkLst>
            <pc:docMk/>
            <pc:sldMk cId="756911871" sldId="1416256111"/>
            <ac:picMk id="9" creationId="{E24B0B40-395F-9B09-E661-EE784A928DEB}"/>
          </ac:picMkLst>
        </pc:picChg>
        <pc:picChg chg="mod">
          <ac:chgData name="LEGUERNEY Alexis" userId="518446a1-643b-41b6-ae6b-4a3f71cc16ab" providerId="ADAL" clId="{39844FF0-D5A3-4848-9184-C9BEB376352A}" dt="2025-02-28T15:34:55.676" v="421"/>
          <ac:picMkLst>
            <pc:docMk/>
            <pc:sldMk cId="756911871" sldId="1416256111"/>
            <ac:picMk id="13" creationId="{D24C2EFC-461C-B6F8-A80E-EBCEFA645D7F}"/>
          </ac:picMkLst>
        </pc:picChg>
        <pc:picChg chg="mod">
          <ac:chgData name="LEGUERNEY Alexis" userId="518446a1-643b-41b6-ae6b-4a3f71cc16ab" providerId="ADAL" clId="{39844FF0-D5A3-4848-9184-C9BEB376352A}" dt="2025-02-28T15:35:32.970" v="432"/>
          <ac:picMkLst>
            <pc:docMk/>
            <pc:sldMk cId="756911871" sldId="1416256111"/>
            <ac:picMk id="20" creationId="{2D445EBD-80EC-3E7F-FAA2-74FA09A8A71E}"/>
          </ac:picMkLst>
        </pc:picChg>
        <pc:picChg chg="mod">
          <ac:chgData name="LEGUERNEY Alexis" userId="518446a1-643b-41b6-ae6b-4a3f71cc16ab" providerId="ADAL" clId="{39844FF0-D5A3-4848-9184-C9BEB376352A}" dt="2025-02-28T15:35:39.952" v="434"/>
          <ac:picMkLst>
            <pc:docMk/>
            <pc:sldMk cId="756911871" sldId="1416256111"/>
            <ac:picMk id="25" creationId="{6FD0292E-BF83-6F4C-3199-0A1D320E33BB}"/>
          </ac:picMkLst>
        </pc:picChg>
        <pc:picChg chg="mod">
          <ac:chgData name="LEGUERNEY Alexis" userId="518446a1-643b-41b6-ae6b-4a3f71cc16ab" providerId="ADAL" clId="{39844FF0-D5A3-4848-9184-C9BEB376352A}" dt="2025-02-28T15:37:43.021" v="461" actId="1076"/>
          <ac:picMkLst>
            <pc:docMk/>
            <pc:sldMk cId="756911871" sldId="1416256111"/>
            <ac:picMk id="27" creationId="{D2E96F9A-0BBB-8AEB-CD59-EC244970D828}"/>
          </ac:picMkLst>
        </pc:picChg>
      </pc:sldChg>
      <pc:sldChg chg="modSp mod">
        <pc:chgData name="LEGUERNEY Alexis" userId="518446a1-643b-41b6-ae6b-4a3f71cc16ab" providerId="ADAL" clId="{39844FF0-D5A3-4848-9184-C9BEB376352A}" dt="2025-03-12T10:20:25.542" v="471" actId="1076"/>
        <pc:sldMkLst>
          <pc:docMk/>
          <pc:sldMk cId="2865583277" sldId="1416256115"/>
        </pc:sldMkLst>
        <pc:spChg chg="mod">
          <ac:chgData name="LEGUERNEY Alexis" userId="518446a1-643b-41b6-ae6b-4a3f71cc16ab" providerId="ADAL" clId="{39844FF0-D5A3-4848-9184-C9BEB376352A}" dt="2025-03-12T10:20:25.542" v="471" actId="1076"/>
          <ac:spMkLst>
            <pc:docMk/>
            <pc:sldMk cId="2865583277" sldId="1416256115"/>
            <ac:spMk id="2" creationId="{C1C8E3A2-DE13-622E-775A-CCD15FE6C65A}"/>
          </ac:spMkLst>
        </pc:spChg>
        <pc:graphicFrameChg chg="mod modGraphic">
          <ac:chgData name="LEGUERNEY Alexis" userId="518446a1-643b-41b6-ae6b-4a3f71cc16ab" providerId="ADAL" clId="{39844FF0-D5A3-4848-9184-C9BEB376352A}" dt="2025-02-10T13:16:30.465" v="110" actId="123"/>
          <ac:graphicFrameMkLst>
            <pc:docMk/>
            <pc:sldMk cId="2865583277" sldId="1416256115"/>
            <ac:graphicFrameMk id="5" creationId="{83D0ED16-1D8A-7E27-D021-672AEFC5B164}"/>
          </ac:graphicFrameMkLst>
        </pc:graphicFrameChg>
      </pc:sldChg>
      <pc:sldChg chg="modSp mod">
        <pc:chgData name="LEGUERNEY Alexis" userId="518446a1-643b-41b6-ae6b-4a3f71cc16ab" providerId="ADAL" clId="{39844FF0-D5A3-4848-9184-C9BEB376352A}" dt="2025-02-10T13:16:39.543" v="111" actId="123"/>
        <pc:sldMkLst>
          <pc:docMk/>
          <pc:sldMk cId="2244442879" sldId="1416256116"/>
        </pc:sldMkLst>
        <pc:graphicFrameChg chg="modGraphic">
          <ac:chgData name="LEGUERNEY Alexis" userId="518446a1-643b-41b6-ae6b-4a3f71cc16ab" providerId="ADAL" clId="{39844FF0-D5A3-4848-9184-C9BEB376352A}" dt="2025-02-10T13:16:39.543" v="111" actId="123"/>
          <ac:graphicFrameMkLst>
            <pc:docMk/>
            <pc:sldMk cId="2244442879" sldId="1416256116"/>
            <ac:graphicFrameMk id="7" creationId="{EA4B9034-C66A-6B59-A561-C100DA457CF1}"/>
          </ac:graphicFrameMkLst>
        </pc:graphicFrameChg>
      </pc:sldChg>
      <pc:sldChg chg="modSp mod">
        <pc:chgData name="LEGUERNEY Alexis" userId="518446a1-643b-41b6-ae6b-4a3f71cc16ab" providerId="ADAL" clId="{39844FF0-D5A3-4848-9184-C9BEB376352A}" dt="2025-01-30T21:47:06.711" v="84" actId="171"/>
        <pc:sldMkLst>
          <pc:docMk/>
          <pc:sldMk cId="3622186812" sldId="2147472760"/>
        </pc:sldMkLst>
        <pc:spChg chg="mod">
          <ac:chgData name="LEGUERNEY Alexis" userId="518446a1-643b-41b6-ae6b-4a3f71cc16ab" providerId="ADAL" clId="{39844FF0-D5A3-4848-9184-C9BEB376352A}" dt="2025-01-30T21:46:33.115" v="82" actId="1076"/>
          <ac:spMkLst>
            <pc:docMk/>
            <pc:sldMk cId="3622186812" sldId="2147472760"/>
            <ac:spMk id="5" creationId="{426E79D2-6AF4-264F-FA8F-EA9E25ECE558}"/>
          </ac:spMkLst>
        </pc:spChg>
        <pc:spChg chg="mod">
          <ac:chgData name="LEGUERNEY Alexis" userId="518446a1-643b-41b6-ae6b-4a3f71cc16ab" providerId="ADAL" clId="{39844FF0-D5A3-4848-9184-C9BEB376352A}" dt="2025-01-30T21:45:15.791" v="75" actId="1037"/>
          <ac:spMkLst>
            <pc:docMk/>
            <pc:sldMk cId="3622186812" sldId="2147472760"/>
            <ac:spMk id="77" creationId="{C2F95439-B6B0-9008-47CC-4B4E4D2B1AEC}"/>
          </ac:spMkLst>
        </pc:spChg>
        <pc:spChg chg="mod ord">
          <ac:chgData name="LEGUERNEY Alexis" userId="518446a1-643b-41b6-ae6b-4a3f71cc16ab" providerId="ADAL" clId="{39844FF0-D5A3-4848-9184-C9BEB376352A}" dt="2025-01-30T21:47:06.711" v="84" actId="171"/>
          <ac:spMkLst>
            <pc:docMk/>
            <pc:sldMk cId="3622186812" sldId="2147472760"/>
            <ac:spMk id="78" creationId="{413B47B7-E548-41DA-7366-D52751B033DF}"/>
          </ac:spMkLst>
        </pc:spChg>
        <pc:spChg chg="mod">
          <ac:chgData name="LEGUERNEY Alexis" userId="518446a1-643b-41b6-ae6b-4a3f71cc16ab" providerId="ADAL" clId="{39844FF0-D5A3-4848-9184-C9BEB376352A}" dt="2025-01-30T21:46:19.328" v="81" actId="1076"/>
          <ac:spMkLst>
            <pc:docMk/>
            <pc:sldMk cId="3622186812" sldId="2147472760"/>
            <ac:spMk id="95" creationId="{2D6FE730-E654-8970-22EB-68AE0FE31043}"/>
          </ac:spMkLst>
        </pc:spChg>
        <pc:grpChg chg="mod">
          <ac:chgData name="LEGUERNEY Alexis" userId="518446a1-643b-41b6-ae6b-4a3f71cc16ab" providerId="ADAL" clId="{39844FF0-D5A3-4848-9184-C9BEB376352A}" dt="2025-01-30T21:45:15.791" v="75" actId="1037"/>
          <ac:grpSpMkLst>
            <pc:docMk/>
            <pc:sldMk cId="3622186812" sldId="2147472760"/>
            <ac:grpSpMk id="73" creationId="{2638016E-C52A-EA75-8BDD-99E77506CE81}"/>
          </ac:grpSpMkLst>
        </pc:grpChg>
        <pc:grpChg chg="mod">
          <ac:chgData name="LEGUERNEY Alexis" userId="518446a1-643b-41b6-ae6b-4a3f71cc16ab" providerId="ADAL" clId="{39844FF0-D5A3-4848-9184-C9BEB376352A}" dt="2025-01-30T21:44:49.093" v="1" actId="1076"/>
          <ac:grpSpMkLst>
            <pc:docMk/>
            <pc:sldMk cId="3622186812" sldId="2147472760"/>
            <ac:grpSpMk id="75" creationId="{596B5321-0877-7A27-3332-435D13BA40A8}"/>
          </ac:grpSpMkLst>
        </pc:gr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2BC8CF-220E-473C-B76F-2639E81AA16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CF84FDD5-EB3B-4492-BE24-F4E6BC19090A}"/>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B9A9E58F-F4DF-4176-AC71-237F7F3E2EBF}" type="datetimeFigureOut">
              <a:rPr lang="fr-FR" smtClean="0"/>
              <a:t>19/03/2025</a:t>
            </a:fld>
            <a:endParaRPr lang="fr-FR"/>
          </a:p>
        </p:txBody>
      </p:sp>
      <p:sp>
        <p:nvSpPr>
          <p:cNvPr id="4" name="Footer Placeholder 3">
            <a:extLst>
              <a:ext uri="{FF2B5EF4-FFF2-40B4-BE49-F238E27FC236}">
                <a16:creationId xmlns:a16="http://schemas.microsoft.com/office/drawing/2014/main" id="{B718A2F8-347F-4230-B857-ECAD22B6583A}"/>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33FB3D8A-4E4D-4076-BFF0-D990E5839B72}"/>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585E200-771C-4664-B9D4-7492564CEF4C}" type="slidenum">
              <a:rPr lang="fr-FR" smtClean="0"/>
              <a:t>‹#›</a:t>
            </a:fld>
            <a:endParaRPr lang="fr-FR"/>
          </a:p>
        </p:txBody>
      </p:sp>
    </p:spTree>
    <p:extLst>
      <p:ext uri="{BB962C8B-B14F-4D97-AF65-F5344CB8AC3E}">
        <p14:creationId xmlns:p14="http://schemas.microsoft.com/office/powerpoint/2010/main" val="21591924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21C3837-F882-4D2E-A14F-0BEDE2685376}" type="datetimeFigureOut">
              <a:rPr lang="fr-FR" smtClean="0"/>
              <a:t>19/03/2025</a:t>
            </a:fld>
            <a:endParaRPr lang="fr-F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245705E-B4A9-4A7E-826E-F5AC2209D5D8}" type="slidenum">
              <a:rPr lang="fr-FR" smtClean="0"/>
              <a:t>‹#›</a:t>
            </a:fld>
            <a:endParaRPr lang="fr-FR"/>
          </a:p>
        </p:txBody>
      </p:sp>
    </p:spTree>
    <p:extLst>
      <p:ext uri="{BB962C8B-B14F-4D97-AF65-F5344CB8AC3E}">
        <p14:creationId xmlns:p14="http://schemas.microsoft.com/office/powerpoint/2010/main" val="23878085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9129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CA513-BD9A-AA4D-9166-018B2669528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94E7719-2695-DC66-B3C8-3530D37C3172}"/>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92D6880-D57A-6B07-AB2A-191CB4774343}"/>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23DF71D-65E5-927B-7951-C73CDF237EDD}"/>
              </a:ext>
            </a:extLst>
          </p:cNvPr>
          <p:cNvSpPr>
            <a:spLocks noGrp="1"/>
          </p:cNvSpPr>
          <p:nvPr>
            <p:ph type="sldNum" sz="quarter" idx="5"/>
          </p:nvPr>
        </p:nvSpPr>
        <p:spPr/>
        <p:txBody>
          <a:bodyPr/>
          <a:lstStyle/>
          <a:p>
            <a:fld id="{3245705E-B4A9-4A7E-826E-F5AC2209D5D8}" type="slidenum">
              <a:rPr lang="fr-FR" smtClean="0"/>
              <a:t>12</a:t>
            </a:fld>
            <a:endParaRPr lang="fr-FR"/>
          </a:p>
        </p:txBody>
      </p:sp>
    </p:spTree>
    <p:extLst>
      <p:ext uri="{BB962C8B-B14F-4D97-AF65-F5344CB8AC3E}">
        <p14:creationId xmlns:p14="http://schemas.microsoft.com/office/powerpoint/2010/main" val="4176893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9D5A0-A1A9-1659-616F-611A0BABA3B0}"/>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4EF55B5-1C7B-C3DC-B2CB-5A0546747E1D}"/>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B45E80B8-1E44-3068-A152-4FDE33386822}"/>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C1AA6554-24B6-6730-5977-D7A8F5FC0DA7}"/>
              </a:ext>
            </a:extLst>
          </p:cNvPr>
          <p:cNvSpPr>
            <a:spLocks noGrp="1"/>
          </p:cNvSpPr>
          <p:nvPr>
            <p:ph type="sldNum" sz="quarter" idx="5"/>
          </p:nvPr>
        </p:nvSpPr>
        <p:spPr/>
        <p:txBody>
          <a:bodyPr/>
          <a:lstStyle/>
          <a:p>
            <a:fld id="{3245705E-B4A9-4A7E-826E-F5AC2209D5D8}" type="slidenum">
              <a:rPr lang="fr-FR" smtClean="0"/>
              <a:t>13</a:t>
            </a:fld>
            <a:endParaRPr lang="fr-FR"/>
          </a:p>
        </p:txBody>
      </p:sp>
    </p:spTree>
    <p:extLst>
      <p:ext uri="{BB962C8B-B14F-4D97-AF65-F5344CB8AC3E}">
        <p14:creationId xmlns:p14="http://schemas.microsoft.com/office/powerpoint/2010/main" val="1839412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92CD4B-DEFC-503B-132F-885AFAA8FEF1}"/>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1B45AB75-FE95-3C70-4876-62FF28A443F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983D88B3-F5A6-FBE8-8DC9-95B4F69A5C51}"/>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646A2975-B0B6-F30F-22E3-86765FF59347}"/>
              </a:ext>
            </a:extLst>
          </p:cNvPr>
          <p:cNvSpPr>
            <a:spLocks noGrp="1"/>
          </p:cNvSpPr>
          <p:nvPr>
            <p:ph type="sldNum" sz="quarter" idx="5"/>
          </p:nvPr>
        </p:nvSpPr>
        <p:spPr/>
        <p:txBody>
          <a:bodyPr/>
          <a:lstStyle/>
          <a:p>
            <a:fld id="{3245705E-B4A9-4A7E-826E-F5AC2209D5D8}" type="slidenum">
              <a:rPr lang="fr-FR" smtClean="0"/>
              <a:t>14</a:t>
            </a:fld>
            <a:endParaRPr lang="fr-FR"/>
          </a:p>
        </p:txBody>
      </p:sp>
    </p:spTree>
    <p:extLst>
      <p:ext uri="{BB962C8B-B14F-4D97-AF65-F5344CB8AC3E}">
        <p14:creationId xmlns:p14="http://schemas.microsoft.com/office/powerpoint/2010/main" val="156766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4549C-69F4-2859-1E22-50062BA273E3}"/>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7FABB16-6FB2-125F-0678-5CAD0644C7D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848D34D-9AD9-3944-6C8A-20D6A130AE29}"/>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DFFF6145-96B7-42F6-2FF3-27A0C7AC36EC}"/>
              </a:ext>
            </a:extLst>
          </p:cNvPr>
          <p:cNvSpPr>
            <a:spLocks noGrp="1"/>
          </p:cNvSpPr>
          <p:nvPr>
            <p:ph type="sldNum" sz="quarter" idx="5"/>
          </p:nvPr>
        </p:nvSpPr>
        <p:spPr/>
        <p:txBody>
          <a:bodyPr/>
          <a:lstStyle/>
          <a:p>
            <a:fld id="{3245705E-B4A9-4A7E-826E-F5AC2209D5D8}" type="slidenum">
              <a:rPr lang="fr-FR" smtClean="0"/>
              <a:t>15</a:t>
            </a:fld>
            <a:endParaRPr lang="fr-FR"/>
          </a:p>
        </p:txBody>
      </p:sp>
    </p:spTree>
    <p:extLst>
      <p:ext uri="{BB962C8B-B14F-4D97-AF65-F5344CB8AC3E}">
        <p14:creationId xmlns:p14="http://schemas.microsoft.com/office/powerpoint/2010/main" val="3735794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4F56E-6BC0-012B-4456-47FA7E86566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02072359-FB1D-55E2-78B9-A8F5E216849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118819D4-0238-0C4D-4F0C-DA455B1E9DFD}"/>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2DDFB12A-4914-9745-1A4A-C15109C633FA}"/>
              </a:ext>
            </a:extLst>
          </p:cNvPr>
          <p:cNvSpPr>
            <a:spLocks noGrp="1"/>
          </p:cNvSpPr>
          <p:nvPr>
            <p:ph type="sldNum" sz="quarter" idx="5"/>
          </p:nvPr>
        </p:nvSpPr>
        <p:spPr/>
        <p:txBody>
          <a:bodyPr/>
          <a:lstStyle/>
          <a:p>
            <a:fld id="{3245705E-B4A9-4A7E-826E-F5AC2209D5D8}" type="slidenum">
              <a:rPr lang="fr-FR" smtClean="0"/>
              <a:t>16</a:t>
            </a:fld>
            <a:endParaRPr lang="fr-FR"/>
          </a:p>
        </p:txBody>
      </p:sp>
    </p:spTree>
    <p:extLst>
      <p:ext uri="{BB962C8B-B14F-4D97-AF65-F5344CB8AC3E}">
        <p14:creationId xmlns:p14="http://schemas.microsoft.com/office/powerpoint/2010/main" val="398572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24B0B8-C864-21F8-4C8A-1A5AB86CEDF4}"/>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472B1030-49E5-4F78-68A3-D61A7D01A5FA}"/>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31E6EDB-4BAA-B46C-C3B5-5ADDD9DCDCE6}"/>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AE1DF8AD-D4A3-540A-77DF-C61C7A242F5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4878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245705E-B4A9-4A7E-826E-F5AC2209D5D8}" type="slidenum">
              <a:rPr lang="fr-FR" smtClean="0"/>
              <a:t>18</a:t>
            </a:fld>
            <a:endParaRPr lang="fr-FR"/>
          </a:p>
        </p:txBody>
      </p:sp>
    </p:spTree>
    <p:extLst>
      <p:ext uri="{BB962C8B-B14F-4D97-AF65-F5344CB8AC3E}">
        <p14:creationId xmlns:p14="http://schemas.microsoft.com/office/powerpoint/2010/main" val="3030047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245705E-B4A9-4A7E-826E-F5AC2209D5D8}" type="slidenum">
              <a:rPr lang="fr-FR" smtClean="0"/>
              <a:t>19</a:t>
            </a:fld>
            <a:endParaRPr lang="fr-FR"/>
          </a:p>
        </p:txBody>
      </p:sp>
    </p:spTree>
    <p:extLst>
      <p:ext uri="{BB962C8B-B14F-4D97-AF65-F5344CB8AC3E}">
        <p14:creationId xmlns:p14="http://schemas.microsoft.com/office/powerpoint/2010/main" val="32602427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AE553-B3DA-0DDC-44E5-2804872BCA0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F55C5800-C961-8899-A255-AB1F21DE53A0}"/>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D2FDDD27-AD31-D458-DAB2-F63F71866370}"/>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9193E61B-6E86-18BD-EDB9-00EAF93F1096}"/>
              </a:ext>
            </a:extLst>
          </p:cNvPr>
          <p:cNvSpPr>
            <a:spLocks noGrp="1"/>
          </p:cNvSpPr>
          <p:nvPr>
            <p:ph type="sldNum" sz="quarter" idx="5"/>
          </p:nvPr>
        </p:nvSpPr>
        <p:spPr/>
        <p:txBody>
          <a:bodyPr/>
          <a:lstStyle/>
          <a:p>
            <a:fld id="{3245705E-B4A9-4A7E-826E-F5AC2209D5D8}" type="slidenum">
              <a:rPr lang="fr-FR" smtClean="0"/>
              <a:t>20</a:t>
            </a:fld>
            <a:endParaRPr lang="fr-FR"/>
          </a:p>
        </p:txBody>
      </p:sp>
    </p:spTree>
    <p:extLst>
      <p:ext uri="{BB962C8B-B14F-4D97-AF65-F5344CB8AC3E}">
        <p14:creationId xmlns:p14="http://schemas.microsoft.com/office/powerpoint/2010/main" val="524254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9E135-7CFD-A5AF-8608-B829A7DFF1C8}"/>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326E240E-6FC2-4EE3-CE5C-E6E9F244CD05}"/>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5142ACB2-812E-C7F7-B4FE-8F83CCFF97E6}"/>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5AF82AB4-0EC5-B73C-7848-76B709BE4F44}"/>
              </a:ext>
            </a:extLst>
          </p:cNvPr>
          <p:cNvSpPr>
            <a:spLocks noGrp="1"/>
          </p:cNvSpPr>
          <p:nvPr>
            <p:ph type="sldNum" sz="quarter" idx="5"/>
          </p:nvPr>
        </p:nvSpPr>
        <p:spPr/>
        <p:txBody>
          <a:bodyPr/>
          <a:lstStyle/>
          <a:p>
            <a:fld id="{3245705E-B4A9-4A7E-826E-F5AC2209D5D8}" type="slidenum">
              <a:rPr lang="fr-FR" smtClean="0"/>
              <a:t>21</a:t>
            </a:fld>
            <a:endParaRPr lang="fr-FR"/>
          </a:p>
        </p:txBody>
      </p:sp>
    </p:spTree>
    <p:extLst>
      <p:ext uri="{BB962C8B-B14F-4D97-AF65-F5344CB8AC3E}">
        <p14:creationId xmlns:p14="http://schemas.microsoft.com/office/powerpoint/2010/main" val="4190810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A071E-E40B-08E2-1685-1FF3A4724206}"/>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E2EE8EB4-08E1-EAAC-B375-24B2DE84E8C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05D5C5C4-7439-7D71-D172-87EAB749B4CB}"/>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7DAED9A2-1F03-83DD-8724-50FC40E7CFF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807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132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728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2772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DA2381-7B71-4D69-967B-3B5E2AB5834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108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DA2381-7B71-4D69-967B-3B5E2AB5834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2252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DA2381-7B71-4D69-967B-3B5E2AB5834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415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E324E-3A8B-41FD-9E14-CDEFBF32143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67126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3245705E-B4A9-4A7E-826E-F5AC2209D5D8}" type="slidenum">
              <a:rPr lang="fr-FR" smtClean="0"/>
              <a:t>10</a:t>
            </a:fld>
            <a:endParaRPr lang="fr-FR"/>
          </a:p>
        </p:txBody>
      </p:sp>
    </p:spTree>
    <p:extLst>
      <p:ext uri="{BB962C8B-B14F-4D97-AF65-F5344CB8AC3E}">
        <p14:creationId xmlns:p14="http://schemas.microsoft.com/office/powerpoint/2010/main" val="3055651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047EBA-DB3B-09BB-3398-4A94A1EC6979}"/>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6FCF28D8-4944-C676-4439-C84A9DD2D3B1}"/>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FF38277E-35DD-2730-0F23-5A3D08B8128F}"/>
              </a:ext>
            </a:extLst>
          </p:cNvPr>
          <p:cNvSpPr>
            <a:spLocks noGrp="1"/>
          </p:cNvSpPr>
          <p:nvPr>
            <p:ph type="body" idx="1"/>
          </p:nvPr>
        </p:nvSpPr>
        <p:spPr/>
        <p:txBody>
          <a:bodyPr/>
          <a:lstStyle/>
          <a:p>
            <a:endParaRPr lang="fr-FR"/>
          </a:p>
        </p:txBody>
      </p:sp>
      <p:sp>
        <p:nvSpPr>
          <p:cNvPr id="4" name="Espace réservé du numéro de diapositive 3">
            <a:extLst>
              <a:ext uri="{FF2B5EF4-FFF2-40B4-BE49-F238E27FC236}">
                <a16:creationId xmlns:a16="http://schemas.microsoft.com/office/drawing/2014/main" id="{8430AB7B-78C6-F234-247B-5A7739B894E3}"/>
              </a:ext>
            </a:extLst>
          </p:cNvPr>
          <p:cNvSpPr>
            <a:spLocks noGrp="1"/>
          </p:cNvSpPr>
          <p:nvPr>
            <p:ph type="sldNum" sz="quarter" idx="5"/>
          </p:nvPr>
        </p:nvSpPr>
        <p:spPr/>
        <p:txBody>
          <a:bodyPr/>
          <a:lstStyle/>
          <a:p>
            <a:fld id="{3245705E-B4A9-4A7E-826E-F5AC2209D5D8}" type="slidenum">
              <a:rPr lang="fr-FR" smtClean="0"/>
              <a:t>11</a:t>
            </a:fld>
            <a:endParaRPr lang="fr-FR"/>
          </a:p>
        </p:txBody>
      </p:sp>
    </p:spTree>
    <p:extLst>
      <p:ext uri="{BB962C8B-B14F-4D97-AF65-F5344CB8AC3E}">
        <p14:creationId xmlns:p14="http://schemas.microsoft.com/office/powerpoint/2010/main" val="38200952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0.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6.xml"/><Relationship Id="rId1" Type="http://schemas.openxmlformats.org/officeDocument/2006/relationships/tags" Target="../tags/tag7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1.xml"/><Relationship Id="rId6" Type="http://schemas.openxmlformats.org/officeDocument/2006/relationships/image" Target="../media/image9.png"/><Relationship Id="rId5" Type="http://schemas.openxmlformats.org/officeDocument/2006/relationships/image" Target="../media/image7.jpe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19655739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4"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4"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0" y="6973218"/>
            <a:ext cx="2174251" cy="1809744"/>
          </a:xfrm>
          <a:prstGeom prst="rect">
            <a:avLst/>
          </a:prstGeom>
        </p:spPr>
      </p:pic>
    </p:spTree>
    <p:extLst>
      <p:ext uri="{BB962C8B-B14F-4D97-AF65-F5344CB8AC3E}">
        <p14:creationId xmlns:p14="http://schemas.microsoft.com/office/powerpoint/2010/main" val="31230149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738202310"/>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2376695027"/>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2102857404"/>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5947398"/>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30962154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2"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7" name="Graphique 6">
            <a:extLst>
              <a:ext uri="{FF2B5EF4-FFF2-40B4-BE49-F238E27FC236}">
                <a16:creationId xmlns:a16="http://schemas.microsoft.com/office/drawing/2014/main" id="{893309CE-B9DE-4094-84B1-5F65EA862B3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81151" y="7428541"/>
            <a:ext cx="1543050" cy="1284362"/>
          </a:xfrm>
          <a:prstGeom prst="rect">
            <a:avLst/>
          </a:prstGeom>
        </p:spPr>
      </p:pic>
      <p:pic>
        <p:nvPicPr>
          <p:cNvPr id="4" name="Image 3">
            <a:extLst>
              <a:ext uri="{FF2B5EF4-FFF2-40B4-BE49-F238E27FC236}">
                <a16:creationId xmlns:a16="http://schemas.microsoft.com/office/drawing/2014/main" id="{37632E41-2739-415D-C4D8-8C34170A3A31}"/>
              </a:ext>
            </a:extLst>
          </p:cNvPr>
          <p:cNvPicPr>
            <a:picLocks noChangeAspect="1"/>
          </p:cNvPicPr>
          <p:nvPr userDrawn="1"/>
        </p:nvPicPr>
        <p:blipFill>
          <a:blip r:embed="rId9"/>
          <a:stretch>
            <a:fillRect/>
          </a:stretch>
        </p:blipFill>
        <p:spPr>
          <a:xfrm>
            <a:off x="11824447" y="7384265"/>
            <a:ext cx="3999754" cy="1328638"/>
          </a:xfrm>
          <a:prstGeom prst="rect">
            <a:avLst/>
          </a:prstGeom>
        </p:spPr>
      </p:pic>
    </p:spTree>
    <p:extLst>
      <p:ext uri="{BB962C8B-B14F-4D97-AF65-F5344CB8AC3E}">
        <p14:creationId xmlns:p14="http://schemas.microsoft.com/office/powerpoint/2010/main" val="41581908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xmlns:p15="http://schemas.microsoft.com/office/powerpoint/2012/main">
    <mc:Choice Requires="p15">
      <p:transition spd="med" advClick="0" advTm="9000">
        <p15:prstTrans prst="peelOff"/>
      </p:transition>
    </mc:Choice>
    <mc:Fallback xmlns="">
      <p:transition spd="med" advClick="0" advTm="9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008" y="1287834"/>
            <a:ext cx="15131403" cy="6359660"/>
          </a:xfrm>
          <a:prstGeom prst="rect">
            <a:avLst/>
          </a:prstGeom>
        </p:spPr>
        <p:txBody>
          <a:bodyPr/>
          <a:lstStyle>
            <a:lvl1pPr marL="0" indent="0">
              <a:buNone/>
              <a:defRPr sz="2133">
                <a:latin typeface="Arial"/>
                <a:cs typeface="Arial"/>
              </a:defRPr>
            </a:lvl1pPr>
            <a:lvl2pPr>
              <a:defRPr sz="2133">
                <a:latin typeface="Arial"/>
                <a:cs typeface="Arial"/>
              </a:defRPr>
            </a:lvl2pPr>
            <a:lvl3pPr>
              <a:defRPr sz="2133">
                <a:latin typeface="Arial"/>
                <a:cs typeface="Arial"/>
              </a:defRPr>
            </a:lvl3pPr>
            <a:lvl4pPr>
              <a:defRPr sz="2133">
                <a:latin typeface="Arial"/>
                <a:cs typeface="Arial"/>
              </a:defRPr>
            </a:lvl4pPr>
            <a:lvl5pPr>
              <a:defRPr sz="2133">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4429"/>
            <a:ext cx="16256000" cy="1597339"/>
          </a:xfrm>
          <a:prstGeom prst="rect">
            <a:avLst/>
          </a:prstGeom>
        </p:spPr>
      </p:pic>
      <p:sp>
        <p:nvSpPr>
          <p:cNvPr id="14" name="Titre 1"/>
          <p:cNvSpPr>
            <a:spLocks noGrp="1"/>
          </p:cNvSpPr>
          <p:nvPr>
            <p:ph type="title" hasCustomPrompt="1"/>
          </p:nvPr>
        </p:nvSpPr>
        <p:spPr>
          <a:xfrm>
            <a:off x="528009" y="451306"/>
            <a:ext cx="14915193" cy="402156"/>
          </a:xfrm>
          <a:prstGeom prst="rect">
            <a:avLst/>
          </a:prstGeom>
        </p:spPr>
        <p:txBody>
          <a:bodyPr>
            <a:noAutofit/>
          </a:bodyPr>
          <a:lstStyle>
            <a:lvl1pPr algn="l">
              <a:defRPr sz="2489">
                <a:solidFill>
                  <a:schemeClr val="tx1"/>
                </a:solidFill>
                <a:latin typeface="Arial Black"/>
                <a:cs typeface="Arial Black"/>
              </a:defRPr>
            </a:lvl1pPr>
          </a:lstStyle>
          <a:p>
            <a:r>
              <a:rPr lang="fr-FR"/>
              <a:t>Cliquez et modifiez le titre </a:t>
            </a:r>
          </a:p>
        </p:txBody>
      </p:sp>
    </p:spTree>
    <p:extLst>
      <p:ext uri="{BB962C8B-B14F-4D97-AF65-F5344CB8AC3E}">
        <p14:creationId xmlns:p14="http://schemas.microsoft.com/office/powerpoint/2010/main" val="2057118616"/>
      </p:ext>
    </p:extLst>
  </p:cSld>
  <p:clrMapOvr>
    <a:masterClrMapping/>
  </p:clrMapOvr>
  <mc:AlternateContent xmlns:mc="http://schemas.openxmlformats.org/markup-compatibility/2006" xmlns:p15="http://schemas.microsoft.com/office/powerpoint/2012/main">
    <mc:Choice Requires="p15">
      <p:transition spd="slow" advClick="0" advTm="9000">
        <p15:prstTrans prst="peelOff"/>
      </p:transition>
    </mc:Choice>
    <mc:Fallback xmlns="">
      <p:transition spd="slow" advClick="0" advTm="900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xmlns:p15="http://schemas.microsoft.com/office/powerpoint/2012/main">
    <mc:Choice Requires="p15">
      <p:transition spd="med" advClick="0" advTm="9000">
        <p15:prstTrans prst="peelOff"/>
      </p:transition>
    </mc:Choice>
    <mc:Fallback xmlns="">
      <p:transition spd="med" advClick="0" advTm="900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008" y="1287834"/>
            <a:ext cx="15131403" cy="6359660"/>
          </a:xfrm>
          <a:prstGeom prst="rect">
            <a:avLst/>
          </a:prstGeom>
        </p:spPr>
        <p:txBody>
          <a:bodyPr/>
          <a:lstStyle>
            <a:lvl1pPr marL="0" indent="0">
              <a:buNone/>
              <a:defRPr sz="2133">
                <a:latin typeface="Arial"/>
                <a:cs typeface="Arial"/>
              </a:defRPr>
            </a:lvl1pPr>
            <a:lvl2pPr>
              <a:defRPr sz="2133">
                <a:latin typeface="Arial"/>
                <a:cs typeface="Arial"/>
              </a:defRPr>
            </a:lvl2pPr>
            <a:lvl3pPr>
              <a:defRPr sz="2133">
                <a:latin typeface="Arial"/>
                <a:cs typeface="Arial"/>
              </a:defRPr>
            </a:lvl3pPr>
            <a:lvl4pPr>
              <a:defRPr sz="2133">
                <a:latin typeface="Arial"/>
                <a:cs typeface="Arial"/>
              </a:defRPr>
            </a:lvl4pPr>
            <a:lvl5pPr>
              <a:defRPr sz="2133">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4429"/>
            <a:ext cx="16256000" cy="1597339"/>
          </a:xfrm>
          <a:prstGeom prst="rect">
            <a:avLst/>
          </a:prstGeom>
        </p:spPr>
      </p:pic>
      <p:sp>
        <p:nvSpPr>
          <p:cNvPr id="14" name="Titre 1"/>
          <p:cNvSpPr>
            <a:spLocks noGrp="1"/>
          </p:cNvSpPr>
          <p:nvPr>
            <p:ph type="title" hasCustomPrompt="1"/>
          </p:nvPr>
        </p:nvSpPr>
        <p:spPr>
          <a:xfrm>
            <a:off x="528009" y="451306"/>
            <a:ext cx="14915193" cy="402156"/>
          </a:xfrm>
          <a:prstGeom prst="rect">
            <a:avLst/>
          </a:prstGeom>
        </p:spPr>
        <p:txBody>
          <a:bodyPr>
            <a:noAutofit/>
          </a:bodyPr>
          <a:lstStyle>
            <a:lvl1pPr algn="l">
              <a:defRPr sz="2489">
                <a:solidFill>
                  <a:schemeClr val="tx1"/>
                </a:solidFill>
                <a:latin typeface="Arial Black"/>
                <a:cs typeface="Arial Black"/>
              </a:defRPr>
            </a:lvl1pPr>
          </a:lstStyle>
          <a:p>
            <a:r>
              <a:rPr lang="fr-FR"/>
              <a:t>Cliquez et modifiez le titre </a:t>
            </a:r>
          </a:p>
        </p:txBody>
      </p:sp>
    </p:spTree>
    <p:extLst>
      <p:ext uri="{BB962C8B-B14F-4D97-AF65-F5344CB8AC3E}">
        <p14:creationId xmlns:p14="http://schemas.microsoft.com/office/powerpoint/2010/main" val="2057118616"/>
      </p:ext>
    </p:extLst>
  </p:cSld>
  <p:clrMapOvr>
    <a:masterClrMapping/>
  </p:clrMapOvr>
  <mc:AlternateContent xmlns:mc="http://schemas.openxmlformats.org/markup-compatibility/2006" xmlns:p15="http://schemas.microsoft.com/office/powerpoint/2012/main">
    <mc:Choice Requires="p15">
      <p:transition spd="slow" advClick="0" advTm="9000">
        <p15:prstTrans prst="peelOff"/>
      </p:transition>
    </mc:Choice>
    <mc:Fallback xmlns="">
      <p:transition spd="slow" advClick="0" advTm="9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extLst>
              <p:ext uri="{D42A27DB-BD31-4B8C-83A1-F6EECF244321}">
                <p14:modId xmlns:p14="http://schemas.microsoft.com/office/powerpoint/2010/main" val="25471779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651897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xmlns:p15="http://schemas.microsoft.com/office/powerpoint/2012/main">
    <mc:Choice Requires="p15">
      <p:transition spd="med" advClick="0" advTm="9000">
        <p15:prstTrans prst="peelOff"/>
      </p:transition>
    </mc:Choice>
    <mc:Fallback xmlns="">
      <p:transition spd="med" advClick="0" advTm="9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008" y="1287834"/>
            <a:ext cx="15131403" cy="6359660"/>
          </a:xfrm>
          <a:prstGeom prst="rect">
            <a:avLst/>
          </a:prstGeom>
        </p:spPr>
        <p:txBody>
          <a:bodyPr/>
          <a:lstStyle>
            <a:lvl1pPr marL="0" indent="0">
              <a:buNone/>
              <a:defRPr sz="2133">
                <a:latin typeface="Arial"/>
                <a:cs typeface="Arial"/>
              </a:defRPr>
            </a:lvl1pPr>
            <a:lvl2pPr>
              <a:defRPr sz="2133">
                <a:latin typeface="Arial"/>
                <a:cs typeface="Arial"/>
              </a:defRPr>
            </a:lvl2pPr>
            <a:lvl3pPr>
              <a:defRPr sz="2133">
                <a:latin typeface="Arial"/>
                <a:cs typeface="Arial"/>
              </a:defRPr>
            </a:lvl3pPr>
            <a:lvl4pPr>
              <a:defRPr sz="2133">
                <a:latin typeface="Arial"/>
                <a:cs typeface="Arial"/>
              </a:defRPr>
            </a:lvl4pPr>
            <a:lvl5pPr>
              <a:defRPr sz="2133">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4429"/>
            <a:ext cx="16256000" cy="1597339"/>
          </a:xfrm>
          <a:prstGeom prst="rect">
            <a:avLst/>
          </a:prstGeom>
        </p:spPr>
      </p:pic>
      <p:sp>
        <p:nvSpPr>
          <p:cNvPr id="14" name="Titre 1"/>
          <p:cNvSpPr>
            <a:spLocks noGrp="1"/>
          </p:cNvSpPr>
          <p:nvPr>
            <p:ph type="title" hasCustomPrompt="1"/>
          </p:nvPr>
        </p:nvSpPr>
        <p:spPr>
          <a:xfrm>
            <a:off x="528009" y="451306"/>
            <a:ext cx="14915193" cy="402156"/>
          </a:xfrm>
          <a:prstGeom prst="rect">
            <a:avLst/>
          </a:prstGeom>
        </p:spPr>
        <p:txBody>
          <a:bodyPr>
            <a:noAutofit/>
          </a:bodyPr>
          <a:lstStyle>
            <a:lvl1pPr algn="l">
              <a:defRPr sz="2489">
                <a:solidFill>
                  <a:schemeClr val="tx1"/>
                </a:solidFill>
                <a:latin typeface="Arial Black"/>
                <a:cs typeface="Arial Black"/>
              </a:defRPr>
            </a:lvl1pPr>
          </a:lstStyle>
          <a:p>
            <a:r>
              <a:rPr lang="fr-FR"/>
              <a:t>Cliquez et modifiez le titre </a:t>
            </a:r>
          </a:p>
        </p:txBody>
      </p:sp>
    </p:spTree>
    <p:extLst>
      <p:ext uri="{BB962C8B-B14F-4D97-AF65-F5344CB8AC3E}">
        <p14:creationId xmlns:p14="http://schemas.microsoft.com/office/powerpoint/2010/main" val="2057118616"/>
      </p:ext>
    </p:extLst>
  </p:cSld>
  <p:clrMapOvr>
    <a:masterClrMapping/>
  </p:clrMapOvr>
  <mc:AlternateContent xmlns:mc="http://schemas.openxmlformats.org/markup-compatibility/2006" xmlns:p15="http://schemas.microsoft.com/office/powerpoint/2012/main">
    <mc:Choice Requires="p15">
      <p:transition spd="slow" advClick="0" advTm="9000">
        <p15:prstTrans prst="peelOff"/>
      </p:transition>
    </mc:Choice>
    <mc:Fallback xmlns="">
      <p:transition spd="slow" advClick="0" advTm="9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39715840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1134387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extLst>
              <p:ext uri="{D42A27DB-BD31-4B8C-83A1-F6EECF244321}">
                <p14:modId xmlns:p14="http://schemas.microsoft.com/office/powerpoint/2010/main" val="2905829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7" y="1016"/>
            <a:ext cx="16252388" cy="9141968"/>
          </a:xfrm>
          <a:prstGeom prst="rect">
            <a:avLst/>
          </a:prstGeom>
        </p:spPr>
      </p:pic>
    </p:spTree>
    <p:extLst>
      <p:ext uri="{BB962C8B-B14F-4D97-AF65-F5344CB8AC3E}">
        <p14:creationId xmlns:p14="http://schemas.microsoft.com/office/powerpoint/2010/main" val="13881207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ECDDE-75F6-441C-A7CD-6B6088A1DB97}"/>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326ECDDE-75F6-441C-A7CD-6B6088A1DB9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E9533D2-CCF3-41FE-913A-C5716A77DF0F}"/>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2CB512A-DFA2-4141-8F22-97A6E39C5C58}"/>
              </a:ext>
            </a:extLst>
          </p:cNvPr>
          <p:cNvSpPr>
            <a:spLocks noGrp="1"/>
          </p:cNvSpPr>
          <p:nvPr>
            <p:ph type="title"/>
          </p:nvPr>
        </p:nvSpPr>
        <p:spPr/>
        <p:txBody>
          <a:bodyPr/>
          <a:lstStyle/>
          <a:p>
            <a:r>
              <a:rPr lang="fr-FR"/>
              <a:t>Modifiez le style du titre</a:t>
            </a:r>
          </a:p>
        </p:txBody>
      </p:sp>
      <p:sp>
        <p:nvSpPr>
          <p:cNvPr id="9" name="Slide Number Placeholder 8">
            <a:extLst>
              <a:ext uri="{FF2B5EF4-FFF2-40B4-BE49-F238E27FC236}">
                <a16:creationId xmlns:a16="http://schemas.microsoft.com/office/drawing/2014/main" id="{CC3AC1D8-76F5-4477-8BFA-442E21B53747}"/>
              </a:ext>
            </a:extLst>
          </p:cNvPr>
          <p:cNvSpPr>
            <a:spLocks noGrp="1"/>
          </p:cNvSpPr>
          <p:nvPr>
            <p:ph type="sldNum" sz="quarter" idx="10"/>
          </p:nvPr>
        </p:nvSpPr>
        <p:spPr/>
        <p:txBody>
          <a:bodyPr/>
          <a:lstStyle/>
          <a:p>
            <a:fld id="{54A149C6-6019-4B05-B4F5-8ADACCDF97D0}" type="slidenum">
              <a:rPr lang="fr-FR" smtClean="0"/>
              <a:pPr/>
              <a:t>‹#›</a:t>
            </a:fld>
            <a:endParaRPr lang="fr-FR"/>
          </a:p>
        </p:txBody>
      </p:sp>
      <p:sp>
        <p:nvSpPr>
          <p:cNvPr id="5" name="Text Placeholder 4">
            <a:extLst>
              <a:ext uri="{FF2B5EF4-FFF2-40B4-BE49-F238E27FC236}">
                <a16:creationId xmlns:a16="http://schemas.microsoft.com/office/drawing/2014/main" id="{18461A10-9ED6-4555-AB28-7C25757E0BC6}"/>
              </a:ext>
            </a:extLst>
          </p:cNvPr>
          <p:cNvSpPr>
            <a:spLocks noGrp="1"/>
          </p:cNvSpPr>
          <p:nvPr>
            <p:ph type="body" sz="quarter" idx="11"/>
          </p:nvPr>
        </p:nvSpPr>
        <p:spPr>
          <a:xfrm>
            <a:off x="1623358" y="1566170"/>
            <a:ext cx="14130743" cy="649874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3">
            <a:extLst>
              <a:ext uri="{FF2B5EF4-FFF2-40B4-BE49-F238E27FC236}">
                <a16:creationId xmlns:a16="http://schemas.microsoft.com/office/drawing/2014/main" id="{960CB1B5-39F3-05F5-9C76-FC7D53C419FA}"/>
              </a:ext>
            </a:extLst>
          </p:cNvPr>
          <p:cNvSpPr/>
          <p:nvPr userDrawn="1"/>
        </p:nvSpPr>
        <p:spPr>
          <a:xfrm>
            <a:off x="14418366" y="92766"/>
            <a:ext cx="1335735" cy="9863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olice, Graphique, logo, symbole&#10;&#10;Description générée automatiquement">
            <a:extLst>
              <a:ext uri="{FF2B5EF4-FFF2-40B4-BE49-F238E27FC236}">
                <a16:creationId xmlns:a16="http://schemas.microsoft.com/office/drawing/2014/main" id="{17C7DE8B-AC9E-74AD-CBEE-176C9339BB9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281926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Offre servic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 y="0"/>
            <a:ext cx="16252388" cy="9144000"/>
          </a:xfrm>
          <a:prstGeom prst="rect">
            <a:avLst/>
          </a:prstGeom>
        </p:spPr>
      </p:pic>
      <p:grpSp>
        <p:nvGrpSpPr>
          <p:cNvPr id="15" name="Graphic 12">
            <a:extLst>
              <a:ext uri="{FF2B5EF4-FFF2-40B4-BE49-F238E27FC236}">
                <a16:creationId xmlns:a16="http://schemas.microsoft.com/office/drawing/2014/main" id="{C0B1D1F8-415E-4A19-B9E5-F28953E1252D}"/>
              </a:ext>
            </a:extLst>
          </p:cNvPr>
          <p:cNvGrpSpPr/>
          <p:nvPr/>
        </p:nvGrpSpPr>
        <p:grpSpPr>
          <a:xfrm>
            <a:off x="4870449" y="3671222"/>
            <a:ext cx="4448256" cy="1161732"/>
            <a:chOff x="3652837" y="2753416"/>
            <a:chExt cx="3336192" cy="871299"/>
          </a:xfrm>
          <a:solidFill>
            <a:schemeClr val="tx1"/>
          </a:solidFill>
        </p:grpSpPr>
        <p:sp>
          <p:nvSpPr>
            <p:cNvPr id="16" name="Freeform: Shape 15">
              <a:extLst>
                <a:ext uri="{FF2B5EF4-FFF2-40B4-BE49-F238E27FC236}">
                  <a16:creationId xmlns:a16="http://schemas.microsoft.com/office/drawing/2014/main" id="{8B3B54E9-CBA0-4170-A706-420034CF7864}"/>
                </a:ext>
              </a:extLst>
            </p:cNvPr>
            <p:cNvSpPr/>
            <p:nvPr/>
          </p:nvSpPr>
          <p:spPr>
            <a:xfrm>
              <a:off x="4704855"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17" name="Freeform: Shape 16">
              <a:extLst>
                <a:ext uri="{FF2B5EF4-FFF2-40B4-BE49-F238E27FC236}">
                  <a16:creationId xmlns:a16="http://schemas.microsoft.com/office/drawing/2014/main" id="{FAA692DA-921F-4544-A858-A912EA04B797}"/>
                </a:ext>
              </a:extLst>
            </p:cNvPr>
            <p:cNvSpPr/>
            <p:nvPr/>
          </p:nvSpPr>
          <p:spPr>
            <a:xfrm>
              <a:off x="4873764" y="2758243"/>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18" name="Freeform: Shape 17">
              <a:extLst>
                <a:ext uri="{FF2B5EF4-FFF2-40B4-BE49-F238E27FC236}">
                  <a16:creationId xmlns:a16="http://schemas.microsoft.com/office/drawing/2014/main" id="{7D7314FE-3536-4A0C-9961-B5D1D84DF4BD}"/>
                </a:ext>
              </a:extLst>
            </p:cNvPr>
            <p:cNvSpPr/>
            <p:nvPr/>
          </p:nvSpPr>
          <p:spPr>
            <a:xfrm>
              <a:off x="5236193" y="2758243"/>
              <a:ext cx="211596" cy="212135"/>
            </a:xfrm>
            <a:custGeom>
              <a:avLst/>
              <a:gdLst>
                <a:gd name="connsiteX0" fmla="*/ 211596 w 211596"/>
                <a:gd name="connsiteY0" fmla="*/ 0 h 212135"/>
                <a:gd name="connsiteX1" fmla="*/ 211596 w 211596"/>
                <a:gd name="connsiteY1" fmla="*/ 212136 h 212135"/>
                <a:gd name="connsiteX2" fmla="*/ 152101 w 211596"/>
                <a:gd name="connsiteY2" fmla="*/ 212136 h 212135"/>
                <a:gd name="connsiteX3" fmla="*/ 70532 w 211596"/>
                <a:gd name="connsiteY3" fmla="*/ 115785 h 212135"/>
                <a:gd name="connsiteX4" fmla="*/ 70532 w 211596"/>
                <a:gd name="connsiteY4" fmla="*/ 212136 h 212135"/>
                <a:gd name="connsiteX5" fmla="*/ 0 w 211596"/>
                <a:gd name="connsiteY5" fmla="*/ 212136 h 212135"/>
                <a:gd name="connsiteX6" fmla="*/ 0 w 211596"/>
                <a:gd name="connsiteY6" fmla="*/ 0 h 212135"/>
                <a:gd name="connsiteX7" fmla="*/ 59496 w 211596"/>
                <a:gd name="connsiteY7" fmla="*/ 0 h 212135"/>
                <a:gd name="connsiteX8" fmla="*/ 141064 w 211596"/>
                <a:gd name="connsiteY8" fmla="*/ 96351 h 212135"/>
                <a:gd name="connsiteX9" fmla="*/ 141064 w 211596"/>
                <a:gd name="connsiteY9" fmla="*/ 0 h 212135"/>
                <a:gd name="connsiteX10" fmla="*/ 211596 w 211596"/>
                <a:gd name="connsiteY10"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596" h="212135">
                  <a:moveTo>
                    <a:pt x="211596" y="0"/>
                  </a:moveTo>
                  <a:lnTo>
                    <a:pt x="211596" y="212136"/>
                  </a:lnTo>
                  <a:lnTo>
                    <a:pt x="152101" y="212136"/>
                  </a:lnTo>
                  <a:lnTo>
                    <a:pt x="70532" y="115785"/>
                  </a:lnTo>
                  <a:lnTo>
                    <a:pt x="70532" y="212136"/>
                  </a:lnTo>
                  <a:lnTo>
                    <a:pt x="0" y="212136"/>
                  </a:lnTo>
                  <a:lnTo>
                    <a:pt x="0" y="0"/>
                  </a:lnTo>
                  <a:lnTo>
                    <a:pt x="59496" y="0"/>
                  </a:lnTo>
                  <a:lnTo>
                    <a:pt x="141064" y="96351"/>
                  </a:lnTo>
                  <a:lnTo>
                    <a:pt x="141064" y="0"/>
                  </a:lnTo>
                  <a:lnTo>
                    <a:pt x="211596" y="0"/>
                  </a:lnTo>
                  <a:close/>
                </a:path>
              </a:pathLst>
            </a:custGeom>
            <a:grpFill/>
            <a:ln w="6334" cap="flat">
              <a:noFill/>
              <a:prstDash val="solid"/>
              <a:miter/>
            </a:ln>
          </p:spPr>
          <p:txBody>
            <a:bodyPr rtlCol="0" anchor="ctr"/>
            <a:lstStyle/>
            <a:p>
              <a:endParaRPr lang="fr-FR" sz="2400"/>
            </a:p>
          </p:txBody>
        </p:sp>
        <p:sp>
          <p:nvSpPr>
            <p:cNvPr id="19" name="Freeform: Shape 18">
              <a:extLst>
                <a:ext uri="{FF2B5EF4-FFF2-40B4-BE49-F238E27FC236}">
                  <a16:creationId xmlns:a16="http://schemas.microsoft.com/office/drawing/2014/main" id="{17B95562-D9CC-4A55-BCAF-D7E19869E4A7}"/>
                </a:ext>
              </a:extLst>
            </p:cNvPr>
            <p:cNvSpPr/>
            <p:nvPr/>
          </p:nvSpPr>
          <p:spPr>
            <a:xfrm>
              <a:off x="5474048" y="2753416"/>
              <a:ext cx="242295" cy="221789"/>
            </a:xfrm>
            <a:custGeom>
              <a:avLst/>
              <a:gdLst>
                <a:gd name="connsiteX0" fmla="*/ 58925 w 242295"/>
                <a:gd name="connsiteY0" fmla="*/ 207560 h 221789"/>
                <a:gd name="connsiteX1" fmla="*/ 15667 w 242295"/>
                <a:gd name="connsiteY1" fmla="*/ 168004 h 221789"/>
                <a:gd name="connsiteX2" fmla="*/ 0 w 242295"/>
                <a:gd name="connsiteY2" fmla="*/ 110895 h 221789"/>
                <a:gd name="connsiteX3" fmla="*/ 15667 w 242295"/>
                <a:gd name="connsiteY3" fmla="*/ 53786 h 221789"/>
                <a:gd name="connsiteX4" fmla="*/ 58925 w 242295"/>
                <a:gd name="connsiteY4" fmla="*/ 14230 h 221789"/>
                <a:gd name="connsiteX5" fmla="*/ 121148 w 242295"/>
                <a:gd name="connsiteY5" fmla="*/ 0 h 221789"/>
                <a:gd name="connsiteX6" fmla="*/ 183371 w 242295"/>
                <a:gd name="connsiteY6" fmla="*/ 14230 h 221789"/>
                <a:gd name="connsiteX7" fmla="*/ 226629 w 242295"/>
                <a:gd name="connsiteY7" fmla="*/ 53786 h 221789"/>
                <a:gd name="connsiteX8" fmla="*/ 242295 w 242295"/>
                <a:gd name="connsiteY8" fmla="*/ 110895 h 221789"/>
                <a:gd name="connsiteX9" fmla="*/ 226629 w 242295"/>
                <a:gd name="connsiteY9" fmla="*/ 168004 h 221789"/>
                <a:gd name="connsiteX10" fmla="*/ 183371 w 242295"/>
                <a:gd name="connsiteY10" fmla="*/ 207560 h 221789"/>
                <a:gd name="connsiteX11" fmla="*/ 121148 w 242295"/>
                <a:gd name="connsiteY11" fmla="*/ 221790 h 221789"/>
                <a:gd name="connsiteX12" fmla="*/ 58925 w 242295"/>
                <a:gd name="connsiteY12" fmla="*/ 207560 h 221789"/>
                <a:gd name="connsiteX13" fmla="*/ 145567 w 242295"/>
                <a:gd name="connsiteY13" fmla="*/ 157409 h 221789"/>
                <a:gd name="connsiteX14" fmla="*/ 162883 w 242295"/>
                <a:gd name="connsiteY14" fmla="*/ 138916 h 221789"/>
                <a:gd name="connsiteX15" fmla="*/ 169353 w 242295"/>
                <a:gd name="connsiteY15" fmla="*/ 110895 h 221789"/>
                <a:gd name="connsiteX16" fmla="*/ 162883 w 242295"/>
                <a:gd name="connsiteY16" fmla="*/ 82873 h 221789"/>
                <a:gd name="connsiteX17" fmla="*/ 145567 w 242295"/>
                <a:gd name="connsiteY17" fmla="*/ 64380 h 221789"/>
                <a:gd name="connsiteX18" fmla="*/ 121211 w 242295"/>
                <a:gd name="connsiteY18" fmla="*/ 57861 h 221789"/>
                <a:gd name="connsiteX19" fmla="*/ 96855 w 242295"/>
                <a:gd name="connsiteY19" fmla="*/ 64380 h 221789"/>
                <a:gd name="connsiteX20" fmla="*/ 79539 w 242295"/>
                <a:gd name="connsiteY20" fmla="*/ 82873 h 221789"/>
                <a:gd name="connsiteX21" fmla="*/ 73069 w 242295"/>
                <a:gd name="connsiteY21" fmla="*/ 110895 h 221789"/>
                <a:gd name="connsiteX22" fmla="*/ 79539 w 242295"/>
                <a:gd name="connsiteY22" fmla="*/ 138916 h 221789"/>
                <a:gd name="connsiteX23" fmla="*/ 96855 w 242295"/>
                <a:gd name="connsiteY23" fmla="*/ 157409 h 221789"/>
                <a:gd name="connsiteX24" fmla="*/ 121211 w 242295"/>
                <a:gd name="connsiteY24" fmla="*/ 163929 h 221789"/>
                <a:gd name="connsiteX25" fmla="*/ 145567 w 242295"/>
                <a:gd name="connsiteY25" fmla="*/ 157409 h 22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89">
                  <a:moveTo>
                    <a:pt x="58925" y="207560"/>
                  </a:moveTo>
                  <a:cubicBezTo>
                    <a:pt x="40530" y="198094"/>
                    <a:pt x="26132" y="184867"/>
                    <a:pt x="15667" y="168004"/>
                  </a:cubicBezTo>
                  <a:cubicBezTo>
                    <a:pt x="5264" y="151141"/>
                    <a:pt x="0" y="132083"/>
                    <a:pt x="0" y="110895"/>
                  </a:cubicBezTo>
                  <a:cubicBezTo>
                    <a:pt x="0" y="89706"/>
                    <a:pt x="5201" y="70649"/>
                    <a:pt x="15667" y="53786"/>
                  </a:cubicBezTo>
                  <a:cubicBezTo>
                    <a:pt x="26132" y="36923"/>
                    <a:pt x="40530"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94"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8060" y="221790"/>
                    <a:pt x="77319" y="217026"/>
                    <a:pt x="58925" y="207560"/>
                  </a:cubicBezTo>
                  <a:close/>
                  <a:moveTo>
                    <a:pt x="145567" y="157409"/>
                  </a:moveTo>
                  <a:cubicBezTo>
                    <a:pt x="152798" y="153084"/>
                    <a:pt x="158570" y="146878"/>
                    <a:pt x="162883" y="138916"/>
                  </a:cubicBezTo>
                  <a:cubicBezTo>
                    <a:pt x="167196" y="130955"/>
                    <a:pt x="169353" y="121615"/>
                    <a:pt x="169353" y="110895"/>
                  </a:cubicBezTo>
                  <a:cubicBezTo>
                    <a:pt x="169353" y="100175"/>
                    <a:pt x="167196" y="90835"/>
                    <a:pt x="162883" y="82873"/>
                  </a:cubicBezTo>
                  <a:cubicBezTo>
                    <a:pt x="158570" y="74912"/>
                    <a:pt x="152798" y="68706"/>
                    <a:pt x="145567" y="64380"/>
                  </a:cubicBezTo>
                  <a:cubicBezTo>
                    <a:pt x="138337" y="60055"/>
                    <a:pt x="130154" y="57861"/>
                    <a:pt x="121211" y="57861"/>
                  </a:cubicBezTo>
                  <a:cubicBezTo>
                    <a:pt x="112204" y="57861"/>
                    <a:pt x="104086" y="60055"/>
                    <a:pt x="96855" y="64380"/>
                  </a:cubicBezTo>
                  <a:cubicBezTo>
                    <a:pt x="89624" y="68706"/>
                    <a:pt x="83852" y="74912"/>
                    <a:pt x="79539" y="82873"/>
                  </a:cubicBezTo>
                  <a:cubicBezTo>
                    <a:pt x="75226" y="90835"/>
                    <a:pt x="73069" y="100175"/>
                    <a:pt x="73069" y="110895"/>
                  </a:cubicBezTo>
                  <a:cubicBezTo>
                    <a:pt x="73069" y="121615"/>
                    <a:pt x="75226" y="130955"/>
                    <a:pt x="79539" y="138916"/>
                  </a:cubicBezTo>
                  <a:cubicBezTo>
                    <a:pt x="83852" y="146878"/>
                    <a:pt x="89624" y="153084"/>
                    <a:pt x="96855" y="157409"/>
                  </a:cubicBezTo>
                  <a:cubicBezTo>
                    <a:pt x="104086" y="161735"/>
                    <a:pt x="112204" y="163929"/>
                    <a:pt x="121211" y="163929"/>
                  </a:cubicBezTo>
                  <a:cubicBezTo>
                    <a:pt x="130154" y="163929"/>
                    <a:pt x="138337" y="161735"/>
                    <a:pt x="145567" y="157409"/>
                  </a:cubicBezTo>
                  <a:close/>
                </a:path>
              </a:pathLst>
            </a:custGeom>
            <a:grpFill/>
            <a:ln w="6334"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770633DD-6132-46F7-9B72-1DF439428D4E}"/>
                </a:ext>
              </a:extLst>
            </p:cNvPr>
            <p:cNvSpPr/>
            <p:nvPr/>
          </p:nvSpPr>
          <p:spPr>
            <a:xfrm>
              <a:off x="5740890" y="2758243"/>
              <a:ext cx="209122" cy="216962"/>
            </a:xfrm>
            <a:custGeom>
              <a:avLst/>
              <a:gdLst>
                <a:gd name="connsiteX0" fmla="*/ 27591 w 209122"/>
                <a:gd name="connsiteY0" fmla="*/ 190634 h 216962"/>
                <a:gd name="connsiteX1" fmla="*/ 0 w 209122"/>
                <a:gd name="connsiteY1" fmla="*/ 116725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3 w 209122"/>
                <a:gd name="connsiteY10" fmla="*/ 0 h 216962"/>
                <a:gd name="connsiteX11" fmla="*/ 209123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634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634"/>
                  </a:moveTo>
                  <a:cubicBezTo>
                    <a:pt x="9197" y="173081"/>
                    <a:pt x="0" y="148382"/>
                    <a:pt x="0" y="116725"/>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8" y="155529"/>
                    <a:pt x="129520" y="148445"/>
                  </a:cubicBezTo>
                  <a:cubicBezTo>
                    <a:pt x="135165" y="141361"/>
                    <a:pt x="137956" y="130077"/>
                    <a:pt x="137956" y="114531"/>
                  </a:cubicBezTo>
                  <a:lnTo>
                    <a:pt x="137956" y="0"/>
                  </a:lnTo>
                  <a:lnTo>
                    <a:pt x="209123" y="0"/>
                  </a:lnTo>
                  <a:lnTo>
                    <a:pt x="209123" y="116662"/>
                  </a:lnTo>
                  <a:cubicBezTo>
                    <a:pt x="209123" y="148382"/>
                    <a:pt x="199925" y="173019"/>
                    <a:pt x="181531" y="190571"/>
                  </a:cubicBezTo>
                  <a:cubicBezTo>
                    <a:pt x="163137" y="208124"/>
                    <a:pt x="137449" y="216963"/>
                    <a:pt x="104593" y="216963"/>
                  </a:cubicBezTo>
                  <a:cubicBezTo>
                    <a:pt x="71610" y="216963"/>
                    <a:pt x="45985" y="208187"/>
                    <a:pt x="27591" y="190634"/>
                  </a:cubicBezTo>
                  <a:close/>
                </a:path>
              </a:pathLst>
            </a:custGeom>
            <a:grpFill/>
            <a:ln w="6334"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EAF1ACE6-4E14-4ADF-A0EC-51DC2A103D83}"/>
                </a:ext>
              </a:extLst>
            </p:cNvPr>
            <p:cNvSpPr/>
            <p:nvPr/>
          </p:nvSpPr>
          <p:spPr>
            <a:xfrm>
              <a:off x="5959781" y="275824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743EE5E0-B5B2-45A1-93FC-5242F3D5B104}"/>
                </a:ext>
              </a:extLst>
            </p:cNvPr>
            <p:cNvSpPr/>
            <p:nvPr/>
          </p:nvSpPr>
          <p:spPr>
            <a:xfrm>
              <a:off x="6219519"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546991BE-8E37-4D97-8957-5D464AF2D62E}"/>
                </a:ext>
              </a:extLst>
            </p:cNvPr>
            <p:cNvSpPr/>
            <p:nvPr/>
          </p:nvSpPr>
          <p:spPr>
            <a:xfrm>
              <a:off x="6425851"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82E55EA9-8773-4033-85D1-D58C73CB7E5E}"/>
                </a:ext>
              </a:extLst>
            </p:cNvPr>
            <p:cNvSpPr/>
            <p:nvPr/>
          </p:nvSpPr>
          <p:spPr>
            <a:xfrm>
              <a:off x="6615057" y="2758243"/>
              <a:ext cx="169289" cy="212135"/>
            </a:xfrm>
            <a:custGeom>
              <a:avLst/>
              <a:gdLst>
                <a:gd name="connsiteX0" fmla="*/ 0 w 169289"/>
                <a:gd name="connsiteY0" fmla="*/ 0 h 212135"/>
                <a:gd name="connsiteX1" fmla="*/ 72372 w 169289"/>
                <a:gd name="connsiteY1" fmla="*/ 0 h 212135"/>
                <a:gd name="connsiteX2" fmla="*/ 72372 w 169289"/>
                <a:gd name="connsiteY2" fmla="*/ 156657 h 212135"/>
                <a:gd name="connsiteX3" fmla="*/ 169290 w 169289"/>
                <a:gd name="connsiteY3" fmla="*/ 156657 h 212135"/>
                <a:gd name="connsiteX4" fmla="*/ 169290 w 169289"/>
                <a:gd name="connsiteY4" fmla="*/ 212136 h 212135"/>
                <a:gd name="connsiteX5" fmla="*/ 63 w 169289"/>
                <a:gd name="connsiteY5" fmla="*/ 212136 h 212135"/>
                <a:gd name="connsiteX6" fmla="*/ 63 w 169289"/>
                <a:gd name="connsiteY6"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289" h="212135">
                  <a:moveTo>
                    <a:pt x="0" y="0"/>
                  </a:moveTo>
                  <a:lnTo>
                    <a:pt x="72372" y="0"/>
                  </a:lnTo>
                  <a:lnTo>
                    <a:pt x="72372" y="156657"/>
                  </a:lnTo>
                  <a:lnTo>
                    <a:pt x="169290" y="156657"/>
                  </a:lnTo>
                  <a:lnTo>
                    <a:pt x="169290" y="212136"/>
                  </a:lnTo>
                  <a:lnTo>
                    <a:pt x="63" y="212136"/>
                  </a:lnTo>
                  <a:lnTo>
                    <a:pt x="63" y="0"/>
                  </a:lnTo>
                  <a:close/>
                </a:path>
              </a:pathLst>
            </a:custGeom>
            <a:grpFill/>
            <a:ln w="6334"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99162F96-F366-483C-8401-BDADD3BE4FE1}"/>
                </a:ext>
              </a:extLst>
            </p:cNvPr>
            <p:cNvSpPr/>
            <p:nvPr/>
          </p:nvSpPr>
          <p:spPr>
            <a:xfrm>
              <a:off x="6804263" y="2758243"/>
              <a:ext cx="178423" cy="212073"/>
            </a:xfrm>
            <a:custGeom>
              <a:avLst/>
              <a:gdLst>
                <a:gd name="connsiteX0" fmla="*/ 178423 w 178423"/>
                <a:gd name="connsiteY0" fmla="*/ 158162 h 212073"/>
                <a:gd name="connsiteX1" fmla="*/ 178423 w 178423"/>
                <a:gd name="connsiteY1" fmla="*/ 212073 h 212073"/>
                <a:gd name="connsiteX2" fmla="*/ 0 w 178423"/>
                <a:gd name="connsiteY2" fmla="*/ 212073 h 212073"/>
                <a:gd name="connsiteX3" fmla="*/ 0 w 178423"/>
                <a:gd name="connsiteY3" fmla="*/ 0 h 212073"/>
                <a:gd name="connsiteX4" fmla="*/ 174491 w 178423"/>
                <a:gd name="connsiteY4" fmla="*/ 0 h 212073"/>
                <a:gd name="connsiteX5" fmla="*/ 174491 w 178423"/>
                <a:gd name="connsiteY5" fmla="*/ 53912 h 212073"/>
                <a:gd name="connsiteX6" fmla="*/ 71166 w 178423"/>
                <a:gd name="connsiteY6" fmla="*/ 53912 h 212073"/>
                <a:gd name="connsiteX7" fmla="*/ 71166 w 178423"/>
                <a:gd name="connsiteY7" fmla="*/ 78736 h 212073"/>
                <a:gd name="connsiteX8" fmla="*/ 161932 w 178423"/>
                <a:gd name="connsiteY8" fmla="*/ 78736 h 212073"/>
                <a:gd name="connsiteX9" fmla="*/ 161932 w 178423"/>
                <a:gd name="connsiteY9" fmla="*/ 130265 h 212073"/>
                <a:gd name="connsiteX10" fmla="*/ 71166 w 178423"/>
                <a:gd name="connsiteY10" fmla="*/ 130265 h 212073"/>
                <a:gd name="connsiteX11" fmla="*/ 71166 w 178423"/>
                <a:gd name="connsiteY11" fmla="*/ 158162 h 212073"/>
                <a:gd name="connsiteX12" fmla="*/ 178423 w 178423"/>
                <a:gd name="connsiteY12" fmla="*/ 158162 h 21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073">
                  <a:moveTo>
                    <a:pt x="178423" y="158162"/>
                  </a:moveTo>
                  <a:lnTo>
                    <a:pt x="178423" y="212073"/>
                  </a:lnTo>
                  <a:lnTo>
                    <a:pt x="0" y="212073"/>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EB85DEA8-C26A-4868-90A1-8B1FA3E13916}"/>
                </a:ext>
              </a:extLst>
            </p:cNvPr>
            <p:cNvSpPr/>
            <p:nvPr/>
          </p:nvSpPr>
          <p:spPr>
            <a:xfrm>
              <a:off x="3652837" y="3078076"/>
              <a:ext cx="242295" cy="221790"/>
            </a:xfrm>
            <a:custGeom>
              <a:avLst/>
              <a:gdLst>
                <a:gd name="connsiteX0" fmla="*/ 58861 w 242295"/>
                <a:gd name="connsiteY0" fmla="*/ 207560 h 221790"/>
                <a:gd name="connsiteX1" fmla="*/ 15603 w 242295"/>
                <a:gd name="connsiteY1" fmla="*/ 168004 h 221790"/>
                <a:gd name="connsiteX2" fmla="*/ 0 w 242295"/>
                <a:gd name="connsiteY2" fmla="*/ 110895 h 221790"/>
                <a:gd name="connsiteX3" fmla="*/ 15667 w 242295"/>
                <a:gd name="connsiteY3" fmla="*/ 53786 h 221790"/>
                <a:gd name="connsiteX4" fmla="*/ 58925 w 242295"/>
                <a:gd name="connsiteY4" fmla="*/ 14230 h 221790"/>
                <a:gd name="connsiteX5" fmla="*/ 121148 w 242295"/>
                <a:gd name="connsiteY5" fmla="*/ 0 h 221790"/>
                <a:gd name="connsiteX6" fmla="*/ 183371 w 242295"/>
                <a:gd name="connsiteY6" fmla="*/ 14230 h 221790"/>
                <a:gd name="connsiteX7" fmla="*/ 226629 w 242295"/>
                <a:gd name="connsiteY7" fmla="*/ 53786 h 221790"/>
                <a:gd name="connsiteX8" fmla="*/ 242295 w 242295"/>
                <a:gd name="connsiteY8" fmla="*/ 110895 h 221790"/>
                <a:gd name="connsiteX9" fmla="*/ 226629 w 242295"/>
                <a:gd name="connsiteY9" fmla="*/ 168004 h 221790"/>
                <a:gd name="connsiteX10" fmla="*/ 183371 w 242295"/>
                <a:gd name="connsiteY10" fmla="*/ 207560 h 221790"/>
                <a:gd name="connsiteX11" fmla="*/ 121148 w 242295"/>
                <a:gd name="connsiteY11" fmla="*/ 221790 h 221790"/>
                <a:gd name="connsiteX12" fmla="*/ 58861 w 242295"/>
                <a:gd name="connsiteY12" fmla="*/ 207560 h 221790"/>
                <a:gd name="connsiteX13" fmla="*/ 145504 w 242295"/>
                <a:gd name="connsiteY13" fmla="*/ 157409 h 221790"/>
                <a:gd name="connsiteX14" fmla="*/ 162820 w 242295"/>
                <a:gd name="connsiteY14" fmla="*/ 138916 h 221790"/>
                <a:gd name="connsiteX15" fmla="*/ 169290 w 242295"/>
                <a:gd name="connsiteY15" fmla="*/ 110895 h 221790"/>
                <a:gd name="connsiteX16" fmla="*/ 162820 w 242295"/>
                <a:gd name="connsiteY16" fmla="*/ 82873 h 221790"/>
                <a:gd name="connsiteX17" fmla="*/ 145504 w 242295"/>
                <a:gd name="connsiteY17" fmla="*/ 64380 h 221790"/>
                <a:gd name="connsiteX18" fmla="*/ 121148 w 242295"/>
                <a:gd name="connsiteY18" fmla="*/ 57861 h 221790"/>
                <a:gd name="connsiteX19" fmla="*/ 96791 w 242295"/>
                <a:gd name="connsiteY19" fmla="*/ 64380 h 221790"/>
                <a:gd name="connsiteX20" fmla="*/ 79475 w 242295"/>
                <a:gd name="connsiteY20" fmla="*/ 82873 h 221790"/>
                <a:gd name="connsiteX21" fmla="*/ 73006 w 242295"/>
                <a:gd name="connsiteY21" fmla="*/ 110895 h 221790"/>
                <a:gd name="connsiteX22" fmla="*/ 79475 w 242295"/>
                <a:gd name="connsiteY22" fmla="*/ 138916 h 221790"/>
                <a:gd name="connsiteX23" fmla="*/ 96791 w 242295"/>
                <a:gd name="connsiteY23" fmla="*/ 157409 h 221790"/>
                <a:gd name="connsiteX24" fmla="*/ 121148 w 242295"/>
                <a:gd name="connsiteY24" fmla="*/ 163929 h 221790"/>
                <a:gd name="connsiteX25" fmla="*/ 145504 w 242295"/>
                <a:gd name="connsiteY25" fmla="*/ 157409 h 22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2295" h="221790">
                  <a:moveTo>
                    <a:pt x="58861" y="207560"/>
                  </a:moveTo>
                  <a:cubicBezTo>
                    <a:pt x="40467" y="198094"/>
                    <a:pt x="26069" y="184867"/>
                    <a:pt x="15603" y="168004"/>
                  </a:cubicBezTo>
                  <a:cubicBezTo>
                    <a:pt x="5201" y="151141"/>
                    <a:pt x="0" y="132146"/>
                    <a:pt x="0" y="110895"/>
                  </a:cubicBezTo>
                  <a:cubicBezTo>
                    <a:pt x="0" y="89706"/>
                    <a:pt x="5201" y="70649"/>
                    <a:pt x="15667" y="53786"/>
                  </a:cubicBezTo>
                  <a:cubicBezTo>
                    <a:pt x="26069" y="36923"/>
                    <a:pt x="40531" y="23759"/>
                    <a:pt x="58925" y="14230"/>
                  </a:cubicBezTo>
                  <a:cubicBezTo>
                    <a:pt x="77319" y="4764"/>
                    <a:pt x="98060" y="0"/>
                    <a:pt x="121148" y="0"/>
                  </a:cubicBezTo>
                  <a:cubicBezTo>
                    <a:pt x="144236" y="0"/>
                    <a:pt x="164977" y="4764"/>
                    <a:pt x="183371" y="14230"/>
                  </a:cubicBezTo>
                  <a:cubicBezTo>
                    <a:pt x="201765" y="23696"/>
                    <a:pt x="216163" y="36923"/>
                    <a:pt x="226629" y="53786"/>
                  </a:cubicBezTo>
                  <a:cubicBezTo>
                    <a:pt x="237031" y="70649"/>
                    <a:pt x="242295" y="89706"/>
                    <a:pt x="242295" y="110895"/>
                  </a:cubicBezTo>
                  <a:cubicBezTo>
                    <a:pt x="242295" y="132083"/>
                    <a:pt x="237094" y="151141"/>
                    <a:pt x="226629" y="168004"/>
                  </a:cubicBezTo>
                  <a:cubicBezTo>
                    <a:pt x="216226" y="184867"/>
                    <a:pt x="201765" y="198031"/>
                    <a:pt x="183371" y="207560"/>
                  </a:cubicBezTo>
                  <a:cubicBezTo>
                    <a:pt x="164977" y="217026"/>
                    <a:pt x="144236" y="221790"/>
                    <a:pt x="121148" y="221790"/>
                  </a:cubicBezTo>
                  <a:cubicBezTo>
                    <a:pt x="97996" y="221853"/>
                    <a:pt x="77255" y="217088"/>
                    <a:pt x="58861" y="207560"/>
                  </a:cubicBezTo>
                  <a:close/>
                  <a:moveTo>
                    <a:pt x="145504" y="157409"/>
                  </a:moveTo>
                  <a:cubicBezTo>
                    <a:pt x="152735" y="153084"/>
                    <a:pt x="158507" y="146878"/>
                    <a:pt x="162820" y="138916"/>
                  </a:cubicBezTo>
                  <a:cubicBezTo>
                    <a:pt x="167133" y="130955"/>
                    <a:pt x="169290" y="121615"/>
                    <a:pt x="169290" y="110895"/>
                  </a:cubicBezTo>
                  <a:cubicBezTo>
                    <a:pt x="169290" y="100175"/>
                    <a:pt x="167133" y="90835"/>
                    <a:pt x="162820" y="82873"/>
                  </a:cubicBezTo>
                  <a:cubicBezTo>
                    <a:pt x="158507" y="74912"/>
                    <a:pt x="152735" y="68706"/>
                    <a:pt x="145504" y="64380"/>
                  </a:cubicBezTo>
                  <a:cubicBezTo>
                    <a:pt x="138273" y="60055"/>
                    <a:pt x="130091" y="57861"/>
                    <a:pt x="121148" y="57861"/>
                  </a:cubicBezTo>
                  <a:cubicBezTo>
                    <a:pt x="112141" y="57861"/>
                    <a:pt x="104022" y="60055"/>
                    <a:pt x="96791" y="64380"/>
                  </a:cubicBezTo>
                  <a:cubicBezTo>
                    <a:pt x="89561" y="68706"/>
                    <a:pt x="83789" y="74912"/>
                    <a:pt x="79475" y="82873"/>
                  </a:cubicBezTo>
                  <a:cubicBezTo>
                    <a:pt x="75162" y="90835"/>
                    <a:pt x="73006" y="100175"/>
                    <a:pt x="73006" y="110895"/>
                  </a:cubicBezTo>
                  <a:cubicBezTo>
                    <a:pt x="73006" y="121615"/>
                    <a:pt x="75162" y="130955"/>
                    <a:pt x="79475" y="138916"/>
                  </a:cubicBezTo>
                  <a:cubicBezTo>
                    <a:pt x="83789" y="146878"/>
                    <a:pt x="89561" y="153084"/>
                    <a:pt x="96791" y="157409"/>
                  </a:cubicBezTo>
                  <a:cubicBezTo>
                    <a:pt x="104022" y="161735"/>
                    <a:pt x="112141" y="163929"/>
                    <a:pt x="121148" y="163929"/>
                  </a:cubicBezTo>
                  <a:cubicBezTo>
                    <a:pt x="130091" y="163929"/>
                    <a:pt x="138210" y="161798"/>
                    <a:pt x="145504" y="157409"/>
                  </a:cubicBezTo>
                  <a:close/>
                </a:path>
              </a:pathLst>
            </a:custGeom>
            <a:grpFill/>
            <a:ln w="6334"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15F7E7B0-F44D-4771-86E7-B4C75AC3F06D}"/>
                </a:ext>
              </a:extLst>
            </p:cNvPr>
            <p:cNvSpPr/>
            <p:nvPr/>
          </p:nvSpPr>
          <p:spPr>
            <a:xfrm>
              <a:off x="3921455" y="3082903"/>
              <a:ext cx="174490" cy="212198"/>
            </a:xfrm>
            <a:custGeom>
              <a:avLst/>
              <a:gdLst>
                <a:gd name="connsiteX0" fmla="*/ 72308 w 174490"/>
                <a:gd name="connsiteY0" fmla="*/ 53974 h 212198"/>
                <a:gd name="connsiteX1" fmla="*/ 72308 w 174490"/>
                <a:gd name="connsiteY1" fmla="*/ 90333 h 212198"/>
                <a:gd name="connsiteX2" fmla="*/ 161869 w 174490"/>
                <a:gd name="connsiteY2" fmla="*/ 90333 h 212198"/>
                <a:gd name="connsiteX3" fmla="*/ 161869 w 174490"/>
                <a:gd name="connsiteY3" fmla="*/ 144308 h 212198"/>
                <a:gd name="connsiteX4" fmla="*/ 72308 w 174490"/>
                <a:gd name="connsiteY4" fmla="*/ 144308 h 212198"/>
                <a:gd name="connsiteX5" fmla="*/ 72308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08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08" y="53974"/>
                  </a:moveTo>
                  <a:lnTo>
                    <a:pt x="72308" y="90333"/>
                  </a:lnTo>
                  <a:lnTo>
                    <a:pt x="161869" y="90333"/>
                  </a:lnTo>
                  <a:lnTo>
                    <a:pt x="161869" y="144308"/>
                  </a:lnTo>
                  <a:lnTo>
                    <a:pt x="72308" y="144308"/>
                  </a:lnTo>
                  <a:lnTo>
                    <a:pt x="72308" y="212199"/>
                  </a:lnTo>
                  <a:lnTo>
                    <a:pt x="0" y="212199"/>
                  </a:lnTo>
                  <a:lnTo>
                    <a:pt x="0" y="0"/>
                  </a:lnTo>
                  <a:lnTo>
                    <a:pt x="174491" y="0"/>
                  </a:lnTo>
                  <a:lnTo>
                    <a:pt x="174491" y="53912"/>
                  </a:lnTo>
                  <a:lnTo>
                    <a:pt x="72308" y="53912"/>
                  </a:lnTo>
                  <a:close/>
                </a:path>
              </a:pathLst>
            </a:custGeom>
            <a:grpFill/>
            <a:ln w="6334"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F9826A49-2FAC-4491-B86A-1F02426E6120}"/>
                </a:ext>
              </a:extLst>
            </p:cNvPr>
            <p:cNvSpPr/>
            <p:nvPr/>
          </p:nvSpPr>
          <p:spPr>
            <a:xfrm>
              <a:off x="4118906" y="3082903"/>
              <a:ext cx="174490" cy="212198"/>
            </a:xfrm>
            <a:custGeom>
              <a:avLst/>
              <a:gdLst>
                <a:gd name="connsiteX0" fmla="*/ 72371 w 174490"/>
                <a:gd name="connsiteY0" fmla="*/ 53974 h 212198"/>
                <a:gd name="connsiteX1" fmla="*/ 72371 w 174490"/>
                <a:gd name="connsiteY1" fmla="*/ 90333 h 212198"/>
                <a:gd name="connsiteX2" fmla="*/ 161869 w 174490"/>
                <a:gd name="connsiteY2" fmla="*/ 90333 h 212198"/>
                <a:gd name="connsiteX3" fmla="*/ 161869 w 174490"/>
                <a:gd name="connsiteY3" fmla="*/ 144308 h 212198"/>
                <a:gd name="connsiteX4" fmla="*/ 72371 w 174490"/>
                <a:gd name="connsiteY4" fmla="*/ 144308 h 212198"/>
                <a:gd name="connsiteX5" fmla="*/ 72371 w 174490"/>
                <a:gd name="connsiteY5" fmla="*/ 212199 h 212198"/>
                <a:gd name="connsiteX6" fmla="*/ 0 w 174490"/>
                <a:gd name="connsiteY6" fmla="*/ 212199 h 212198"/>
                <a:gd name="connsiteX7" fmla="*/ 0 w 174490"/>
                <a:gd name="connsiteY7" fmla="*/ 0 h 212198"/>
                <a:gd name="connsiteX8" fmla="*/ 174491 w 174490"/>
                <a:gd name="connsiteY8" fmla="*/ 0 h 212198"/>
                <a:gd name="connsiteX9" fmla="*/ 174491 w 174490"/>
                <a:gd name="connsiteY9" fmla="*/ 53912 h 212198"/>
                <a:gd name="connsiteX10" fmla="*/ 72371 w 174490"/>
                <a:gd name="connsiteY10" fmla="*/ 53912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490" h="212198">
                  <a:moveTo>
                    <a:pt x="72371" y="53974"/>
                  </a:moveTo>
                  <a:lnTo>
                    <a:pt x="72371" y="90333"/>
                  </a:lnTo>
                  <a:lnTo>
                    <a:pt x="161869" y="90333"/>
                  </a:lnTo>
                  <a:lnTo>
                    <a:pt x="161869" y="144308"/>
                  </a:lnTo>
                  <a:lnTo>
                    <a:pt x="72371" y="144308"/>
                  </a:lnTo>
                  <a:lnTo>
                    <a:pt x="72371" y="212199"/>
                  </a:lnTo>
                  <a:lnTo>
                    <a:pt x="0" y="212199"/>
                  </a:lnTo>
                  <a:lnTo>
                    <a:pt x="0" y="0"/>
                  </a:lnTo>
                  <a:lnTo>
                    <a:pt x="174491" y="0"/>
                  </a:lnTo>
                  <a:lnTo>
                    <a:pt x="174491" y="53912"/>
                  </a:lnTo>
                  <a:lnTo>
                    <a:pt x="72371" y="53912"/>
                  </a:lnTo>
                  <a:close/>
                </a:path>
              </a:pathLst>
            </a:custGeom>
            <a:grpFill/>
            <a:ln w="6334"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98484B08-928A-4403-86FB-0E0C6848943F}"/>
                </a:ext>
              </a:extLst>
            </p:cNvPr>
            <p:cNvSpPr/>
            <p:nvPr/>
          </p:nvSpPr>
          <p:spPr>
            <a:xfrm>
              <a:off x="4316358"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831 w 205824"/>
                <a:gd name="connsiteY14" fmla="*/ 61685 h 212198"/>
                <a:gd name="connsiteX15" fmla="*/ 98758 w 205824"/>
                <a:gd name="connsiteY15" fmla="*/ 55165 h 212198"/>
                <a:gd name="connsiteX16" fmla="*/ 72371 w 205824"/>
                <a:gd name="connsiteY16" fmla="*/ 55165 h 212198"/>
                <a:gd name="connsiteX17" fmla="*/ 72371 w 205824"/>
                <a:gd name="connsiteY17" fmla="*/ 104877 h 212198"/>
                <a:gd name="connsiteX18" fmla="*/ 98758 w 205824"/>
                <a:gd name="connsiteY18" fmla="*/ 104877 h 212198"/>
                <a:gd name="connsiteX19" fmla="*/ 120831 w 205824"/>
                <a:gd name="connsiteY19" fmla="*/ 98357 h 212198"/>
                <a:gd name="connsiteX20" fmla="*/ 128188 w 205824"/>
                <a:gd name="connsiteY20" fmla="*/ 80052 h 212198"/>
                <a:gd name="connsiteX21" fmla="*/ 120831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831" y="61685"/>
                  </a:moveTo>
                  <a:cubicBezTo>
                    <a:pt x="115947" y="57359"/>
                    <a:pt x="108589" y="55165"/>
                    <a:pt x="98758" y="55165"/>
                  </a:cubicBezTo>
                  <a:lnTo>
                    <a:pt x="72371" y="55165"/>
                  </a:lnTo>
                  <a:lnTo>
                    <a:pt x="72371" y="104877"/>
                  </a:lnTo>
                  <a:lnTo>
                    <a:pt x="98758" y="104877"/>
                  </a:lnTo>
                  <a:cubicBezTo>
                    <a:pt x="108589" y="104877"/>
                    <a:pt x="115947" y="102683"/>
                    <a:pt x="120831" y="98357"/>
                  </a:cubicBezTo>
                  <a:cubicBezTo>
                    <a:pt x="125715" y="94032"/>
                    <a:pt x="128188" y="87888"/>
                    <a:pt x="128188" y="80052"/>
                  </a:cubicBezTo>
                  <a:cubicBezTo>
                    <a:pt x="128188" y="72216"/>
                    <a:pt x="125715" y="66073"/>
                    <a:pt x="120831" y="61685"/>
                  </a:cubicBezTo>
                  <a:close/>
                </a:path>
              </a:pathLst>
            </a:custGeom>
            <a:grpFill/>
            <a:ln w="6334"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4EDEFEA-956A-4734-9C65-1AFE513ABB2D}"/>
                </a:ext>
              </a:extLst>
            </p:cNvPr>
            <p:cNvSpPr/>
            <p:nvPr/>
          </p:nvSpPr>
          <p:spPr>
            <a:xfrm>
              <a:off x="4544826"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66 w 178423"/>
                <a:gd name="connsiteY6" fmla="*/ 53912 h 212135"/>
                <a:gd name="connsiteX7" fmla="*/ 71166 w 178423"/>
                <a:gd name="connsiteY7" fmla="*/ 78736 h 212135"/>
                <a:gd name="connsiteX8" fmla="*/ 161932 w 178423"/>
                <a:gd name="connsiteY8" fmla="*/ 78736 h 212135"/>
                <a:gd name="connsiteX9" fmla="*/ 161932 w 178423"/>
                <a:gd name="connsiteY9" fmla="*/ 130265 h 212135"/>
                <a:gd name="connsiteX10" fmla="*/ 71166 w 178423"/>
                <a:gd name="connsiteY10" fmla="*/ 130265 h 212135"/>
                <a:gd name="connsiteX11" fmla="*/ 71166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66" y="53912"/>
                  </a:lnTo>
                  <a:lnTo>
                    <a:pt x="71166" y="78736"/>
                  </a:lnTo>
                  <a:lnTo>
                    <a:pt x="161932" y="78736"/>
                  </a:lnTo>
                  <a:lnTo>
                    <a:pt x="161932" y="130265"/>
                  </a:lnTo>
                  <a:lnTo>
                    <a:pt x="71166" y="130265"/>
                  </a:lnTo>
                  <a:lnTo>
                    <a:pt x="71166" y="158162"/>
                  </a:lnTo>
                  <a:lnTo>
                    <a:pt x="178423" y="158162"/>
                  </a:lnTo>
                  <a:close/>
                </a:path>
              </a:pathLst>
            </a:custGeom>
            <a:grpFill/>
            <a:ln w="6334"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20F0799C-4715-4584-A0DF-E04C79CBC92E}"/>
                </a:ext>
              </a:extLst>
            </p:cNvPr>
            <p:cNvSpPr/>
            <p:nvPr/>
          </p:nvSpPr>
          <p:spPr>
            <a:xfrm>
              <a:off x="4843129" y="3082903"/>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406 h 212010"/>
                <a:gd name="connsiteX11" fmla="*/ 139922 w 226882"/>
                <a:gd name="connsiteY11" fmla="*/ 143242 h 212010"/>
                <a:gd name="connsiteX12" fmla="*/ 153877 w 226882"/>
                <a:gd name="connsiteY12" fmla="*/ 106131 h 212010"/>
                <a:gd name="connsiteX13" fmla="*/ 139922 w 226882"/>
                <a:gd name="connsiteY13" fmla="*/ 69019 h 212010"/>
                <a:gd name="connsiteX14" fmla="*/ 102690 w 226882"/>
                <a:gd name="connsiteY14" fmla="*/ 55855 h 212010"/>
                <a:gd name="connsiteX15" fmla="*/ 72308 w 226882"/>
                <a:gd name="connsiteY15" fmla="*/ 55855 h 212010"/>
                <a:gd name="connsiteX16" fmla="*/ 72308 w 226882"/>
                <a:gd name="connsiteY16" fmla="*/ 156469 h 212010"/>
                <a:gd name="connsiteX17" fmla="*/ 102690 w 226882"/>
                <a:gd name="connsiteY17" fmla="*/ 156469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406"/>
                  </a:moveTo>
                  <a:cubicBezTo>
                    <a:pt x="118230" y="156406"/>
                    <a:pt x="130662" y="152018"/>
                    <a:pt x="139922" y="143242"/>
                  </a:cubicBezTo>
                  <a:cubicBezTo>
                    <a:pt x="149246" y="134466"/>
                    <a:pt x="153877" y="122053"/>
                    <a:pt x="153877" y="106131"/>
                  </a:cubicBezTo>
                  <a:cubicBezTo>
                    <a:pt x="153877" y="90208"/>
                    <a:pt x="149246" y="77796"/>
                    <a:pt x="139922" y="69019"/>
                  </a:cubicBezTo>
                  <a:cubicBezTo>
                    <a:pt x="130598" y="60243"/>
                    <a:pt x="118230" y="55855"/>
                    <a:pt x="102690" y="55855"/>
                  </a:cubicBezTo>
                  <a:lnTo>
                    <a:pt x="72308" y="55855"/>
                  </a:lnTo>
                  <a:lnTo>
                    <a:pt x="72308" y="156469"/>
                  </a:lnTo>
                  <a:lnTo>
                    <a:pt x="102690" y="156469"/>
                  </a:lnTo>
                  <a:close/>
                </a:path>
              </a:pathLst>
            </a:custGeom>
            <a:grpFill/>
            <a:ln w="6334"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5EC4511A-69ED-407F-B642-66D849205DA0}"/>
                </a:ext>
              </a:extLst>
            </p:cNvPr>
            <p:cNvSpPr/>
            <p:nvPr/>
          </p:nvSpPr>
          <p:spPr>
            <a:xfrm>
              <a:off x="5096397"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EF1A0160-554C-4B08-BB53-CC2CB8BC2386}"/>
                </a:ext>
              </a:extLst>
            </p:cNvPr>
            <p:cNvSpPr/>
            <p:nvPr/>
          </p:nvSpPr>
          <p:spPr>
            <a:xfrm>
              <a:off x="5381189" y="3078076"/>
              <a:ext cx="193519" cy="221915"/>
            </a:xfrm>
            <a:custGeom>
              <a:avLst/>
              <a:gdLst>
                <a:gd name="connsiteX0" fmla="*/ 41546 w 193519"/>
                <a:gd name="connsiteY0" fmla="*/ 215897 h 221915"/>
                <a:gd name="connsiteX1" fmla="*/ 0 w 193519"/>
                <a:gd name="connsiteY1" fmla="*/ 199974 h 221915"/>
                <a:gd name="connsiteX2" fmla="*/ 23278 w 193519"/>
                <a:gd name="connsiteY2" fmla="*/ 147881 h 221915"/>
                <a:gd name="connsiteX3" fmla="*/ 57593 w 193519"/>
                <a:gd name="connsiteY3" fmla="*/ 161986 h 221915"/>
                <a:gd name="connsiteX4" fmla="*/ 94064 w 193519"/>
                <a:gd name="connsiteY4" fmla="*/ 167314 h 221915"/>
                <a:gd name="connsiteX5" fmla="*/ 115503 w 193519"/>
                <a:gd name="connsiteY5" fmla="*/ 164430 h 221915"/>
                <a:gd name="connsiteX6" fmla="*/ 121972 w 193519"/>
                <a:gd name="connsiteY6" fmla="*/ 155779 h 221915"/>
                <a:gd name="connsiteX7" fmla="*/ 113537 w 193519"/>
                <a:gd name="connsiteY7" fmla="*/ 145749 h 221915"/>
                <a:gd name="connsiteX8" fmla="*/ 85818 w 193519"/>
                <a:gd name="connsiteY8" fmla="*/ 138478 h 221915"/>
                <a:gd name="connsiteX9" fmla="*/ 44400 w 193519"/>
                <a:gd name="connsiteY9" fmla="*/ 127445 h 221915"/>
                <a:gd name="connsiteX10" fmla="*/ 15603 w 193519"/>
                <a:gd name="connsiteY10" fmla="*/ 108074 h 221915"/>
                <a:gd name="connsiteX11" fmla="*/ 3362 w 193519"/>
                <a:gd name="connsiteY11" fmla="*/ 71527 h 221915"/>
                <a:gd name="connsiteX12" fmla="*/ 14715 w 193519"/>
                <a:gd name="connsiteY12" fmla="*/ 35168 h 221915"/>
                <a:gd name="connsiteX13" fmla="*/ 48586 w 193519"/>
                <a:gd name="connsiteY13" fmla="*/ 9403 h 221915"/>
                <a:gd name="connsiteX14" fmla="*/ 103324 w 193519"/>
                <a:gd name="connsiteY14" fmla="*/ 0 h 221915"/>
                <a:gd name="connsiteX15" fmla="*/ 146709 w 193519"/>
                <a:gd name="connsiteY15" fmla="*/ 4702 h 221915"/>
                <a:gd name="connsiteX16" fmla="*/ 184259 w 193519"/>
                <a:gd name="connsiteY16" fmla="*/ 18493 h 221915"/>
                <a:gd name="connsiteX17" fmla="*/ 162503 w 193519"/>
                <a:gd name="connsiteY17" fmla="*/ 70336 h 221915"/>
                <a:gd name="connsiteX18" fmla="*/ 102690 w 193519"/>
                <a:gd name="connsiteY18" fmla="*/ 54601 h 221915"/>
                <a:gd name="connsiteX19" fmla="*/ 74782 w 193519"/>
                <a:gd name="connsiteY19" fmla="*/ 67954 h 221915"/>
                <a:gd name="connsiteX20" fmla="*/ 83091 w 193519"/>
                <a:gd name="connsiteY20" fmla="*/ 77482 h 221915"/>
                <a:gd name="connsiteX21" fmla="*/ 110365 w 193519"/>
                <a:gd name="connsiteY21" fmla="*/ 84315 h 221915"/>
                <a:gd name="connsiteX22" fmla="*/ 151784 w 193519"/>
                <a:gd name="connsiteY22" fmla="*/ 94784 h 221915"/>
                <a:gd name="connsiteX23" fmla="*/ 181087 w 193519"/>
                <a:gd name="connsiteY23" fmla="*/ 114029 h 221915"/>
                <a:gd name="connsiteX24" fmla="*/ 193519 w 193519"/>
                <a:gd name="connsiteY24" fmla="*/ 150388 h 221915"/>
                <a:gd name="connsiteX25" fmla="*/ 182166 w 193519"/>
                <a:gd name="connsiteY25" fmla="*/ 186622 h 221915"/>
                <a:gd name="connsiteX26" fmla="*/ 148295 w 193519"/>
                <a:gd name="connsiteY26" fmla="*/ 212387 h 221915"/>
                <a:gd name="connsiteX27" fmla="*/ 93556 w 193519"/>
                <a:gd name="connsiteY27" fmla="*/ 221915 h 221915"/>
                <a:gd name="connsiteX28" fmla="*/ 41546 w 193519"/>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519"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752" y="162487"/>
                    <a:pt x="121972" y="159603"/>
                    <a:pt x="121972" y="155779"/>
                  </a:cubicBezTo>
                  <a:cubicBezTo>
                    <a:pt x="121972" y="151329"/>
                    <a:pt x="119182" y="148006"/>
                    <a:pt x="113537" y="145749"/>
                  </a:cubicBezTo>
                  <a:cubicBezTo>
                    <a:pt x="107891" y="143555"/>
                    <a:pt x="98694" y="141110"/>
                    <a:pt x="85818" y="138478"/>
                  </a:cubicBezTo>
                  <a:cubicBezTo>
                    <a:pt x="69264" y="135030"/>
                    <a:pt x="55436" y="131331"/>
                    <a:pt x="44400" y="127445"/>
                  </a:cubicBezTo>
                  <a:cubicBezTo>
                    <a:pt x="33363" y="123495"/>
                    <a:pt x="23722" y="117038"/>
                    <a:pt x="15603" y="108074"/>
                  </a:cubicBezTo>
                  <a:cubicBezTo>
                    <a:pt x="7421" y="99110"/>
                    <a:pt x="3362" y="86885"/>
                    <a:pt x="3362" y="71527"/>
                  </a:cubicBezTo>
                  <a:cubicBezTo>
                    <a:pt x="3362" y="58174"/>
                    <a:pt x="7167" y="46076"/>
                    <a:pt x="14715" y="35168"/>
                  </a:cubicBezTo>
                  <a:cubicBezTo>
                    <a:pt x="22263" y="24260"/>
                    <a:pt x="33554" y="15672"/>
                    <a:pt x="48586" y="9403"/>
                  </a:cubicBezTo>
                  <a:cubicBezTo>
                    <a:pt x="63618" y="3134"/>
                    <a:pt x="81886" y="0"/>
                    <a:pt x="103324" y="0"/>
                  </a:cubicBezTo>
                  <a:cubicBezTo>
                    <a:pt x="118040" y="0"/>
                    <a:pt x="132501" y="1567"/>
                    <a:pt x="146709" y="4702"/>
                  </a:cubicBezTo>
                  <a:cubicBezTo>
                    <a:pt x="160917" y="7836"/>
                    <a:pt x="173412" y="12412"/>
                    <a:pt x="184259" y="18493"/>
                  </a:cubicBezTo>
                  <a:lnTo>
                    <a:pt x="162503" y="70336"/>
                  </a:lnTo>
                  <a:cubicBezTo>
                    <a:pt x="141445" y="59867"/>
                    <a:pt x="121528" y="54601"/>
                    <a:pt x="102690" y="54601"/>
                  </a:cubicBezTo>
                  <a:cubicBezTo>
                    <a:pt x="84106" y="54601"/>
                    <a:pt x="74782" y="59052"/>
                    <a:pt x="74782" y="67954"/>
                  </a:cubicBezTo>
                  <a:cubicBezTo>
                    <a:pt x="74782" y="72216"/>
                    <a:pt x="77573" y="75351"/>
                    <a:pt x="83091" y="77482"/>
                  </a:cubicBezTo>
                  <a:cubicBezTo>
                    <a:pt x="88609" y="79614"/>
                    <a:pt x="97679" y="81870"/>
                    <a:pt x="110365" y="84315"/>
                  </a:cubicBezTo>
                  <a:cubicBezTo>
                    <a:pt x="126729" y="87324"/>
                    <a:pt x="140493" y="90835"/>
                    <a:pt x="151784" y="94784"/>
                  </a:cubicBezTo>
                  <a:cubicBezTo>
                    <a:pt x="163010" y="98733"/>
                    <a:pt x="172778" y="105128"/>
                    <a:pt x="181087" y="114029"/>
                  </a:cubicBezTo>
                  <a:cubicBezTo>
                    <a:pt x="189396" y="122931"/>
                    <a:pt x="193519" y="135030"/>
                    <a:pt x="193519" y="150388"/>
                  </a:cubicBezTo>
                  <a:cubicBezTo>
                    <a:pt x="193519" y="163741"/>
                    <a:pt x="189714" y="175777"/>
                    <a:pt x="182166" y="186622"/>
                  </a:cubicBezTo>
                  <a:cubicBezTo>
                    <a:pt x="174618" y="197404"/>
                    <a:pt x="163327" y="205992"/>
                    <a:pt x="148295" y="212387"/>
                  </a:cubicBezTo>
                  <a:cubicBezTo>
                    <a:pt x="133263" y="218718"/>
                    <a:pt x="114995" y="221915"/>
                    <a:pt x="93556" y="221915"/>
                  </a:cubicBezTo>
                  <a:cubicBezTo>
                    <a:pt x="75797" y="221853"/>
                    <a:pt x="58417" y="219846"/>
                    <a:pt x="41546" y="215897"/>
                  </a:cubicBezTo>
                  <a:close/>
                </a:path>
              </a:pathLst>
            </a:custGeom>
            <a:grpFill/>
            <a:ln w="6334"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734B9636-CC19-4C1F-AA7E-2D33FABBCFCC}"/>
                </a:ext>
              </a:extLst>
            </p:cNvPr>
            <p:cNvSpPr/>
            <p:nvPr/>
          </p:nvSpPr>
          <p:spPr>
            <a:xfrm>
              <a:off x="5596211"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ECDFF8C5-393C-4937-B5E4-8FC00231E6BC}"/>
                </a:ext>
              </a:extLst>
            </p:cNvPr>
            <p:cNvSpPr/>
            <p:nvPr/>
          </p:nvSpPr>
          <p:spPr>
            <a:xfrm>
              <a:off x="5802543" y="3082903"/>
              <a:ext cx="205824" cy="212198"/>
            </a:xfrm>
            <a:custGeom>
              <a:avLst/>
              <a:gdLst>
                <a:gd name="connsiteX0" fmla="*/ 91971 w 205824"/>
                <a:gd name="connsiteY0" fmla="*/ 158851 h 212198"/>
                <a:gd name="connsiteX1" fmla="*/ 72371 w 205824"/>
                <a:gd name="connsiteY1" fmla="*/ 158851 h 212198"/>
                <a:gd name="connsiteX2" fmla="*/ 72371 w 205824"/>
                <a:gd name="connsiteY2" fmla="*/ 212199 h 212198"/>
                <a:gd name="connsiteX3" fmla="*/ 0 w 205824"/>
                <a:gd name="connsiteY3" fmla="*/ 212199 h 212198"/>
                <a:gd name="connsiteX4" fmla="*/ 0 w 205824"/>
                <a:gd name="connsiteY4" fmla="*/ 0 h 212198"/>
                <a:gd name="connsiteX5" fmla="*/ 103324 w 205824"/>
                <a:gd name="connsiteY5" fmla="*/ 0 h 212198"/>
                <a:gd name="connsiteX6" fmla="*/ 155145 w 205824"/>
                <a:gd name="connsiteY6" fmla="*/ 9717 h 212198"/>
                <a:gd name="connsiteX7" fmla="*/ 189206 w 205824"/>
                <a:gd name="connsiteY7" fmla="*/ 37613 h 212198"/>
                <a:gd name="connsiteX8" fmla="*/ 201194 w 205824"/>
                <a:gd name="connsiteY8" fmla="*/ 80052 h 212198"/>
                <a:gd name="connsiteX9" fmla="*/ 190792 w 205824"/>
                <a:gd name="connsiteY9" fmla="*/ 119734 h 212198"/>
                <a:gd name="connsiteX10" fmla="*/ 160727 w 205824"/>
                <a:gd name="connsiteY10" fmla="*/ 146690 h 212198"/>
                <a:gd name="connsiteX11" fmla="*/ 205824 w 205824"/>
                <a:gd name="connsiteY11" fmla="*/ 212136 h 212198"/>
                <a:gd name="connsiteX12" fmla="*/ 128569 w 205824"/>
                <a:gd name="connsiteY12" fmla="*/ 212136 h 212198"/>
                <a:gd name="connsiteX13" fmla="*/ 91971 w 205824"/>
                <a:gd name="connsiteY13" fmla="*/ 158851 h 212198"/>
                <a:gd name="connsiteX14" fmla="*/ 120767 w 205824"/>
                <a:gd name="connsiteY14" fmla="*/ 61685 h 212198"/>
                <a:gd name="connsiteX15" fmla="*/ 98694 w 205824"/>
                <a:gd name="connsiteY15" fmla="*/ 55165 h 212198"/>
                <a:gd name="connsiteX16" fmla="*/ 72308 w 205824"/>
                <a:gd name="connsiteY16" fmla="*/ 55165 h 212198"/>
                <a:gd name="connsiteX17" fmla="*/ 72308 w 205824"/>
                <a:gd name="connsiteY17" fmla="*/ 104877 h 212198"/>
                <a:gd name="connsiteX18" fmla="*/ 98694 w 205824"/>
                <a:gd name="connsiteY18" fmla="*/ 104877 h 212198"/>
                <a:gd name="connsiteX19" fmla="*/ 120767 w 205824"/>
                <a:gd name="connsiteY19" fmla="*/ 98357 h 212198"/>
                <a:gd name="connsiteX20" fmla="*/ 128125 w 205824"/>
                <a:gd name="connsiteY20" fmla="*/ 80052 h 212198"/>
                <a:gd name="connsiteX21" fmla="*/ 120767 w 205824"/>
                <a:gd name="connsiteY21" fmla="*/ 61685 h 21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824" h="212198">
                  <a:moveTo>
                    <a:pt x="91971" y="158851"/>
                  </a:moveTo>
                  <a:lnTo>
                    <a:pt x="72371" y="158851"/>
                  </a:lnTo>
                  <a:lnTo>
                    <a:pt x="72371" y="212199"/>
                  </a:lnTo>
                  <a:lnTo>
                    <a:pt x="0" y="212199"/>
                  </a:lnTo>
                  <a:lnTo>
                    <a:pt x="0" y="0"/>
                  </a:lnTo>
                  <a:lnTo>
                    <a:pt x="103324" y="0"/>
                  </a:lnTo>
                  <a:cubicBezTo>
                    <a:pt x="123177" y="0"/>
                    <a:pt x="140430" y="3260"/>
                    <a:pt x="155145" y="9717"/>
                  </a:cubicBezTo>
                  <a:cubicBezTo>
                    <a:pt x="169861" y="16173"/>
                    <a:pt x="181214" y="25451"/>
                    <a:pt x="189206" y="37613"/>
                  </a:cubicBezTo>
                  <a:cubicBezTo>
                    <a:pt x="197198" y="49774"/>
                    <a:pt x="201194" y="63879"/>
                    <a:pt x="201194" y="80052"/>
                  </a:cubicBezTo>
                  <a:cubicBezTo>
                    <a:pt x="201194" y="95223"/>
                    <a:pt x="197705" y="108450"/>
                    <a:pt x="190792" y="119734"/>
                  </a:cubicBezTo>
                  <a:cubicBezTo>
                    <a:pt x="183815" y="131080"/>
                    <a:pt x="173793" y="140045"/>
                    <a:pt x="160727" y="146690"/>
                  </a:cubicBezTo>
                  <a:lnTo>
                    <a:pt x="205824" y="212136"/>
                  </a:lnTo>
                  <a:lnTo>
                    <a:pt x="128569" y="212136"/>
                  </a:lnTo>
                  <a:lnTo>
                    <a:pt x="91971" y="158851"/>
                  </a:lnTo>
                  <a:close/>
                  <a:moveTo>
                    <a:pt x="120767" y="61685"/>
                  </a:moveTo>
                  <a:cubicBezTo>
                    <a:pt x="115883" y="57359"/>
                    <a:pt x="108525" y="55165"/>
                    <a:pt x="98694" y="55165"/>
                  </a:cubicBezTo>
                  <a:lnTo>
                    <a:pt x="72308" y="55165"/>
                  </a:lnTo>
                  <a:lnTo>
                    <a:pt x="72308" y="104877"/>
                  </a:lnTo>
                  <a:lnTo>
                    <a:pt x="98694" y="104877"/>
                  </a:lnTo>
                  <a:cubicBezTo>
                    <a:pt x="108525" y="104877"/>
                    <a:pt x="115883" y="102683"/>
                    <a:pt x="120767" y="98357"/>
                  </a:cubicBezTo>
                  <a:cubicBezTo>
                    <a:pt x="125651" y="94032"/>
                    <a:pt x="128125" y="87888"/>
                    <a:pt x="128125" y="80052"/>
                  </a:cubicBezTo>
                  <a:cubicBezTo>
                    <a:pt x="128125" y="72216"/>
                    <a:pt x="125651" y="66073"/>
                    <a:pt x="120767" y="61685"/>
                  </a:cubicBezTo>
                  <a:close/>
                </a:path>
              </a:pathLst>
            </a:custGeom>
            <a:grpFill/>
            <a:ln w="6334"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6E219473-93FC-4AFD-B2DA-61D17E5C6A8C}"/>
                </a:ext>
              </a:extLst>
            </p:cNvPr>
            <p:cNvSpPr/>
            <p:nvPr/>
          </p:nvSpPr>
          <p:spPr>
            <a:xfrm>
              <a:off x="6007606" y="3082903"/>
              <a:ext cx="252697" cy="212135"/>
            </a:xfrm>
            <a:custGeom>
              <a:avLst/>
              <a:gdLst>
                <a:gd name="connsiteX0" fmla="*/ 252698 w 252697"/>
                <a:gd name="connsiteY0" fmla="*/ 0 h 212135"/>
                <a:gd name="connsiteX1" fmla="*/ 161932 w 252697"/>
                <a:gd name="connsiteY1" fmla="*/ 212136 h 212135"/>
                <a:gd name="connsiteX2" fmla="*/ 90766 w 252697"/>
                <a:gd name="connsiteY2" fmla="*/ 212136 h 212135"/>
                <a:gd name="connsiteX3" fmla="*/ 0 w 252697"/>
                <a:gd name="connsiteY3" fmla="*/ 0 h 212135"/>
                <a:gd name="connsiteX4" fmla="*/ 77890 w 252697"/>
                <a:gd name="connsiteY4" fmla="*/ 0 h 212135"/>
                <a:gd name="connsiteX5" fmla="*/ 129076 w 252697"/>
                <a:gd name="connsiteY5" fmla="*/ 123934 h 212135"/>
                <a:gd name="connsiteX6" fmla="*/ 181531 w 252697"/>
                <a:gd name="connsiteY6" fmla="*/ 0 h 212135"/>
                <a:gd name="connsiteX7" fmla="*/ 252698 w 252697"/>
                <a:gd name="connsiteY7" fmla="*/ 0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697" h="212135">
                  <a:moveTo>
                    <a:pt x="252698" y="0"/>
                  </a:moveTo>
                  <a:lnTo>
                    <a:pt x="161932" y="212136"/>
                  </a:lnTo>
                  <a:lnTo>
                    <a:pt x="90766" y="212136"/>
                  </a:lnTo>
                  <a:lnTo>
                    <a:pt x="0" y="0"/>
                  </a:lnTo>
                  <a:lnTo>
                    <a:pt x="77890" y="0"/>
                  </a:lnTo>
                  <a:lnTo>
                    <a:pt x="129076" y="123934"/>
                  </a:lnTo>
                  <a:lnTo>
                    <a:pt x="181531" y="0"/>
                  </a:lnTo>
                  <a:lnTo>
                    <a:pt x="252698" y="0"/>
                  </a:lnTo>
                  <a:close/>
                </a:path>
              </a:pathLst>
            </a:custGeom>
            <a:grpFill/>
            <a:ln w="6334"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59AB2614-404A-4921-BFFB-9D211F9F225A}"/>
                </a:ext>
              </a:extLst>
            </p:cNvPr>
            <p:cNvSpPr/>
            <p:nvPr/>
          </p:nvSpPr>
          <p:spPr>
            <a:xfrm>
              <a:off x="6267344" y="3082903"/>
              <a:ext cx="72371" cy="212135"/>
            </a:xfrm>
            <a:custGeom>
              <a:avLst/>
              <a:gdLst>
                <a:gd name="connsiteX0" fmla="*/ 0 w 72371"/>
                <a:gd name="connsiteY0" fmla="*/ 0 h 212135"/>
                <a:gd name="connsiteX1" fmla="*/ 72371 w 72371"/>
                <a:gd name="connsiteY1" fmla="*/ 0 h 212135"/>
                <a:gd name="connsiteX2" fmla="*/ 72371 w 72371"/>
                <a:gd name="connsiteY2" fmla="*/ 212136 h 212135"/>
                <a:gd name="connsiteX3" fmla="*/ 0 w 72371"/>
                <a:gd name="connsiteY3" fmla="*/ 212136 h 212135"/>
                <a:gd name="connsiteX4" fmla="*/ 0 w 72371"/>
                <a:gd name="connsiteY4" fmla="*/ 0 h 212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1" h="212135">
                  <a:moveTo>
                    <a:pt x="0" y="0"/>
                  </a:moveTo>
                  <a:lnTo>
                    <a:pt x="72371" y="0"/>
                  </a:lnTo>
                  <a:lnTo>
                    <a:pt x="72371" y="212136"/>
                  </a:lnTo>
                  <a:lnTo>
                    <a:pt x="0" y="212136"/>
                  </a:lnTo>
                  <a:lnTo>
                    <a:pt x="0" y="0"/>
                  </a:lnTo>
                  <a:close/>
                </a:path>
              </a:pathLst>
            </a:custGeom>
            <a:grpFill/>
            <a:ln w="6334"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02677AB7-D807-47A7-A395-BD9E282AC94A}"/>
                </a:ext>
              </a:extLst>
            </p:cNvPr>
            <p:cNvSpPr/>
            <p:nvPr/>
          </p:nvSpPr>
          <p:spPr>
            <a:xfrm>
              <a:off x="6366101" y="3078139"/>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3006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5 h 221915"/>
                <a:gd name="connsiteX16" fmla="*/ 175379 w 215845"/>
                <a:gd name="connsiteY16" fmla="*/ 211007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87" y="23445"/>
                    <a:pt x="58227" y="14105"/>
                  </a:cubicBezTo>
                  <a:cubicBezTo>
                    <a:pt x="76431" y="4702"/>
                    <a:pt x="96855" y="0"/>
                    <a:pt x="119562" y="0"/>
                  </a:cubicBezTo>
                  <a:cubicBezTo>
                    <a:pt x="140430" y="0"/>
                    <a:pt x="159014" y="3636"/>
                    <a:pt x="175379" y="10908"/>
                  </a:cubicBezTo>
                  <a:cubicBezTo>
                    <a:pt x="191743" y="18180"/>
                    <a:pt x="205254" y="28711"/>
                    <a:pt x="215846" y="42440"/>
                  </a:cubicBezTo>
                  <a:lnTo>
                    <a:pt x="170178" y="82748"/>
                  </a:lnTo>
                  <a:cubicBezTo>
                    <a:pt x="156858" y="66198"/>
                    <a:pt x="141255" y="57924"/>
                    <a:pt x="123241" y="57924"/>
                  </a:cubicBezTo>
                  <a:cubicBezTo>
                    <a:pt x="108082" y="57924"/>
                    <a:pt x="95967" y="62751"/>
                    <a:pt x="86770" y="72342"/>
                  </a:cubicBezTo>
                  <a:cubicBezTo>
                    <a:pt x="77573" y="81933"/>
                    <a:pt x="73006" y="94847"/>
                    <a:pt x="73006" y="110958"/>
                  </a:cubicBezTo>
                  <a:cubicBezTo>
                    <a:pt x="73006" y="127068"/>
                    <a:pt x="77573" y="139982"/>
                    <a:pt x="86770" y="149573"/>
                  </a:cubicBezTo>
                  <a:cubicBezTo>
                    <a:pt x="95967" y="159165"/>
                    <a:pt x="108145" y="163992"/>
                    <a:pt x="123241" y="163992"/>
                  </a:cubicBezTo>
                  <a:cubicBezTo>
                    <a:pt x="141255" y="163992"/>
                    <a:pt x="156858" y="155717"/>
                    <a:pt x="170178" y="139167"/>
                  </a:cubicBezTo>
                  <a:lnTo>
                    <a:pt x="215846" y="179475"/>
                  </a:lnTo>
                  <a:cubicBezTo>
                    <a:pt x="205190" y="193204"/>
                    <a:pt x="191743" y="203736"/>
                    <a:pt x="175379" y="211007"/>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27946739-1BB4-4778-8350-72F34084D0CB}"/>
                </a:ext>
              </a:extLst>
            </p:cNvPr>
            <p:cNvSpPr/>
            <p:nvPr/>
          </p:nvSpPr>
          <p:spPr>
            <a:xfrm>
              <a:off x="6602815" y="3082903"/>
              <a:ext cx="178423" cy="212135"/>
            </a:xfrm>
            <a:custGeom>
              <a:avLst/>
              <a:gdLst>
                <a:gd name="connsiteX0" fmla="*/ 178423 w 178423"/>
                <a:gd name="connsiteY0" fmla="*/ 158224 h 212135"/>
                <a:gd name="connsiteX1" fmla="*/ 178423 w 178423"/>
                <a:gd name="connsiteY1" fmla="*/ 212136 h 212135"/>
                <a:gd name="connsiteX2" fmla="*/ 0 w 178423"/>
                <a:gd name="connsiteY2" fmla="*/ 212136 h 212135"/>
                <a:gd name="connsiteX3" fmla="*/ 0 w 178423"/>
                <a:gd name="connsiteY3" fmla="*/ 0 h 212135"/>
                <a:gd name="connsiteX4" fmla="*/ 174491 w 178423"/>
                <a:gd name="connsiteY4" fmla="*/ 0 h 212135"/>
                <a:gd name="connsiteX5" fmla="*/ 174491 w 178423"/>
                <a:gd name="connsiteY5" fmla="*/ 53912 h 212135"/>
                <a:gd name="connsiteX6" fmla="*/ 71103 w 178423"/>
                <a:gd name="connsiteY6" fmla="*/ 53912 h 212135"/>
                <a:gd name="connsiteX7" fmla="*/ 71103 w 178423"/>
                <a:gd name="connsiteY7" fmla="*/ 78736 h 212135"/>
                <a:gd name="connsiteX8" fmla="*/ 161869 w 178423"/>
                <a:gd name="connsiteY8" fmla="*/ 78736 h 212135"/>
                <a:gd name="connsiteX9" fmla="*/ 161869 w 178423"/>
                <a:gd name="connsiteY9" fmla="*/ 130265 h 212135"/>
                <a:gd name="connsiteX10" fmla="*/ 71103 w 178423"/>
                <a:gd name="connsiteY10" fmla="*/ 130265 h 212135"/>
                <a:gd name="connsiteX11" fmla="*/ 71103 w 178423"/>
                <a:gd name="connsiteY11" fmla="*/ 158162 h 212135"/>
                <a:gd name="connsiteX12" fmla="*/ 178423 w 178423"/>
                <a:gd name="connsiteY12" fmla="*/ 158162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423" h="212135">
                  <a:moveTo>
                    <a:pt x="178423" y="158224"/>
                  </a:moveTo>
                  <a:lnTo>
                    <a:pt x="178423" y="212136"/>
                  </a:lnTo>
                  <a:lnTo>
                    <a:pt x="0" y="212136"/>
                  </a:lnTo>
                  <a:lnTo>
                    <a:pt x="0" y="0"/>
                  </a:lnTo>
                  <a:lnTo>
                    <a:pt x="174491" y="0"/>
                  </a:lnTo>
                  <a:lnTo>
                    <a:pt x="174491" y="53912"/>
                  </a:lnTo>
                  <a:lnTo>
                    <a:pt x="71103" y="53912"/>
                  </a:lnTo>
                  <a:lnTo>
                    <a:pt x="71103" y="78736"/>
                  </a:lnTo>
                  <a:lnTo>
                    <a:pt x="161869" y="78736"/>
                  </a:lnTo>
                  <a:lnTo>
                    <a:pt x="161869" y="130265"/>
                  </a:lnTo>
                  <a:lnTo>
                    <a:pt x="71103" y="130265"/>
                  </a:lnTo>
                  <a:lnTo>
                    <a:pt x="71103" y="158162"/>
                  </a:lnTo>
                  <a:lnTo>
                    <a:pt x="178423" y="158162"/>
                  </a:lnTo>
                  <a:close/>
                </a:path>
              </a:pathLst>
            </a:custGeom>
            <a:grpFill/>
            <a:ln w="6334"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833B3A99-0A43-4B72-972D-53DDF334195F}"/>
                </a:ext>
              </a:extLst>
            </p:cNvPr>
            <p:cNvSpPr/>
            <p:nvPr/>
          </p:nvSpPr>
          <p:spPr>
            <a:xfrm>
              <a:off x="6795637" y="3078076"/>
              <a:ext cx="193392" cy="221915"/>
            </a:xfrm>
            <a:custGeom>
              <a:avLst/>
              <a:gdLst>
                <a:gd name="connsiteX0" fmla="*/ 41546 w 193392"/>
                <a:gd name="connsiteY0" fmla="*/ 215897 h 221915"/>
                <a:gd name="connsiteX1" fmla="*/ 0 w 193392"/>
                <a:gd name="connsiteY1" fmla="*/ 199974 h 221915"/>
                <a:gd name="connsiteX2" fmla="*/ 23278 w 193392"/>
                <a:gd name="connsiteY2" fmla="*/ 147881 h 221915"/>
                <a:gd name="connsiteX3" fmla="*/ 57593 w 193392"/>
                <a:gd name="connsiteY3" fmla="*/ 161986 h 221915"/>
                <a:gd name="connsiteX4" fmla="*/ 94064 w 193392"/>
                <a:gd name="connsiteY4" fmla="*/ 167314 h 221915"/>
                <a:gd name="connsiteX5" fmla="*/ 115503 w 193392"/>
                <a:gd name="connsiteY5" fmla="*/ 164430 h 221915"/>
                <a:gd name="connsiteX6" fmla="*/ 121972 w 193392"/>
                <a:gd name="connsiteY6" fmla="*/ 155779 h 221915"/>
                <a:gd name="connsiteX7" fmla="*/ 113537 w 193392"/>
                <a:gd name="connsiteY7" fmla="*/ 145749 h 221915"/>
                <a:gd name="connsiteX8" fmla="*/ 85755 w 193392"/>
                <a:gd name="connsiteY8" fmla="*/ 138478 h 221915"/>
                <a:gd name="connsiteX9" fmla="*/ 44336 w 193392"/>
                <a:gd name="connsiteY9" fmla="*/ 127445 h 221915"/>
                <a:gd name="connsiteX10" fmla="*/ 15540 w 193392"/>
                <a:gd name="connsiteY10" fmla="*/ 108074 h 221915"/>
                <a:gd name="connsiteX11" fmla="*/ 3298 w 193392"/>
                <a:gd name="connsiteY11" fmla="*/ 71527 h 221915"/>
                <a:gd name="connsiteX12" fmla="*/ 14652 w 193392"/>
                <a:gd name="connsiteY12" fmla="*/ 35168 h 221915"/>
                <a:gd name="connsiteX13" fmla="*/ 48523 w 193392"/>
                <a:gd name="connsiteY13" fmla="*/ 9403 h 221915"/>
                <a:gd name="connsiteX14" fmla="*/ 103261 w 193392"/>
                <a:gd name="connsiteY14" fmla="*/ 0 h 221915"/>
                <a:gd name="connsiteX15" fmla="*/ 146646 w 193392"/>
                <a:gd name="connsiteY15" fmla="*/ 4702 h 221915"/>
                <a:gd name="connsiteX16" fmla="*/ 184196 w 193392"/>
                <a:gd name="connsiteY16" fmla="*/ 18493 h 221915"/>
                <a:gd name="connsiteX17" fmla="*/ 162439 w 193392"/>
                <a:gd name="connsiteY17" fmla="*/ 70336 h 221915"/>
                <a:gd name="connsiteX18" fmla="*/ 102627 w 193392"/>
                <a:gd name="connsiteY18" fmla="*/ 54601 h 221915"/>
                <a:gd name="connsiteX19" fmla="*/ 74718 w 193392"/>
                <a:gd name="connsiteY19" fmla="*/ 67954 h 221915"/>
                <a:gd name="connsiteX20" fmla="*/ 82964 w 193392"/>
                <a:gd name="connsiteY20" fmla="*/ 77482 h 221915"/>
                <a:gd name="connsiteX21" fmla="*/ 110238 w 193392"/>
                <a:gd name="connsiteY21" fmla="*/ 84315 h 221915"/>
                <a:gd name="connsiteX22" fmla="*/ 151657 w 193392"/>
                <a:gd name="connsiteY22" fmla="*/ 94784 h 221915"/>
                <a:gd name="connsiteX23" fmla="*/ 180961 w 193392"/>
                <a:gd name="connsiteY23" fmla="*/ 114029 h 221915"/>
                <a:gd name="connsiteX24" fmla="*/ 193392 w 193392"/>
                <a:gd name="connsiteY24" fmla="*/ 150388 h 221915"/>
                <a:gd name="connsiteX25" fmla="*/ 182039 w 193392"/>
                <a:gd name="connsiteY25" fmla="*/ 186622 h 221915"/>
                <a:gd name="connsiteX26" fmla="*/ 148168 w 193392"/>
                <a:gd name="connsiteY26" fmla="*/ 212387 h 221915"/>
                <a:gd name="connsiteX27" fmla="*/ 93430 w 193392"/>
                <a:gd name="connsiteY27" fmla="*/ 221915 h 221915"/>
                <a:gd name="connsiteX28" fmla="*/ 41546 w 193392"/>
                <a:gd name="connsiteY28" fmla="*/ 215897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3392" h="221915">
                  <a:moveTo>
                    <a:pt x="41546" y="215897"/>
                  </a:moveTo>
                  <a:cubicBezTo>
                    <a:pt x="24674" y="211948"/>
                    <a:pt x="10846" y="206682"/>
                    <a:pt x="0" y="199974"/>
                  </a:cubicBezTo>
                  <a:lnTo>
                    <a:pt x="23278" y="147881"/>
                  </a:lnTo>
                  <a:cubicBezTo>
                    <a:pt x="33490" y="153711"/>
                    <a:pt x="44971" y="158412"/>
                    <a:pt x="57593" y="161986"/>
                  </a:cubicBezTo>
                  <a:cubicBezTo>
                    <a:pt x="70278" y="165496"/>
                    <a:pt x="82457" y="167314"/>
                    <a:pt x="94064" y="167314"/>
                  </a:cubicBezTo>
                  <a:cubicBezTo>
                    <a:pt x="104086" y="167314"/>
                    <a:pt x="111253" y="166374"/>
                    <a:pt x="115503" y="164430"/>
                  </a:cubicBezTo>
                  <a:cubicBezTo>
                    <a:pt x="119816" y="162487"/>
                    <a:pt x="121972" y="159603"/>
                    <a:pt x="121972" y="155779"/>
                  </a:cubicBezTo>
                  <a:cubicBezTo>
                    <a:pt x="121972" y="151329"/>
                    <a:pt x="119182" y="148006"/>
                    <a:pt x="113537" y="145749"/>
                  </a:cubicBezTo>
                  <a:cubicBezTo>
                    <a:pt x="107891" y="143555"/>
                    <a:pt x="98694" y="141110"/>
                    <a:pt x="85755" y="138478"/>
                  </a:cubicBezTo>
                  <a:cubicBezTo>
                    <a:pt x="69200" y="135030"/>
                    <a:pt x="55373" y="131331"/>
                    <a:pt x="44336" y="127445"/>
                  </a:cubicBezTo>
                  <a:cubicBezTo>
                    <a:pt x="33300" y="123495"/>
                    <a:pt x="23722" y="117038"/>
                    <a:pt x="15540" y="108074"/>
                  </a:cubicBezTo>
                  <a:cubicBezTo>
                    <a:pt x="7358" y="99110"/>
                    <a:pt x="3298" y="86885"/>
                    <a:pt x="3298" y="71527"/>
                  </a:cubicBezTo>
                  <a:cubicBezTo>
                    <a:pt x="3298" y="58174"/>
                    <a:pt x="7104" y="46076"/>
                    <a:pt x="14652" y="35168"/>
                  </a:cubicBezTo>
                  <a:cubicBezTo>
                    <a:pt x="22200" y="24260"/>
                    <a:pt x="33490" y="15672"/>
                    <a:pt x="48523" y="9403"/>
                  </a:cubicBezTo>
                  <a:cubicBezTo>
                    <a:pt x="63555" y="3134"/>
                    <a:pt x="81822" y="0"/>
                    <a:pt x="103261" y="0"/>
                  </a:cubicBezTo>
                  <a:cubicBezTo>
                    <a:pt x="117977" y="0"/>
                    <a:pt x="132438" y="1567"/>
                    <a:pt x="146646" y="4702"/>
                  </a:cubicBezTo>
                  <a:cubicBezTo>
                    <a:pt x="160854" y="7836"/>
                    <a:pt x="173349" y="12412"/>
                    <a:pt x="184196" y="18493"/>
                  </a:cubicBezTo>
                  <a:lnTo>
                    <a:pt x="162439" y="70336"/>
                  </a:lnTo>
                  <a:cubicBezTo>
                    <a:pt x="141382" y="59867"/>
                    <a:pt x="121465" y="54601"/>
                    <a:pt x="102627" y="54601"/>
                  </a:cubicBezTo>
                  <a:cubicBezTo>
                    <a:pt x="84042" y="54601"/>
                    <a:pt x="74718" y="59052"/>
                    <a:pt x="74718" y="67954"/>
                  </a:cubicBezTo>
                  <a:cubicBezTo>
                    <a:pt x="74718" y="72216"/>
                    <a:pt x="77446" y="75351"/>
                    <a:pt x="82964" y="77482"/>
                  </a:cubicBezTo>
                  <a:cubicBezTo>
                    <a:pt x="88482" y="79614"/>
                    <a:pt x="97552" y="81870"/>
                    <a:pt x="110238" y="84315"/>
                  </a:cubicBezTo>
                  <a:cubicBezTo>
                    <a:pt x="126603" y="87324"/>
                    <a:pt x="140366" y="90835"/>
                    <a:pt x="151657" y="94784"/>
                  </a:cubicBezTo>
                  <a:cubicBezTo>
                    <a:pt x="162883" y="98733"/>
                    <a:pt x="172652" y="105128"/>
                    <a:pt x="180961" y="114029"/>
                  </a:cubicBezTo>
                  <a:cubicBezTo>
                    <a:pt x="189270" y="122931"/>
                    <a:pt x="193392" y="135030"/>
                    <a:pt x="193392" y="150388"/>
                  </a:cubicBezTo>
                  <a:cubicBezTo>
                    <a:pt x="193392" y="163741"/>
                    <a:pt x="189587" y="175777"/>
                    <a:pt x="182039" y="186622"/>
                  </a:cubicBezTo>
                  <a:cubicBezTo>
                    <a:pt x="174491" y="197404"/>
                    <a:pt x="163200" y="205992"/>
                    <a:pt x="148168" y="212387"/>
                  </a:cubicBezTo>
                  <a:cubicBezTo>
                    <a:pt x="133136" y="218718"/>
                    <a:pt x="114868" y="221915"/>
                    <a:pt x="93430" y="221915"/>
                  </a:cubicBezTo>
                  <a:cubicBezTo>
                    <a:pt x="75733" y="221853"/>
                    <a:pt x="58417" y="219846"/>
                    <a:pt x="41546" y="215897"/>
                  </a:cubicBezTo>
                  <a:close/>
                </a:path>
              </a:pathLst>
            </a:custGeom>
            <a:grpFill/>
            <a:ln w="6334"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B0B6CE06-AF25-479C-A03C-46EB94E873B4}"/>
                </a:ext>
              </a:extLst>
            </p:cNvPr>
            <p:cNvSpPr/>
            <p:nvPr/>
          </p:nvSpPr>
          <p:spPr>
            <a:xfrm>
              <a:off x="4729973" y="3407627"/>
              <a:ext cx="226882" cy="212010"/>
            </a:xfrm>
            <a:custGeom>
              <a:avLst/>
              <a:gdLst>
                <a:gd name="connsiteX0" fmla="*/ 0 w 226882"/>
                <a:gd name="connsiteY0" fmla="*/ 0 h 212010"/>
                <a:gd name="connsiteX1" fmla="*/ 105798 w 226882"/>
                <a:gd name="connsiteY1" fmla="*/ 0 h 212010"/>
                <a:gd name="connsiteX2" fmla="*/ 169099 w 226882"/>
                <a:gd name="connsiteY2" fmla="*/ 12851 h 212010"/>
                <a:gd name="connsiteX3" fmla="*/ 211723 w 226882"/>
                <a:gd name="connsiteY3" fmla="*/ 49649 h 212010"/>
                <a:gd name="connsiteX4" fmla="*/ 226882 w 226882"/>
                <a:gd name="connsiteY4" fmla="*/ 106005 h 212010"/>
                <a:gd name="connsiteX5" fmla="*/ 211723 w 226882"/>
                <a:gd name="connsiteY5" fmla="*/ 162362 h 212010"/>
                <a:gd name="connsiteX6" fmla="*/ 169099 w 226882"/>
                <a:gd name="connsiteY6" fmla="*/ 199159 h 212010"/>
                <a:gd name="connsiteX7" fmla="*/ 105798 w 226882"/>
                <a:gd name="connsiteY7" fmla="*/ 212011 h 212010"/>
                <a:gd name="connsiteX8" fmla="*/ 0 w 226882"/>
                <a:gd name="connsiteY8" fmla="*/ 212011 h 212010"/>
                <a:gd name="connsiteX9" fmla="*/ 0 w 226882"/>
                <a:gd name="connsiteY9" fmla="*/ 0 h 212010"/>
                <a:gd name="connsiteX10" fmla="*/ 102690 w 226882"/>
                <a:gd name="connsiteY10" fmla="*/ 156344 h 212010"/>
                <a:gd name="connsiteX11" fmla="*/ 139922 w 226882"/>
                <a:gd name="connsiteY11" fmla="*/ 143179 h 212010"/>
                <a:gd name="connsiteX12" fmla="*/ 153877 w 226882"/>
                <a:gd name="connsiteY12" fmla="*/ 106068 h 212010"/>
                <a:gd name="connsiteX13" fmla="*/ 139922 w 226882"/>
                <a:gd name="connsiteY13" fmla="*/ 68957 h 212010"/>
                <a:gd name="connsiteX14" fmla="*/ 102690 w 226882"/>
                <a:gd name="connsiteY14" fmla="*/ 55792 h 212010"/>
                <a:gd name="connsiteX15" fmla="*/ 72308 w 226882"/>
                <a:gd name="connsiteY15" fmla="*/ 55792 h 212010"/>
                <a:gd name="connsiteX16" fmla="*/ 72308 w 226882"/>
                <a:gd name="connsiteY16" fmla="*/ 156406 h 212010"/>
                <a:gd name="connsiteX17" fmla="*/ 102690 w 226882"/>
                <a:gd name="connsiteY17" fmla="*/ 156406 h 212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882" h="212010">
                  <a:moveTo>
                    <a:pt x="0" y="0"/>
                  </a:moveTo>
                  <a:lnTo>
                    <a:pt x="105798" y="0"/>
                  </a:lnTo>
                  <a:cubicBezTo>
                    <a:pt x="129710" y="0"/>
                    <a:pt x="150832" y="4325"/>
                    <a:pt x="169099" y="12851"/>
                  </a:cubicBezTo>
                  <a:cubicBezTo>
                    <a:pt x="187367" y="21439"/>
                    <a:pt x="201575" y="33726"/>
                    <a:pt x="211723" y="49649"/>
                  </a:cubicBezTo>
                  <a:cubicBezTo>
                    <a:pt x="221872" y="65634"/>
                    <a:pt x="226882" y="84378"/>
                    <a:pt x="226882" y="106005"/>
                  </a:cubicBezTo>
                  <a:cubicBezTo>
                    <a:pt x="226882" y="127633"/>
                    <a:pt x="221808" y="146439"/>
                    <a:pt x="211723" y="162362"/>
                  </a:cubicBezTo>
                  <a:cubicBezTo>
                    <a:pt x="201638" y="178284"/>
                    <a:pt x="187367" y="190571"/>
                    <a:pt x="169099" y="199159"/>
                  </a:cubicBezTo>
                  <a:cubicBezTo>
                    <a:pt x="150832" y="207748"/>
                    <a:pt x="129710" y="212011"/>
                    <a:pt x="105798" y="212011"/>
                  </a:cubicBezTo>
                  <a:lnTo>
                    <a:pt x="0" y="212011"/>
                  </a:lnTo>
                  <a:lnTo>
                    <a:pt x="0" y="0"/>
                  </a:lnTo>
                  <a:close/>
                  <a:moveTo>
                    <a:pt x="102690" y="156344"/>
                  </a:moveTo>
                  <a:cubicBezTo>
                    <a:pt x="118230" y="156344"/>
                    <a:pt x="130662" y="151955"/>
                    <a:pt x="139922" y="143179"/>
                  </a:cubicBezTo>
                  <a:cubicBezTo>
                    <a:pt x="149246" y="134403"/>
                    <a:pt x="153877" y="121991"/>
                    <a:pt x="153877" y="106068"/>
                  </a:cubicBezTo>
                  <a:cubicBezTo>
                    <a:pt x="153877" y="90145"/>
                    <a:pt x="149246" y="77733"/>
                    <a:pt x="139922" y="68957"/>
                  </a:cubicBezTo>
                  <a:cubicBezTo>
                    <a:pt x="130598" y="60180"/>
                    <a:pt x="118230" y="55792"/>
                    <a:pt x="102690" y="55792"/>
                  </a:cubicBezTo>
                  <a:lnTo>
                    <a:pt x="72308" y="55792"/>
                  </a:lnTo>
                  <a:lnTo>
                    <a:pt x="72308" y="156406"/>
                  </a:lnTo>
                  <a:lnTo>
                    <a:pt x="102690" y="156406"/>
                  </a:lnTo>
                  <a:close/>
                </a:path>
              </a:pathLst>
            </a:custGeom>
            <a:grpFill/>
            <a:ln w="6334"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CE8CC8A0-B143-4E33-A2A5-EE9B43C6D3AB}"/>
                </a:ext>
              </a:extLst>
            </p:cNvPr>
            <p:cNvSpPr/>
            <p:nvPr/>
          </p:nvSpPr>
          <p:spPr>
            <a:xfrm>
              <a:off x="4981402" y="3407627"/>
              <a:ext cx="209122" cy="216962"/>
            </a:xfrm>
            <a:custGeom>
              <a:avLst/>
              <a:gdLst>
                <a:gd name="connsiteX0" fmla="*/ 27591 w 209122"/>
                <a:gd name="connsiteY0" fmla="*/ 190571 h 216962"/>
                <a:gd name="connsiteX1" fmla="*/ 0 w 209122"/>
                <a:gd name="connsiteY1" fmla="*/ 116662 h 216962"/>
                <a:gd name="connsiteX2" fmla="*/ 0 w 209122"/>
                <a:gd name="connsiteY2" fmla="*/ 0 h 216962"/>
                <a:gd name="connsiteX3" fmla="*/ 72371 w 209122"/>
                <a:gd name="connsiteY3" fmla="*/ 0 h 216962"/>
                <a:gd name="connsiteX4" fmla="*/ 72371 w 209122"/>
                <a:gd name="connsiteY4" fmla="*/ 114531 h 216962"/>
                <a:gd name="connsiteX5" fmla="*/ 80807 w 209122"/>
                <a:gd name="connsiteY5" fmla="*/ 148445 h 216962"/>
                <a:gd name="connsiteX6" fmla="*/ 105164 w 209122"/>
                <a:gd name="connsiteY6" fmla="*/ 159039 h 216962"/>
                <a:gd name="connsiteX7" fmla="*/ 129520 w 209122"/>
                <a:gd name="connsiteY7" fmla="*/ 148445 h 216962"/>
                <a:gd name="connsiteX8" fmla="*/ 137956 w 209122"/>
                <a:gd name="connsiteY8" fmla="*/ 114531 h 216962"/>
                <a:gd name="connsiteX9" fmla="*/ 137956 w 209122"/>
                <a:gd name="connsiteY9" fmla="*/ 0 h 216962"/>
                <a:gd name="connsiteX10" fmla="*/ 209122 w 209122"/>
                <a:gd name="connsiteY10" fmla="*/ 0 h 216962"/>
                <a:gd name="connsiteX11" fmla="*/ 209122 w 209122"/>
                <a:gd name="connsiteY11" fmla="*/ 116662 h 216962"/>
                <a:gd name="connsiteX12" fmla="*/ 181531 w 209122"/>
                <a:gd name="connsiteY12" fmla="*/ 190571 h 216962"/>
                <a:gd name="connsiteX13" fmla="*/ 104593 w 209122"/>
                <a:gd name="connsiteY13" fmla="*/ 216963 h 216962"/>
                <a:gd name="connsiteX14" fmla="*/ 27591 w 209122"/>
                <a:gd name="connsiteY14" fmla="*/ 190571 h 216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122" h="216962">
                  <a:moveTo>
                    <a:pt x="27591" y="190571"/>
                  </a:moveTo>
                  <a:cubicBezTo>
                    <a:pt x="9197" y="173019"/>
                    <a:pt x="0" y="148320"/>
                    <a:pt x="0" y="116662"/>
                  </a:cubicBezTo>
                  <a:lnTo>
                    <a:pt x="0" y="0"/>
                  </a:lnTo>
                  <a:lnTo>
                    <a:pt x="72371" y="0"/>
                  </a:lnTo>
                  <a:lnTo>
                    <a:pt x="72371" y="114531"/>
                  </a:lnTo>
                  <a:cubicBezTo>
                    <a:pt x="72371" y="130077"/>
                    <a:pt x="75162" y="141424"/>
                    <a:pt x="80807" y="148445"/>
                  </a:cubicBezTo>
                  <a:cubicBezTo>
                    <a:pt x="86452" y="155529"/>
                    <a:pt x="94571" y="159039"/>
                    <a:pt x="105164" y="159039"/>
                  </a:cubicBezTo>
                  <a:cubicBezTo>
                    <a:pt x="115820" y="159039"/>
                    <a:pt x="123939" y="155529"/>
                    <a:pt x="129520" y="148445"/>
                  </a:cubicBezTo>
                  <a:cubicBezTo>
                    <a:pt x="135165" y="141361"/>
                    <a:pt x="137956" y="130077"/>
                    <a:pt x="137956" y="114531"/>
                  </a:cubicBezTo>
                  <a:lnTo>
                    <a:pt x="137956" y="0"/>
                  </a:lnTo>
                  <a:lnTo>
                    <a:pt x="209122" y="0"/>
                  </a:lnTo>
                  <a:lnTo>
                    <a:pt x="209122" y="116662"/>
                  </a:lnTo>
                  <a:cubicBezTo>
                    <a:pt x="209122" y="148382"/>
                    <a:pt x="199925" y="173019"/>
                    <a:pt x="181531" y="190571"/>
                  </a:cubicBezTo>
                  <a:cubicBezTo>
                    <a:pt x="163137" y="208124"/>
                    <a:pt x="137449" y="216963"/>
                    <a:pt x="104593" y="216963"/>
                  </a:cubicBezTo>
                  <a:cubicBezTo>
                    <a:pt x="71610" y="216963"/>
                    <a:pt x="45985" y="208187"/>
                    <a:pt x="27591" y="190571"/>
                  </a:cubicBezTo>
                  <a:close/>
                </a:path>
              </a:pathLst>
            </a:custGeom>
            <a:grpFill/>
            <a:ln w="6334"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3AC98097-6EB0-451A-96A0-B503C875F5AA}"/>
                </a:ext>
              </a:extLst>
            </p:cNvPr>
            <p:cNvSpPr/>
            <p:nvPr/>
          </p:nvSpPr>
          <p:spPr>
            <a:xfrm>
              <a:off x="5307042"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5"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5"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B89963CD-3668-4475-9F0B-EBB0D2187673}"/>
                </a:ext>
              </a:extLst>
            </p:cNvPr>
            <p:cNvSpPr/>
            <p:nvPr/>
          </p:nvSpPr>
          <p:spPr>
            <a:xfrm>
              <a:off x="553056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1" y="57924"/>
                    <a:pt x="95967" y="62751"/>
                    <a:pt x="86770" y="72342"/>
                  </a:cubicBezTo>
                  <a:cubicBezTo>
                    <a:pt x="77572" y="81933"/>
                    <a:pt x="72942" y="94847"/>
                    <a:pt x="72942" y="110958"/>
                  </a:cubicBezTo>
                  <a:cubicBezTo>
                    <a:pt x="72942" y="127068"/>
                    <a:pt x="77572"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7817CA0A-8653-45C2-925C-5904B11E2670}"/>
                </a:ext>
              </a:extLst>
            </p:cNvPr>
            <p:cNvSpPr/>
            <p:nvPr/>
          </p:nvSpPr>
          <p:spPr>
            <a:xfrm>
              <a:off x="5754083" y="3402800"/>
              <a:ext cx="215845" cy="221915"/>
            </a:xfrm>
            <a:custGeom>
              <a:avLst/>
              <a:gdLst>
                <a:gd name="connsiteX0" fmla="*/ 58227 w 215845"/>
                <a:gd name="connsiteY0" fmla="*/ 207685 h 221915"/>
                <a:gd name="connsiteX1" fmla="*/ 15476 w 215845"/>
                <a:gd name="connsiteY1" fmla="*/ 168317 h 221915"/>
                <a:gd name="connsiteX2" fmla="*/ 0 w 215845"/>
                <a:gd name="connsiteY2" fmla="*/ 110895 h 221915"/>
                <a:gd name="connsiteX3" fmla="*/ 15476 w 215845"/>
                <a:gd name="connsiteY3" fmla="*/ 53473 h 221915"/>
                <a:gd name="connsiteX4" fmla="*/ 58227 w 215845"/>
                <a:gd name="connsiteY4" fmla="*/ 14105 h 221915"/>
                <a:gd name="connsiteX5" fmla="*/ 119562 w 215845"/>
                <a:gd name="connsiteY5" fmla="*/ 0 h 221915"/>
                <a:gd name="connsiteX6" fmla="*/ 175379 w 215845"/>
                <a:gd name="connsiteY6" fmla="*/ 10908 h 221915"/>
                <a:gd name="connsiteX7" fmla="*/ 215846 w 215845"/>
                <a:gd name="connsiteY7" fmla="*/ 42440 h 221915"/>
                <a:gd name="connsiteX8" fmla="*/ 170178 w 215845"/>
                <a:gd name="connsiteY8" fmla="*/ 82748 h 221915"/>
                <a:gd name="connsiteX9" fmla="*/ 123241 w 215845"/>
                <a:gd name="connsiteY9" fmla="*/ 57924 h 221915"/>
                <a:gd name="connsiteX10" fmla="*/ 86770 w 215845"/>
                <a:gd name="connsiteY10" fmla="*/ 72342 h 221915"/>
                <a:gd name="connsiteX11" fmla="*/ 72942 w 215845"/>
                <a:gd name="connsiteY11" fmla="*/ 110958 h 221915"/>
                <a:gd name="connsiteX12" fmla="*/ 86770 w 215845"/>
                <a:gd name="connsiteY12" fmla="*/ 149573 h 221915"/>
                <a:gd name="connsiteX13" fmla="*/ 123241 w 215845"/>
                <a:gd name="connsiteY13" fmla="*/ 163992 h 221915"/>
                <a:gd name="connsiteX14" fmla="*/ 170178 w 215845"/>
                <a:gd name="connsiteY14" fmla="*/ 139167 h 221915"/>
                <a:gd name="connsiteX15" fmla="*/ 215846 w 215845"/>
                <a:gd name="connsiteY15" fmla="*/ 179476 h 221915"/>
                <a:gd name="connsiteX16" fmla="*/ 175379 w 215845"/>
                <a:gd name="connsiteY16" fmla="*/ 211008 h 221915"/>
                <a:gd name="connsiteX17" fmla="*/ 119562 w 215845"/>
                <a:gd name="connsiteY17" fmla="*/ 221915 h 221915"/>
                <a:gd name="connsiteX18" fmla="*/ 58227 w 215845"/>
                <a:gd name="connsiteY18" fmla="*/ 207685 h 22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845" h="221915">
                  <a:moveTo>
                    <a:pt x="58227" y="207685"/>
                  </a:moveTo>
                  <a:cubicBezTo>
                    <a:pt x="40023" y="198282"/>
                    <a:pt x="25752" y="185180"/>
                    <a:pt x="15476" y="168317"/>
                  </a:cubicBezTo>
                  <a:cubicBezTo>
                    <a:pt x="5138" y="151454"/>
                    <a:pt x="0" y="132334"/>
                    <a:pt x="0" y="110895"/>
                  </a:cubicBezTo>
                  <a:cubicBezTo>
                    <a:pt x="0" y="89456"/>
                    <a:pt x="5138" y="70336"/>
                    <a:pt x="15476" y="53473"/>
                  </a:cubicBezTo>
                  <a:cubicBezTo>
                    <a:pt x="25815" y="36610"/>
                    <a:pt x="40023" y="23445"/>
                    <a:pt x="58227" y="14105"/>
                  </a:cubicBezTo>
                  <a:cubicBezTo>
                    <a:pt x="76431" y="4702"/>
                    <a:pt x="96855" y="0"/>
                    <a:pt x="119562" y="0"/>
                  </a:cubicBezTo>
                  <a:cubicBezTo>
                    <a:pt x="140430" y="0"/>
                    <a:pt x="159014" y="3636"/>
                    <a:pt x="175379" y="10908"/>
                  </a:cubicBezTo>
                  <a:cubicBezTo>
                    <a:pt x="191743" y="18180"/>
                    <a:pt x="205190" y="28711"/>
                    <a:pt x="215846" y="42440"/>
                  </a:cubicBezTo>
                  <a:lnTo>
                    <a:pt x="170178" y="82748"/>
                  </a:lnTo>
                  <a:cubicBezTo>
                    <a:pt x="156858" y="66198"/>
                    <a:pt x="141254" y="57924"/>
                    <a:pt x="123241" y="57924"/>
                  </a:cubicBezTo>
                  <a:cubicBezTo>
                    <a:pt x="108082" y="57924"/>
                    <a:pt x="95967" y="62751"/>
                    <a:pt x="86770" y="72342"/>
                  </a:cubicBezTo>
                  <a:cubicBezTo>
                    <a:pt x="77573" y="81933"/>
                    <a:pt x="72942" y="94847"/>
                    <a:pt x="72942" y="110958"/>
                  </a:cubicBezTo>
                  <a:cubicBezTo>
                    <a:pt x="72942" y="127068"/>
                    <a:pt x="77573" y="139982"/>
                    <a:pt x="86770" y="149573"/>
                  </a:cubicBezTo>
                  <a:cubicBezTo>
                    <a:pt x="95967" y="159165"/>
                    <a:pt x="108145" y="163992"/>
                    <a:pt x="123241" y="163992"/>
                  </a:cubicBezTo>
                  <a:cubicBezTo>
                    <a:pt x="141254" y="163992"/>
                    <a:pt x="156858" y="155717"/>
                    <a:pt x="170178" y="139167"/>
                  </a:cubicBezTo>
                  <a:lnTo>
                    <a:pt x="215846" y="179476"/>
                  </a:lnTo>
                  <a:cubicBezTo>
                    <a:pt x="205190" y="193204"/>
                    <a:pt x="191743" y="203736"/>
                    <a:pt x="175379" y="211008"/>
                  </a:cubicBezTo>
                  <a:cubicBezTo>
                    <a:pt x="159014" y="218279"/>
                    <a:pt x="140430" y="221915"/>
                    <a:pt x="119562" y="221915"/>
                  </a:cubicBezTo>
                  <a:cubicBezTo>
                    <a:pt x="96855" y="221790"/>
                    <a:pt x="76431" y="217088"/>
                    <a:pt x="58227" y="207685"/>
                  </a:cubicBezTo>
                  <a:close/>
                </a:path>
              </a:pathLst>
            </a:custGeom>
            <a:grpFill/>
            <a:ln w="6334"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69CC805B-C73F-4B41-BBB4-E72A9C04A030}"/>
                </a:ext>
              </a:extLst>
            </p:cNvPr>
            <p:cNvSpPr/>
            <p:nvPr/>
          </p:nvSpPr>
          <p:spPr>
            <a:xfrm>
              <a:off x="5964411" y="3407627"/>
              <a:ext cx="258723" cy="212135"/>
            </a:xfrm>
            <a:custGeom>
              <a:avLst/>
              <a:gdLst>
                <a:gd name="connsiteX0" fmla="*/ 169543 w 258723"/>
                <a:gd name="connsiteY0" fmla="*/ 175150 h 212135"/>
                <a:gd name="connsiteX1" fmla="*/ 87975 w 258723"/>
                <a:gd name="connsiteY1" fmla="*/ 175150 h 212135"/>
                <a:gd name="connsiteX2" fmla="*/ 73577 w 258723"/>
                <a:gd name="connsiteY2" fmla="*/ 212136 h 212135"/>
                <a:gd name="connsiteX3" fmla="*/ 0 w 258723"/>
                <a:gd name="connsiteY3" fmla="*/ 212136 h 212135"/>
                <a:gd name="connsiteX4" fmla="*/ 93810 w 258723"/>
                <a:gd name="connsiteY4" fmla="*/ 0 h 212135"/>
                <a:gd name="connsiteX5" fmla="*/ 164913 w 258723"/>
                <a:gd name="connsiteY5" fmla="*/ 0 h 212135"/>
                <a:gd name="connsiteX6" fmla="*/ 258723 w 258723"/>
                <a:gd name="connsiteY6" fmla="*/ 212136 h 212135"/>
                <a:gd name="connsiteX7" fmla="*/ 183878 w 258723"/>
                <a:gd name="connsiteY7" fmla="*/ 212136 h 212135"/>
                <a:gd name="connsiteX8" fmla="*/ 169543 w 258723"/>
                <a:gd name="connsiteY8" fmla="*/ 175150 h 212135"/>
                <a:gd name="connsiteX9" fmla="*/ 149627 w 258723"/>
                <a:gd name="connsiteY9" fmla="*/ 123621 h 212135"/>
                <a:gd name="connsiteX10" fmla="*/ 128759 w 258723"/>
                <a:gd name="connsiteY10" fmla="*/ 70273 h 212135"/>
                <a:gd name="connsiteX11" fmla="*/ 107891 w 258723"/>
                <a:gd name="connsiteY11" fmla="*/ 123621 h 212135"/>
                <a:gd name="connsiteX12" fmla="*/ 149627 w 258723"/>
                <a:gd name="connsiteY12" fmla="*/ 123621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723" h="212135">
                  <a:moveTo>
                    <a:pt x="169543" y="175150"/>
                  </a:moveTo>
                  <a:lnTo>
                    <a:pt x="87975" y="175150"/>
                  </a:lnTo>
                  <a:lnTo>
                    <a:pt x="73577" y="212136"/>
                  </a:lnTo>
                  <a:lnTo>
                    <a:pt x="0" y="212136"/>
                  </a:lnTo>
                  <a:lnTo>
                    <a:pt x="93810" y="0"/>
                  </a:lnTo>
                  <a:lnTo>
                    <a:pt x="164913" y="0"/>
                  </a:lnTo>
                  <a:lnTo>
                    <a:pt x="258723" y="212136"/>
                  </a:lnTo>
                  <a:lnTo>
                    <a:pt x="183878" y="212136"/>
                  </a:lnTo>
                  <a:lnTo>
                    <a:pt x="169543" y="175150"/>
                  </a:lnTo>
                  <a:close/>
                  <a:moveTo>
                    <a:pt x="149627" y="123621"/>
                  </a:moveTo>
                  <a:lnTo>
                    <a:pt x="128759" y="70273"/>
                  </a:lnTo>
                  <a:lnTo>
                    <a:pt x="107891" y="123621"/>
                  </a:lnTo>
                  <a:lnTo>
                    <a:pt x="149627" y="123621"/>
                  </a:lnTo>
                  <a:close/>
                </a:path>
              </a:pathLst>
            </a:custGeom>
            <a:grpFill/>
            <a:ln w="6334"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BDE13116-A162-4608-8A13-4436DAA52801}"/>
                </a:ext>
              </a:extLst>
            </p:cNvPr>
            <p:cNvSpPr/>
            <p:nvPr/>
          </p:nvSpPr>
          <p:spPr>
            <a:xfrm>
              <a:off x="6221929" y="3486112"/>
              <a:ext cx="91970" cy="51529"/>
            </a:xfrm>
            <a:custGeom>
              <a:avLst/>
              <a:gdLst>
                <a:gd name="connsiteX0" fmla="*/ 0 w 91970"/>
                <a:gd name="connsiteY0" fmla="*/ 0 h 51529"/>
                <a:gd name="connsiteX1" fmla="*/ 91971 w 91970"/>
                <a:gd name="connsiteY1" fmla="*/ 0 h 51529"/>
                <a:gd name="connsiteX2" fmla="*/ 91971 w 91970"/>
                <a:gd name="connsiteY2" fmla="*/ 51529 h 51529"/>
                <a:gd name="connsiteX3" fmla="*/ 0 w 91970"/>
                <a:gd name="connsiteY3" fmla="*/ 51529 h 51529"/>
                <a:gd name="connsiteX4" fmla="*/ 0 w 91970"/>
                <a:gd name="connsiteY4" fmla="*/ 0 h 51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70" h="51529">
                  <a:moveTo>
                    <a:pt x="0" y="0"/>
                  </a:moveTo>
                  <a:lnTo>
                    <a:pt x="91971" y="0"/>
                  </a:lnTo>
                  <a:lnTo>
                    <a:pt x="91971" y="51529"/>
                  </a:lnTo>
                  <a:lnTo>
                    <a:pt x="0" y="51529"/>
                  </a:lnTo>
                  <a:lnTo>
                    <a:pt x="0" y="0"/>
                  </a:lnTo>
                  <a:close/>
                </a:path>
              </a:pathLst>
            </a:custGeom>
            <a:grpFill/>
            <a:ln w="6334"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25B2C03F-66E8-41AB-8D03-8B5B11962819}"/>
                </a:ext>
              </a:extLst>
            </p:cNvPr>
            <p:cNvSpPr/>
            <p:nvPr/>
          </p:nvSpPr>
          <p:spPr>
            <a:xfrm>
              <a:off x="6348278" y="3407564"/>
              <a:ext cx="211532" cy="212135"/>
            </a:xfrm>
            <a:custGeom>
              <a:avLst/>
              <a:gdLst>
                <a:gd name="connsiteX0" fmla="*/ 201131 w 211532"/>
                <a:gd name="connsiteY0" fmla="*/ 121552 h 212135"/>
                <a:gd name="connsiteX1" fmla="*/ 211533 w 211532"/>
                <a:gd name="connsiteY1" fmla="*/ 153648 h 212135"/>
                <a:gd name="connsiteX2" fmla="*/ 188255 w 211532"/>
                <a:gd name="connsiteY2" fmla="*/ 196840 h 212135"/>
                <a:gd name="connsiteX3" fmla="*/ 120831 w 211532"/>
                <a:gd name="connsiteY3" fmla="*/ 212136 h 212135"/>
                <a:gd name="connsiteX4" fmla="*/ 0 w 211532"/>
                <a:gd name="connsiteY4" fmla="*/ 212136 h 212135"/>
                <a:gd name="connsiteX5" fmla="*/ 0 w 211532"/>
                <a:gd name="connsiteY5" fmla="*/ 0 h 212135"/>
                <a:gd name="connsiteX6" fmla="*/ 114678 w 211532"/>
                <a:gd name="connsiteY6" fmla="*/ 0 h 212135"/>
                <a:gd name="connsiteX7" fmla="*/ 179502 w 211532"/>
                <a:gd name="connsiteY7" fmla="*/ 15170 h 212135"/>
                <a:gd name="connsiteX8" fmla="*/ 201448 w 211532"/>
                <a:gd name="connsiteY8" fmla="*/ 55479 h 212135"/>
                <a:gd name="connsiteX9" fmla="*/ 193963 w 211532"/>
                <a:gd name="connsiteY9" fmla="*/ 82121 h 212135"/>
                <a:gd name="connsiteX10" fmla="*/ 171763 w 211532"/>
                <a:gd name="connsiteY10" fmla="*/ 101241 h 212135"/>
                <a:gd name="connsiteX11" fmla="*/ 201131 w 211532"/>
                <a:gd name="connsiteY11" fmla="*/ 121552 h 212135"/>
                <a:gd name="connsiteX12" fmla="*/ 71166 w 211532"/>
                <a:gd name="connsiteY12" fmla="*/ 50025 h 212135"/>
                <a:gd name="connsiteX13" fmla="*/ 71166 w 211532"/>
                <a:gd name="connsiteY13" fmla="*/ 81557 h 212135"/>
                <a:gd name="connsiteX14" fmla="*/ 104910 w 211532"/>
                <a:gd name="connsiteY14" fmla="*/ 81557 h 212135"/>
                <a:gd name="connsiteX15" fmla="*/ 128505 w 211532"/>
                <a:gd name="connsiteY15" fmla="*/ 65822 h 212135"/>
                <a:gd name="connsiteX16" fmla="*/ 104910 w 211532"/>
                <a:gd name="connsiteY16" fmla="*/ 50088 h 212135"/>
                <a:gd name="connsiteX17" fmla="*/ 71166 w 211532"/>
                <a:gd name="connsiteY17" fmla="*/ 50088 h 212135"/>
                <a:gd name="connsiteX18" fmla="*/ 138590 w 211532"/>
                <a:gd name="connsiteY18" fmla="*/ 145499 h 212135"/>
                <a:gd name="connsiteX19" fmla="*/ 114678 w 211532"/>
                <a:gd name="connsiteY19" fmla="*/ 128824 h 212135"/>
                <a:gd name="connsiteX20" fmla="*/ 71166 w 211532"/>
                <a:gd name="connsiteY20" fmla="*/ 128824 h 212135"/>
                <a:gd name="connsiteX21" fmla="*/ 71166 w 211532"/>
                <a:gd name="connsiteY21" fmla="*/ 162174 h 212135"/>
                <a:gd name="connsiteX22" fmla="*/ 114678 w 211532"/>
                <a:gd name="connsiteY22" fmla="*/ 162174 h 212135"/>
                <a:gd name="connsiteX23" fmla="*/ 138590 w 211532"/>
                <a:gd name="connsiteY23" fmla="*/ 14549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532" h="212135">
                  <a:moveTo>
                    <a:pt x="201131" y="121552"/>
                  </a:moveTo>
                  <a:cubicBezTo>
                    <a:pt x="208108" y="130454"/>
                    <a:pt x="211533" y="141173"/>
                    <a:pt x="211533" y="153648"/>
                  </a:cubicBezTo>
                  <a:cubicBezTo>
                    <a:pt x="211533" y="172266"/>
                    <a:pt x="203795" y="186622"/>
                    <a:pt x="188255" y="196840"/>
                  </a:cubicBezTo>
                  <a:cubicBezTo>
                    <a:pt x="172715" y="207058"/>
                    <a:pt x="150261" y="212136"/>
                    <a:pt x="120831" y="212136"/>
                  </a:cubicBezTo>
                  <a:lnTo>
                    <a:pt x="0" y="212136"/>
                  </a:lnTo>
                  <a:lnTo>
                    <a:pt x="0" y="0"/>
                  </a:lnTo>
                  <a:lnTo>
                    <a:pt x="114678" y="0"/>
                  </a:lnTo>
                  <a:cubicBezTo>
                    <a:pt x="143284" y="0"/>
                    <a:pt x="164913" y="5078"/>
                    <a:pt x="179502" y="15170"/>
                  </a:cubicBezTo>
                  <a:cubicBezTo>
                    <a:pt x="194090" y="25263"/>
                    <a:pt x="201448" y="38678"/>
                    <a:pt x="201448" y="55479"/>
                  </a:cubicBezTo>
                  <a:cubicBezTo>
                    <a:pt x="201448" y="65383"/>
                    <a:pt x="198911" y="74285"/>
                    <a:pt x="193963" y="82121"/>
                  </a:cubicBezTo>
                  <a:cubicBezTo>
                    <a:pt x="188952" y="90020"/>
                    <a:pt x="181531" y="96351"/>
                    <a:pt x="171763" y="101241"/>
                  </a:cubicBezTo>
                  <a:cubicBezTo>
                    <a:pt x="184386" y="105943"/>
                    <a:pt x="194217" y="112650"/>
                    <a:pt x="201131" y="121552"/>
                  </a:cubicBezTo>
                  <a:close/>
                  <a:moveTo>
                    <a:pt x="71166" y="50025"/>
                  </a:moveTo>
                  <a:lnTo>
                    <a:pt x="71166" y="81557"/>
                  </a:lnTo>
                  <a:lnTo>
                    <a:pt x="104910" y="81557"/>
                  </a:lnTo>
                  <a:cubicBezTo>
                    <a:pt x="120640" y="81557"/>
                    <a:pt x="128505" y="76291"/>
                    <a:pt x="128505" y="65822"/>
                  </a:cubicBezTo>
                  <a:cubicBezTo>
                    <a:pt x="128505" y="55353"/>
                    <a:pt x="120640" y="50088"/>
                    <a:pt x="104910" y="50088"/>
                  </a:cubicBezTo>
                  <a:lnTo>
                    <a:pt x="71166" y="50088"/>
                  </a:lnTo>
                  <a:close/>
                  <a:moveTo>
                    <a:pt x="138590" y="145499"/>
                  </a:moveTo>
                  <a:cubicBezTo>
                    <a:pt x="138590" y="134403"/>
                    <a:pt x="130598" y="128824"/>
                    <a:pt x="114678" y="128824"/>
                  </a:cubicBezTo>
                  <a:lnTo>
                    <a:pt x="71166" y="128824"/>
                  </a:lnTo>
                  <a:lnTo>
                    <a:pt x="71166" y="162174"/>
                  </a:lnTo>
                  <a:lnTo>
                    <a:pt x="114678" y="162174"/>
                  </a:lnTo>
                  <a:cubicBezTo>
                    <a:pt x="130598" y="162174"/>
                    <a:pt x="138590" y="156594"/>
                    <a:pt x="138590" y="145499"/>
                  </a:cubicBezTo>
                  <a:close/>
                </a:path>
              </a:pathLst>
            </a:custGeom>
            <a:grpFill/>
            <a:ln w="6334"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B2E2ADCB-BC9C-43C3-8DE5-A62062407660}"/>
                </a:ext>
              </a:extLst>
            </p:cNvPr>
            <p:cNvSpPr/>
            <p:nvPr/>
          </p:nvSpPr>
          <p:spPr>
            <a:xfrm>
              <a:off x="6565963" y="3407564"/>
              <a:ext cx="198086" cy="212135"/>
            </a:xfrm>
            <a:custGeom>
              <a:avLst/>
              <a:gdLst>
                <a:gd name="connsiteX0" fmla="*/ 62857 w 198086"/>
                <a:gd name="connsiteY0" fmla="*/ 55479 h 212135"/>
                <a:gd name="connsiteX1" fmla="*/ 0 w 198086"/>
                <a:gd name="connsiteY1" fmla="*/ 55479 h 212135"/>
                <a:gd name="connsiteX2" fmla="*/ 0 w 198086"/>
                <a:gd name="connsiteY2" fmla="*/ 0 h 212135"/>
                <a:gd name="connsiteX3" fmla="*/ 198086 w 198086"/>
                <a:gd name="connsiteY3" fmla="*/ 0 h 212135"/>
                <a:gd name="connsiteX4" fmla="*/ 198086 w 198086"/>
                <a:gd name="connsiteY4" fmla="*/ 55479 h 212135"/>
                <a:gd name="connsiteX5" fmla="*/ 135229 w 198086"/>
                <a:gd name="connsiteY5" fmla="*/ 55479 h 212135"/>
                <a:gd name="connsiteX6" fmla="*/ 135229 w 198086"/>
                <a:gd name="connsiteY6" fmla="*/ 212136 h 212135"/>
                <a:gd name="connsiteX7" fmla="*/ 62857 w 198086"/>
                <a:gd name="connsiteY7" fmla="*/ 212136 h 212135"/>
                <a:gd name="connsiteX8" fmla="*/ 62857 w 198086"/>
                <a:gd name="connsiteY8" fmla="*/ 55479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086" h="212135">
                  <a:moveTo>
                    <a:pt x="62857" y="55479"/>
                  </a:moveTo>
                  <a:lnTo>
                    <a:pt x="0" y="55479"/>
                  </a:lnTo>
                  <a:lnTo>
                    <a:pt x="0" y="0"/>
                  </a:lnTo>
                  <a:lnTo>
                    <a:pt x="198086" y="0"/>
                  </a:lnTo>
                  <a:lnTo>
                    <a:pt x="198086" y="55479"/>
                  </a:lnTo>
                  <a:lnTo>
                    <a:pt x="135229" y="55479"/>
                  </a:lnTo>
                  <a:lnTo>
                    <a:pt x="135229" y="212136"/>
                  </a:lnTo>
                  <a:lnTo>
                    <a:pt x="62857" y="212136"/>
                  </a:lnTo>
                  <a:lnTo>
                    <a:pt x="62857" y="55479"/>
                  </a:lnTo>
                  <a:close/>
                </a:path>
              </a:pathLst>
            </a:custGeom>
            <a:grpFill/>
            <a:ln w="6334"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69E70A80-D246-49A9-9275-E94692AF84A8}"/>
                </a:ext>
              </a:extLst>
            </p:cNvPr>
            <p:cNvSpPr/>
            <p:nvPr/>
          </p:nvSpPr>
          <p:spPr>
            <a:xfrm>
              <a:off x="6782761" y="3407627"/>
              <a:ext cx="201130" cy="212135"/>
            </a:xfrm>
            <a:custGeom>
              <a:avLst/>
              <a:gdLst>
                <a:gd name="connsiteX0" fmla="*/ 155145 w 201130"/>
                <a:gd name="connsiteY0" fmla="*/ 9654 h 212135"/>
                <a:gd name="connsiteX1" fmla="*/ 189206 w 201130"/>
                <a:gd name="connsiteY1" fmla="*/ 37550 h 212135"/>
                <a:gd name="connsiteX2" fmla="*/ 201131 w 201130"/>
                <a:gd name="connsiteY2" fmla="*/ 79990 h 212135"/>
                <a:gd name="connsiteX3" fmla="*/ 189206 w 201130"/>
                <a:gd name="connsiteY3" fmla="*/ 122429 h 212135"/>
                <a:gd name="connsiteX4" fmla="*/ 155145 w 201130"/>
                <a:gd name="connsiteY4" fmla="*/ 150326 h 212135"/>
                <a:gd name="connsiteX5" fmla="*/ 103324 w 201130"/>
                <a:gd name="connsiteY5" fmla="*/ 160042 h 212135"/>
                <a:gd name="connsiteX6" fmla="*/ 72372 w 201130"/>
                <a:gd name="connsiteY6" fmla="*/ 160042 h 212135"/>
                <a:gd name="connsiteX7" fmla="*/ 72372 w 201130"/>
                <a:gd name="connsiteY7" fmla="*/ 212136 h 212135"/>
                <a:gd name="connsiteX8" fmla="*/ 0 w 201130"/>
                <a:gd name="connsiteY8" fmla="*/ 212136 h 212135"/>
                <a:gd name="connsiteX9" fmla="*/ 0 w 201130"/>
                <a:gd name="connsiteY9" fmla="*/ 0 h 212135"/>
                <a:gd name="connsiteX10" fmla="*/ 103324 w 201130"/>
                <a:gd name="connsiteY10" fmla="*/ 0 h 212135"/>
                <a:gd name="connsiteX11" fmla="*/ 155145 w 201130"/>
                <a:gd name="connsiteY11" fmla="*/ 9654 h 212135"/>
                <a:gd name="connsiteX12" fmla="*/ 120831 w 201130"/>
                <a:gd name="connsiteY12" fmla="*/ 98295 h 212135"/>
                <a:gd name="connsiteX13" fmla="*/ 128188 w 201130"/>
                <a:gd name="connsiteY13" fmla="*/ 79990 h 212135"/>
                <a:gd name="connsiteX14" fmla="*/ 120831 w 201130"/>
                <a:gd name="connsiteY14" fmla="*/ 61685 h 212135"/>
                <a:gd name="connsiteX15" fmla="*/ 98758 w 201130"/>
                <a:gd name="connsiteY15" fmla="*/ 55165 h 212135"/>
                <a:gd name="connsiteX16" fmla="*/ 72372 w 201130"/>
                <a:gd name="connsiteY16" fmla="*/ 55165 h 212135"/>
                <a:gd name="connsiteX17" fmla="*/ 72372 w 201130"/>
                <a:gd name="connsiteY17" fmla="*/ 104877 h 212135"/>
                <a:gd name="connsiteX18" fmla="*/ 98758 w 201130"/>
                <a:gd name="connsiteY18" fmla="*/ 104877 h 212135"/>
                <a:gd name="connsiteX19" fmla="*/ 120831 w 201130"/>
                <a:gd name="connsiteY19" fmla="*/ 98295 h 21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1130" h="212135">
                  <a:moveTo>
                    <a:pt x="155145" y="9654"/>
                  </a:moveTo>
                  <a:cubicBezTo>
                    <a:pt x="169861" y="16111"/>
                    <a:pt x="181214" y="25389"/>
                    <a:pt x="189206" y="37550"/>
                  </a:cubicBezTo>
                  <a:cubicBezTo>
                    <a:pt x="197198" y="49712"/>
                    <a:pt x="201131" y="63816"/>
                    <a:pt x="201131" y="79990"/>
                  </a:cubicBezTo>
                  <a:cubicBezTo>
                    <a:pt x="201131" y="96163"/>
                    <a:pt x="197135" y="110268"/>
                    <a:pt x="189206" y="122429"/>
                  </a:cubicBezTo>
                  <a:cubicBezTo>
                    <a:pt x="181278" y="134591"/>
                    <a:pt x="169861" y="143869"/>
                    <a:pt x="155145" y="150326"/>
                  </a:cubicBezTo>
                  <a:cubicBezTo>
                    <a:pt x="140430" y="156782"/>
                    <a:pt x="123178" y="160042"/>
                    <a:pt x="103324" y="160042"/>
                  </a:cubicBezTo>
                  <a:lnTo>
                    <a:pt x="72372" y="160042"/>
                  </a:lnTo>
                  <a:lnTo>
                    <a:pt x="72372" y="212136"/>
                  </a:lnTo>
                  <a:lnTo>
                    <a:pt x="0" y="212136"/>
                  </a:lnTo>
                  <a:lnTo>
                    <a:pt x="0" y="0"/>
                  </a:lnTo>
                  <a:lnTo>
                    <a:pt x="103324" y="0"/>
                  </a:lnTo>
                  <a:cubicBezTo>
                    <a:pt x="123178" y="0"/>
                    <a:pt x="140430" y="3197"/>
                    <a:pt x="155145" y="9654"/>
                  </a:cubicBezTo>
                  <a:close/>
                  <a:moveTo>
                    <a:pt x="120831" y="98295"/>
                  </a:moveTo>
                  <a:cubicBezTo>
                    <a:pt x="125715" y="93969"/>
                    <a:pt x="128188" y="87826"/>
                    <a:pt x="128188" y="79990"/>
                  </a:cubicBezTo>
                  <a:cubicBezTo>
                    <a:pt x="128188" y="72154"/>
                    <a:pt x="125715" y="66010"/>
                    <a:pt x="120831" y="61685"/>
                  </a:cubicBezTo>
                  <a:cubicBezTo>
                    <a:pt x="115947" y="57359"/>
                    <a:pt x="108589" y="55165"/>
                    <a:pt x="98758" y="55165"/>
                  </a:cubicBezTo>
                  <a:lnTo>
                    <a:pt x="72372" y="55165"/>
                  </a:lnTo>
                  <a:lnTo>
                    <a:pt x="72372" y="104877"/>
                  </a:lnTo>
                  <a:lnTo>
                    <a:pt x="98758" y="104877"/>
                  </a:lnTo>
                  <a:cubicBezTo>
                    <a:pt x="108526" y="104814"/>
                    <a:pt x="115883" y="102683"/>
                    <a:pt x="120831" y="98295"/>
                  </a:cubicBezTo>
                  <a:close/>
                </a:path>
              </a:pathLst>
            </a:custGeom>
            <a:grpFill/>
            <a:ln w="6334" cap="flat">
              <a:noFill/>
              <a:prstDash val="solid"/>
              <a:miter/>
            </a:ln>
          </p:spPr>
          <p:txBody>
            <a:bodyPr rtlCol="0" anchor="ctr"/>
            <a:lstStyle/>
            <a:p>
              <a:endParaRPr lang="fr-FR" sz="2400"/>
            </a:p>
          </p:txBody>
        </p:sp>
      </p:grpSp>
      <p:pic>
        <p:nvPicPr>
          <p:cNvPr id="4" name="Picture 3">
            <a:extLst>
              <a:ext uri="{FF2B5EF4-FFF2-40B4-BE49-F238E27FC236}">
                <a16:creationId xmlns:a16="http://schemas.microsoft.com/office/drawing/2014/main" id="{75E4EA72-4324-4D6B-A735-50107C2E5CAF}"/>
              </a:ext>
            </a:extLst>
          </p:cNvPr>
          <p:cNvPicPr>
            <a:picLocks noChangeAspect="1"/>
          </p:cNvPicPr>
          <p:nvPr userDrawn="1"/>
        </p:nvPicPr>
        <p:blipFill rotWithShape="1">
          <a:blip r:embed="rId6">
            <a:alphaModFix/>
          </a:blip>
          <a:srcRect t="71886"/>
          <a:stretch/>
        </p:blipFill>
        <p:spPr>
          <a:xfrm>
            <a:off x="4698585" y="4976132"/>
            <a:ext cx="4781967" cy="770619"/>
          </a:xfrm>
          <a:prstGeom prst="rect">
            <a:avLst/>
          </a:prstGeom>
        </p:spPr>
      </p:pic>
      <p:cxnSp>
        <p:nvCxnSpPr>
          <p:cNvPr id="10" name="Straight Connector 9">
            <a:extLst>
              <a:ext uri="{FF2B5EF4-FFF2-40B4-BE49-F238E27FC236}">
                <a16:creationId xmlns:a16="http://schemas.microsoft.com/office/drawing/2014/main" id="{EDA988BB-661B-458F-9DB5-76F85C48290C}"/>
              </a:ext>
            </a:extLst>
          </p:cNvPr>
          <p:cNvCxnSpPr>
            <a:cxnSpLocks/>
          </p:cNvCxnSpPr>
          <p:nvPr userDrawn="1"/>
        </p:nvCxnSpPr>
        <p:spPr>
          <a:xfrm>
            <a:off x="9610724" y="3661834"/>
            <a:ext cx="0" cy="1113367"/>
          </a:xfrm>
          <a:prstGeom prst="line">
            <a:avLst/>
          </a:prstGeom>
          <a:ln w="28575" cap="rnd">
            <a:solidFill>
              <a:schemeClr val="bg1"/>
            </a:solidFill>
            <a:prstDash val="sysDot"/>
            <a:bevel/>
          </a:ln>
        </p:spPr>
        <p:style>
          <a:lnRef idx="1">
            <a:schemeClr val="accent1"/>
          </a:lnRef>
          <a:fillRef idx="0">
            <a:schemeClr val="accent1"/>
          </a:fillRef>
          <a:effectRef idx="0">
            <a:schemeClr val="accent1"/>
          </a:effectRef>
          <a:fontRef idx="minor">
            <a:schemeClr val="tx1"/>
          </a:fontRef>
        </p:style>
      </p:cxnSp>
      <p:pic>
        <p:nvPicPr>
          <p:cNvPr id="3" name="Image 2" descr="Une image contenant noir, obscurité&#10;&#10;Description générée automatiquement">
            <a:extLst>
              <a:ext uri="{FF2B5EF4-FFF2-40B4-BE49-F238E27FC236}">
                <a16:creationId xmlns:a16="http://schemas.microsoft.com/office/drawing/2014/main" id="{F8D3A6DE-D790-982D-0F4D-15E61A4EA2F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779869" y="3661834"/>
            <a:ext cx="3768248" cy="1206757"/>
          </a:xfrm>
          <a:prstGeom prst="rect">
            <a:avLst/>
          </a:prstGeom>
        </p:spPr>
      </p:pic>
    </p:spTree>
    <p:extLst>
      <p:ext uri="{BB962C8B-B14F-4D97-AF65-F5344CB8AC3E}">
        <p14:creationId xmlns:p14="http://schemas.microsoft.com/office/powerpoint/2010/main" val="148423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6" y="1016"/>
            <a:ext cx="16252388" cy="9141968"/>
          </a:xfrm>
          <a:prstGeom prst="rect">
            <a:avLst/>
          </a:prstGeom>
        </p:spPr>
      </p:pic>
      <p:sp>
        <p:nvSpPr>
          <p:cNvPr id="2" name="Rectangle 1">
            <a:extLst>
              <a:ext uri="{FF2B5EF4-FFF2-40B4-BE49-F238E27FC236}">
                <a16:creationId xmlns:a16="http://schemas.microsoft.com/office/drawing/2014/main" id="{2FDDB062-BD7F-FB07-C3FD-9035D699F80D}"/>
              </a:ext>
            </a:extLst>
          </p:cNvPr>
          <p:cNvSpPr/>
          <p:nvPr userDrawn="1"/>
        </p:nvSpPr>
        <p:spPr>
          <a:xfrm>
            <a:off x="6626087" y="3167270"/>
            <a:ext cx="2703444" cy="2120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4" name="Image 3" descr="Une image contenant Police, Graphique, logo, symbole&#10;&#10;Description générée automatiquement">
            <a:extLst>
              <a:ext uri="{FF2B5EF4-FFF2-40B4-BE49-F238E27FC236}">
                <a16:creationId xmlns:a16="http://schemas.microsoft.com/office/drawing/2014/main" id="{600D91FC-FA23-8AAB-1A65-77D78F5CB7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888" t="19668" r="4593" b="21733"/>
          <a:stretch/>
        </p:blipFill>
        <p:spPr>
          <a:xfrm>
            <a:off x="5411304" y="3988905"/>
            <a:ext cx="5433392" cy="1126433"/>
          </a:xfrm>
          <a:prstGeom prst="rect">
            <a:avLst/>
          </a:prstGeom>
        </p:spPr>
      </p:pic>
    </p:spTree>
    <p:extLst>
      <p:ext uri="{BB962C8B-B14F-4D97-AF65-F5344CB8AC3E}">
        <p14:creationId xmlns:p14="http://schemas.microsoft.com/office/powerpoint/2010/main" val="1966786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0158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5"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6" y="4259343"/>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8" name="Graphique 7">
            <a:extLst>
              <a:ext uri="{FF2B5EF4-FFF2-40B4-BE49-F238E27FC236}">
                <a16:creationId xmlns:a16="http://schemas.microsoft.com/office/drawing/2014/main" id="{8185CF1B-6E26-4071-981E-D8C87ED7D62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738851" y="6973219"/>
            <a:ext cx="2174251" cy="1809744"/>
          </a:xfrm>
          <a:prstGeom prst="rect">
            <a:avLst/>
          </a:prstGeom>
        </p:spPr>
      </p:pic>
    </p:spTree>
    <p:extLst>
      <p:ext uri="{BB962C8B-B14F-4D97-AF65-F5344CB8AC3E}">
        <p14:creationId xmlns:p14="http://schemas.microsoft.com/office/powerpoint/2010/main" val="3697630495"/>
      </p:ext>
    </p:extLst>
  </p:cSld>
  <p:clrMapOvr>
    <a:masterClrMapping/>
  </p:clrMapOvr>
  <mc:AlternateContent xmlns:mc="http://schemas.openxmlformats.org/markup-compatibility/2006">
    <mc:Choice xmlns:p15="http://schemas.microsoft.com/office/powerpoint/2012/main" Requires="p15">
      <p:transition spd="med" advClick="0" advTm="9000">
        <p15:prstTrans prst="peelOff"/>
      </p:transition>
    </mc:Choice>
    <mc:Fallback>
      <p:transition spd="med" advClick="0" advTm="9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u - Titre Jaune">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008" y="1287834"/>
            <a:ext cx="15131403" cy="6359660"/>
          </a:xfrm>
          <a:prstGeom prst="rect">
            <a:avLst/>
          </a:prstGeom>
        </p:spPr>
        <p:txBody>
          <a:bodyPr/>
          <a:lstStyle>
            <a:lvl1pPr marL="0" indent="0">
              <a:buNone/>
              <a:defRPr sz="2133">
                <a:latin typeface="Arial"/>
                <a:cs typeface="Arial"/>
              </a:defRPr>
            </a:lvl1pPr>
            <a:lvl2pPr>
              <a:defRPr sz="2133">
                <a:latin typeface="Arial"/>
                <a:cs typeface="Arial"/>
              </a:defRPr>
            </a:lvl2pPr>
            <a:lvl3pPr>
              <a:defRPr sz="2133">
                <a:latin typeface="Arial"/>
                <a:cs typeface="Arial"/>
              </a:defRPr>
            </a:lvl3pPr>
            <a:lvl4pPr>
              <a:defRPr sz="2133">
                <a:latin typeface="Arial"/>
                <a:cs typeface="Arial"/>
              </a:defRPr>
            </a:lvl4pPr>
            <a:lvl5pPr>
              <a:defRPr sz="2133">
                <a:latin typeface="Arial"/>
                <a:cs typeface="Aria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pic>
        <p:nvPicPr>
          <p:cNvPr id="13" name="Image 12" descr="titre-jau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4429"/>
            <a:ext cx="16256000" cy="1597339"/>
          </a:xfrm>
          <a:prstGeom prst="rect">
            <a:avLst/>
          </a:prstGeom>
        </p:spPr>
      </p:pic>
      <p:sp>
        <p:nvSpPr>
          <p:cNvPr id="14" name="Titre 1"/>
          <p:cNvSpPr>
            <a:spLocks noGrp="1"/>
          </p:cNvSpPr>
          <p:nvPr>
            <p:ph type="title" hasCustomPrompt="1"/>
          </p:nvPr>
        </p:nvSpPr>
        <p:spPr>
          <a:xfrm>
            <a:off x="528009" y="451306"/>
            <a:ext cx="14915193" cy="402156"/>
          </a:xfrm>
          <a:prstGeom prst="rect">
            <a:avLst/>
          </a:prstGeom>
        </p:spPr>
        <p:txBody>
          <a:bodyPr>
            <a:noAutofit/>
          </a:bodyPr>
          <a:lstStyle>
            <a:lvl1pPr algn="l">
              <a:defRPr sz="2489">
                <a:solidFill>
                  <a:schemeClr val="tx1"/>
                </a:solidFill>
                <a:latin typeface="Arial Black"/>
                <a:cs typeface="Arial Black"/>
              </a:defRPr>
            </a:lvl1pPr>
          </a:lstStyle>
          <a:p>
            <a:r>
              <a:rPr lang="fr-FR"/>
              <a:t>Cliquez et modifiez le titre </a:t>
            </a:r>
          </a:p>
        </p:txBody>
      </p:sp>
    </p:spTree>
    <p:extLst>
      <p:ext uri="{BB962C8B-B14F-4D97-AF65-F5344CB8AC3E}">
        <p14:creationId xmlns:p14="http://schemas.microsoft.com/office/powerpoint/2010/main" val="2057118616"/>
      </p:ext>
    </p:extLst>
  </p:cSld>
  <p:clrMapOvr>
    <a:masterClrMapping/>
  </p:clrMapOvr>
  <mc:AlternateContent xmlns:mc="http://schemas.openxmlformats.org/markup-compatibility/2006">
    <mc:Choice xmlns:p15="http://schemas.microsoft.com/office/powerpoint/2012/main" Requires="p15">
      <p:transition spd="slow" advClick="0" advTm="9000">
        <p15:prstTrans prst="peelOff"/>
      </p:transition>
    </mc:Choice>
    <mc:Fallback>
      <p:transition spd="slow" advClick="0" advTm="9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E6D71B0-95A3-4493-9D96-5908323A7020}"/>
              </a:ext>
            </a:extLst>
          </p:cNvPr>
          <p:cNvGraphicFramePr>
            <a:graphicFrameLocks noChangeAspect="1"/>
          </p:cNvGraphicFramePr>
          <p:nvPr userDrawn="1">
            <p:custDataLst>
              <p:tags r:id="rId1"/>
            </p:custDataLst>
            <p:extLst>
              <p:ext uri="{D42A27DB-BD31-4B8C-83A1-F6EECF244321}">
                <p14:modId xmlns:p14="http://schemas.microsoft.com/office/powerpoint/2010/main" val="1177219332"/>
              </p:ext>
            </p:extLst>
          </p:nvPr>
        </p:nvGraphicFramePr>
        <p:xfrm>
          <a:off x="3765" y="1589"/>
          <a:ext cx="3764"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9" name="Object 8" hidden="1">
                        <a:extLst>
                          <a:ext uri="{FF2B5EF4-FFF2-40B4-BE49-F238E27FC236}">
                            <a16:creationId xmlns:a16="http://schemas.microsoft.com/office/drawing/2014/main" id="{7E6D71B0-95A3-4493-9D96-5908323A7020}"/>
                          </a:ext>
                        </a:extLst>
                      </p:cNvPr>
                      <p:cNvPicPr/>
                      <p:nvPr/>
                    </p:nvPicPr>
                    <p:blipFill>
                      <a:blip r:embed="rId5"/>
                      <a:stretch>
                        <a:fillRect/>
                      </a:stretch>
                    </p:blipFill>
                    <p:spPr>
                      <a:xfrm>
                        <a:off x="3765" y="1589"/>
                        <a:ext cx="3764"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0B3DDA-1A61-4EE4-AB39-49E465C883C7}"/>
              </a:ext>
            </a:extLst>
          </p:cNvPr>
          <p:cNvSpPr/>
          <p:nvPr userDrawn="1">
            <p:custDataLst>
              <p:tags r:id="rId2"/>
            </p:custDataLst>
          </p:nvPr>
        </p:nvSpPr>
        <p:spPr>
          <a:xfrm>
            <a:off x="0" y="1"/>
            <a:ext cx="376296"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5E84A14C-54A4-4544-BB85-1B78D5EF5D7F}"/>
              </a:ext>
            </a:extLst>
          </p:cNvPr>
          <p:cNvSpPr>
            <a:spLocks noGrp="1"/>
          </p:cNvSpPr>
          <p:nvPr>
            <p:ph type="title" hasCustomPrompt="1"/>
          </p:nvPr>
        </p:nvSpPr>
        <p:spPr>
          <a:xfrm>
            <a:off x="1272915" y="437446"/>
            <a:ext cx="13710178" cy="701731"/>
          </a:xfrm>
        </p:spPr>
        <p:txBody>
          <a:bodyPr>
            <a:spAutoFit/>
          </a:bodyPr>
          <a:lstStyle>
            <a:lvl1pPr>
              <a:defRPr sz="4400">
                <a:solidFill>
                  <a:schemeClr val="bg2"/>
                </a:solidFill>
              </a:defRPr>
            </a:lvl1pPr>
          </a:lstStyle>
          <a:p>
            <a:r>
              <a:rPr lang="en-US"/>
              <a:t>SOMMAIRE</a:t>
            </a:r>
            <a:endParaRPr lang="fr-FR"/>
          </a:p>
        </p:txBody>
      </p:sp>
    </p:spTree>
    <p:extLst>
      <p:ext uri="{BB962C8B-B14F-4D97-AF65-F5344CB8AC3E}">
        <p14:creationId xmlns:p14="http://schemas.microsoft.com/office/powerpoint/2010/main" val="142828629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extLst>
              <p:ext uri="{D42A27DB-BD31-4B8C-83A1-F6EECF244321}">
                <p14:modId xmlns:p14="http://schemas.microsoft.com/office/powerpoint/2010/main" val="30962154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2"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7" name="Graphique 6">
            <a:extLst>
              <a:ext uri="{FF2B5EF4-FFF2-40B4-BE49-F238E27FC236}">
                <a16:creationId xmlns:a16="http://schemas.microsoft.com/office/drawing/2014/main" id="{893309CE-B9DE-4094-84B1-5F65EA862B3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281151" y="7428541"/>
            <a:ext cx="1543050" cy="1284362"/>
          </a:xfrm>
          <a:prstGeom prst="rect">
            <a:avLst/>
          </a:prstGeom>
        </p:spPr>
      </p:pic>
    </p:spTree>
    <p:extLst>
      <p:ext uri="{BB962C8B-B14F-4D97-AF65-F5344CB8AC3E}">
        <p14:creationId xmlns:p14="http://schemas.microsoft.com/office/powerpoint/2010/main" val="486082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Fin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9B0D99-6542-4B42-8D54-D857B0C28A8C}"/>
              </a:ext>
            </a:extLst>
          </p:cNvPr>
          <p:cNvGraphicFramePr>
            <a:graphicFrameLocks noChangeAspect="1"/>
          </p:cNvGraphicFramePr>
          <p:nvPr userDrawn="1">
            <p:custDataLst>
              <p:tags r:id="rId1"/>
            </p:custDataLst>
            <p:extLst>
              <p:ext uri="{D42A27DB-BD31-4B8C-83A1-F6EECF244321}">
                <p14:modId xmlns:p14="http://schemas.microsoft.com/office/powerpoint/2010/main" val="2905829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B19B0D99-6542-4B42-8D54-D857B0C28A8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4" name="Picture 93">
            <a:extLst>
              <a:ext uri="{FF2B5EF4-FFF2-40B4-BE49-F238E27FC236}">
                <a16:creationId xmlns:a16="http://schemas.microsoft.com/office/drawing/2014/main" id="{F8459FD7-51D8-474F-A96B-8EA9C14071A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807" y="1016"/>
            <a:ext cx="16252388" cy="9141968"/>
          </a:xfrm>
          <a:prstGeom prst="rect">
            <a:avLst/>
          </a:prstGeom>
        </p:spPr>
      </p:pic>
    </p:spTree>
    <p:extLst>
      <p:ext uri="{BB962C8B-B14F-4D97-AF65-F5344CB8AC3E}">
        <p14:creationId xmlns:p14="http://schemas.microsoft.com/office/powerpoint/2010/main" val="2582460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hidden="1">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7" name="Picture 6" descr="A picture containing tree, fireworks&#10;&#10;Description automatically generated">
            <a:extLst>
              <a:ext uri="{FF2B5EF4-FFF2-40B4-BE49-F238E27FC236}">
                <a16:creationId xmlns:a16="http://schemas.microsoft.com/office/drawing/2014/main" id="{EC88E710-5053-4AA7-B5A9-730BFE67A7A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1" y="0"/>
            <a:ext cx="16254193"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848143" y="4259342"/>
            <a:ext cx="9026223" cy="2639508"/>
          </a:xfrm>
        </p:spPr>
        <p:txBody>
          <a:bodyPr anchor="ctr">
            <a:normAutofit/>
          </a:bodyPr>
          <a:lstStyle>
            <a:lvl1pPr algn="l">
              <a:defRPr sz="5600" b="1">
                <a:solidFill>
                  <a:schemeClr val="bg1"/>
                </a:solidFill>
                <a:latin typeface="+mn-lt"/>
              </a:defRPr>
            </a:lvl1pPr>
          </a:lstStyle>
          <a:p>
            <a:r>
              <a:rPr lang="fr-FR"/>
              <a:t>LOREM IPSUM DOLOR </a:t>
            </a:r>
            <a:br>
              <a:rPr lang="fr-FR"/>
            </a:br>
            <a:r>
              <a:rPr lang="fr-FR"/>
              <a:t>SIT AMET, CONSECTETUER </a:t>
            </a:r>
          </a:p>
        </p:txBody>
      </p:sp>
      <p:pic>
        <p:nvPicPr>
          <p:cNvPr id="11" name="Image 10" descr="Une image contenant noir, obscurité&#10;&#10;Description générée automatiquement">
            <a:extLst>
              <a:ext uri="{FF2B5EF4-FFF2-40B4-BE49-F238E27FC236}">
                <a16:creationId xmlns:a16="http://schemas.microsoft.com/office/drawing/2014/main" id="{ED7DED26-4596-46BE-93DE-966F37597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588" t="20466" r="3799" b="16355"/>
          <a:stretch/>
        </p:blipFill>
        <p:spPr>
          <a:xfrm>
            <a:off x="11396870" y="7513983"/>
            <a:ext cx="4306957" cy="940903"/>
          </a:xfrm>
          <a:prstGeom prst="rect">
            <a:avLst/>
          </a:prstGeom>
        </p:spPr>
      </p:pic>
    </p:spTree>
    <p:extLst>
      <p:ext uri="{BB962C8B-B14F-4D97-AF65-F5344CB8AC3E}">
        <p14:creationId xmlns:p14="http://schemas.microsoft.com/office/powerpoint/2010/main" val="1748993305"/>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
    <p:spTree>
      <p:nvGrpSpPr>
        <p:cNvPr id="1" name=""/>
        <p:cNvGrpSpPr/>
        <p:nvPr/>
      </p:nvGrpSpPr>
      <p:grpSpPr>
        <a:xfrm>
          <a:off x="0" y="0"/>
          <a:ext cx="0" cy="0"/>
          <a:chOff x="0" y="0"/>
          <a:chExt cx="0" cy="0"/>
        </a:xfrm>
      </p:grpSpPr>
      <p:graphicFrame>
        <p:nvGraphicFramePr>
          <p:cNvPr id="10" name="Object 9">
            <a:extLst>
              <a:ext uri="{FF2B5EF4-FFF2-40B4-BE49-F238E27FC236}">
                <a16:creationId xmlns:a16="http://schemas.microsoft.com/office/drawing/2014/main" id="{60BA8E37-D6FF-454A-B5C3-AB5E3DEFA9FB}"/>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10" name="Object 9">
                        <a:extLst>
                          <a:ext uri="{FF2B5EF4-FFF2-40B4-BE49-F238E27FC236}">
                            <a16:creationId xmlns:a16="http://schemas.microsoft.com/office/drawing/2014/main" id="{60BA8E37-D6FF-454A-B5C3-AB5E3DEFA9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1AA8158-8ED4-4736-8434-827C6D5CA883}"/>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5600" b="1" i="0" baseline="0">
              <a:latin typeface="Calibri" panose="020F0502020204030204" pitchFamily="34" charset="0"/>
              <a:ea typeface="+mj-ea"/>
              <a:cs typeface="+mj-cs"/>
              <a:sym typeface="Calibri" panose="020F0502020204030204" pitchFamily="34" charset="0"/>
            </a:endParaRPr>
          </a:p>
        </p:txBody>
      </p:sp>
      <p:pic>
        <p:nvPicPr>
          <p:cNvPr id="13" name="Picture 12" descr="A close up of a map&#10;&#10;Description automatically generated">
            <a:extLst>
              <a:ext uri="{FF2B5EF4-FFF2-40B4-BE49-F238E27FC236}">
                <a16:creationId xmlns:a16="http://schemas.microsoft.com/office/drawing/2014/main" id="{64A0383A-532A-46AC-BE34-BA94CAE8CD7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6" r="1"/>
          <a:stretch/>
        </p:blipFill>
        <p:spPr>
          <a:xfrm>
            <a:off x="1" y="0"/>
            <a:ext cx="16248480" cy="9144000"/>
          </a:xfrm>
          <a:prstGeom prst="rect">
            <a:avLst/>
          </a:prstGeom>
        </p:spPr>
      </p:pic>
      <p:sp>
        <p:nvSpPr>
          <p:cNvPr id="2" name="Title 1">
            <a:extLst>
              <a:ext uri="{FF2B5EF4-FFF2-40B4-BE49-F238E27FC236}">
                <a16:creationId xmlns:a16="http://schemas.microsoft.com/office/drawing/2014/main" id="{375B3F13-341B-49F9-B7B0-D07F95A50023}"/>
              </a:ext>
            </a:extLst>
          </p:cNvPr>
          <p:cNvSpPr>
            <a:spLocks noGrp="1"/>
          </p:cNvSpPr>
          <p:nvPr>
            <p:ph type="ctrTitle" hasCustomPrompt="1"/>
          </p:nvPr>
        </p:nvSpPr>
        <p:spPr>
          <a:xfrm>
            <a:off x="1778270" y="3648805"/>
            <a:ext cx="4206092" cy="2092779"/>
          </a:xfrm>
        </p:spPr>
        <p:txBody>
          <a:bodyPr lIns="0" tIns="0" rIns="0" bIns="0" anchor="ctr">
            <a:normAutofit/>
          </a:bodyPr>
          <a:lstStyle>
            <a:lvl1pPr algn="l">
              <a:defRPr sz="5600" b="1">
                <a:solidFill>
                  <a:srgbClr val="000000"/>
                </a:solidFill>
                <a:latin typeface="+mn-lt"/>
              </a:defRPr>
            </a:lvl1pPr>
          </a:lstStyle>
          <a:p>
            <a:r>
              <a:rPr lang="fr-FR"/>
              <a:t>TITRE DU </a:t>
            </a:r>
            <a:br>
              <a:rPr lang="fr-FR"/>
            </a:br>
            <a:r>
              <a:rPr lang="fr-FR"/>
              <a:t>CHAPITRE</a:t>
            </a:r>
          </a:p>
        </p:txBody>
      </p:sp>
      <p:pic>
        <p:nvPicPr>
          <p:cNvPr id="4" name="Image 3" descr="Une image contenant Police, Graphique, logo, symbole&#10;&#10;Description générée automatiquement">
            <a:extLst>
              <a:ext uri="{FF2B5EF4-FFF2-40B4-BE49-F238E27FC236}">
                <a16:creationId xmlns:a16="http://schemas.microsoft.com/office/drawing/2014/main" id="{BC67B86F-92C3-DEDE-3402-9FFB156BC97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900453" y="7580668"/>
            <a:ext cx="4158625" cy="1331773"/>
          </a:xfrm>
          <a:prstGeom prst="rect">
            <a:avLst/>
          </a:prstGeom>
        </p:spPr>
      </p:pic>
    </p:spTree>
    <p:extLst>
      <p:ext uri="{BB962C8B-B14F-4D97-AF65-F5344CB8AC3E}">
        <p14:creationId xmlns:p14="http://schemas.microsoft.com/office/powerpoint/2010/main" val="3726528666"/>
      </p:ext>
    </p:extLst>
  </p:cSld>
  <p:clrMapOvr>
    <a:masterClrMapping/>
  </p:clrMapOvr>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3.svg"/><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emf"/><Relationship Id="rId5" Type="http://schemas.openxmlformats.org/officeDocument/2006/relationships/slideLayout" Target="../slideLayouts/slideLayout12.xml"/><Relationship Id="rId10" Type="http://schemas.openxmlformats.org/officeDocument/2006/relationships/oleObject" Target="../embeddings/oleObject1.bin"/><Relationship Id="rId4" Type="http://schemas.openxmlformats.org/officeDocument/2006/relationships/slideLayout" Target="../slideLayouts/slideLayout11.xml"/><Relationship Id="rId9" Type="http://schemas.openxmlformats.org/officeDocument/2006/relationships/tags" Target="../tags/tag17.xml"/><Relationship Id="rId1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27.xml"/><Relationship Id="rId5" Type="http://schemas.openxmlformats.org/officeDocument/2006/relationships/slideLayout" Target="../slideLayouts/slideLayout18.xml"/><Relationship Id="rId15" Type="http://schemas.openxmlformats.org/officeDocument/2006/relationships/image" Target="../media/image3.svg"/><Relationship Id="rId10" Type="http://schemas.openxmlformats.org/officeDocument/2006/relationships/tags" Target="../tags/tag26.xml"/><Relationship Id="rId4" Type="http://schemas.openxmlformats.org/officeDocument/2006/relationships/slideLayout" Target="../slideLayouts/slideLayout17.xml"/><Relationship Id="rId9" Type="http://schemas.openxmlformats.org/officeDocument/2006/relationships/theme" Target="../theme/theme3.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oleObject" Target="../embeddings/oleObject1.bin"/><Relationship Id="rId2" Type="http://schemas.openxmlformats.org/officeDocument/2006/relationships/slideLayout" Target="../slideLayouts/slideLayout23.xml"/><Relationship Id="rId16" Type="http://schemas.openxmlformats.org/officeDocument/2006/relationships/image" Target="../media/image9.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39.xml"/><Relationship Id="rId5" Type="http://schemas.openxmlformats.org/officeDocument/2006/relationships/slideLayout" Target="../slideLayouts/slideLayout26.xml"/><Relationship Id="rId15" Type="http://schemas.openxmlformats.org/officeDocument/2006/relationships/image" Target="../media/image3.svg"/><Relationship Id="rId10" Type="http://schemas.openxmlformats.org/officeDocument/2006/relationships/tags" Target="../tags/tag38.xml"/><Relationship Id="rId4" Type="http://schemas.openxmlformats.org/officeDocument/2006/relationships/slideLayout" Target="../slideLayouts/slideLayout25.xml"/><Relationship Id="rId9" Type="http://schemas.openxmlformats.org/officeDocument/2006/relationships/theme" Target="../theme/theme4.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image" Target="../media/image9.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51.xml"/><Relationship Id="rId5" Type="http://schemas.openxmlformats.org/officeDocument/2006/relationships/slideLayout" Target="../slideLayouts/slideLayout34.xml"/><Relationship Id="rId15" Type="http://schemas.openxmlformats.org/officeDocument/2006/relationships/image" Target="../media/image3.svg"/><Relationship Id="rId10" Type="http://schemas.openxmlformats.org/officeDocument/2006/relationships/tags" Target="../tags/tag50.xml"/><Relationship Id="rId4" Type="http://schemas.openxmlformats.org/officeDocument/2006/relationships/slideLayout" Target="../slideLayouts/slideLayout33.xml"/><Relationship Id="rId9" Type="http://schemas.openxmlformats.org/officeDocument/2006/relationships/theme" Target="../theme/theme5.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emf"/><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oleObject" Target="../embeddings/oleObject1.bin"/><Relationship Id="rId2" Type="http://schemas.openxmlformats.org/officeDocument/2006/relationships/slideLayout" Target="../slideLayouts/slideLayout39.xml"/><Relationship Id="rId16" Type="http://schemas.openxmlformats.org/officeDocument/2006/relationships/image" Target="../media/image9.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ags" Target="../tags/tag63.xml"/><Relationship Id="rId5" Type="http://schemas.openxmlformats.org/officeDocument/2006/relationships/slideLayout" Target="../slideLayouts/slideLayout42.xml"/><Relationship Id="rId15" Type="http://schemas.openxmlformats.org/officeDocument/2006/relationships/image" Target="../media/image3.svg"/><Relationship Id="rId10" Type="http://schemas.openxmlformats.org/officeDocument/2006/relationships/tags" Target="../tags/tag62.xml"/><Relationship Id="rId4" Type="http://schemas.openxmlformats.org/officeDocument/2006/relationships/slideLayout" Target="../slideLayouts/slideLayout41.xml"/><Relationship Id="rId9" Type="http://schemas.openxmlformats.org/officeDocument/2006/relationships/theme" Target="../theme/theme6.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9"/>
            </p:custDataLst>
            <p:extLst>
              <p:ext uri="{D42A27DB-BD31-4B8C-83A1-F6EECF244321}">
                <p14:modId xmlns:p14="http://schemas.microsoft.com/office/powerpoint/2010/main" val="120800333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2"/>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20" y="3367012"/>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6"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9"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50"/>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316890" y="-75096"/>
            <a:ext cx="1470023" cy="1223578"/>
          </a:xfrm>
          <a:prstGeom prst="rect">
            <a:avLst/>
          </a:prstGeom>
        </p:spPr>
      </p:pic>
      <p:pic>
        <p:nvPicPr>
          <p:cNvPr id="9" name="Image 8">
            <a:extLst>
              <a:ext uri="{FF2B5EF4-FFF2-40B4-BE49-F238E27FC236}">
                <a16:creationId xmlns:a16="http://schemas.microsoft.com/office/drawing/2014/main" id="{696C01BF-ABA8-2D14-A4C8-21AB55A23405}"/>
              </a:ext>
            </a:extLst>
          </p:cNvPr>
          <p:cNvPicPr>
            <a:picLocks noChangeAspect="1"/>
          </p:cNvPicPr>
          <p:nvPr userDrawn="1"/>
        </p:nvPicPr>
        <p:blipFill>
          <a:blip r:embed="rId15"/>
          <a:stretch>
            <a:fillRect/>
          </a:stretch>
        </p:blipFill>
        <p:spPr>
          <a:xfrm>
            <a:off x="12980297" y="124812"/>
            <a:ext cx="2790552" cy="926966"/>
          </a:xfrm>
          <a:prstGeom prst="rect">
            <a:avLst/>
          </a:prstGeom>
        </p:spPr>
      </p:pic>
    </p:spTree>
    <p:extLst>
      <p:ext uri="{BB962C8B-B14F-4D97-AF65-F5344CB8AC3E}">
        <p14:creationId xmlns:p14="http://schemas.microsoft.com/office/powerpoint/2010/main" val="1293927601"/>
      </p:ext>
    </p:extLst>
  </p:cSld>
  <p:clrMap bg1="lt1" tx1="dk1" bg2="lt2" tx2="dk2" accent1="accent1" accent2="accent2" accent3="accent3" accent4="accent4" accent5="accent5" accent6="accent6" hlink="hlink" folHlink="folHlink"/>
  <p:sldLayoutIdLst>
    <p:sldLayoutId id="2147483690" r:id="rId1"/>
    <p:sldLayoutId id="2147483674" r:id="rId2"/>
    <p:sldLayoutId id="2147483691" r:id="rId3"/>
    <p:sldLayoutId id="2147483692" r:id="rId4"/>
    <p:sldLayoutId id="2147483693" r:id="rId5"/>
    <p:sldLayoutId id="2147483694" r:id="rId6"/>
    <p:sldLayoutId id="2147483682" r:id="rId7"/>
  </p:sldLayoutIdLst>
  <p:hf hdr="0" ftr="0" dt="0"/>
  <p:txStyles>
    <p:titleStyle>
      <a:lvl1pPr algn="l" defTabSz="1219215" rtl="0" eaLnBrk="1" latinLnBrk="0" hangingPunct="1">
        <a:lnSpc>
          <a:spcPct val="90000"/>
        </a:lnSpc>
        <a:spcBef>
          <a:spcPct val="0"/>
        </a:spcBef>
        <a:buNone/>
        <a:defRPr sz="4800" b="1" kern="1200">
          <a:solidFill>
            <a:sysClr val="windowText" lastClr="000000"/>
          </a:solidFill>
          <a:latin typeface="+mn-lt"/>
          <a:ea typeface="+mj-ea"/>
          <a:cs typeface="+mj-cs"/>
        </a:defRPr>
      </a:lvl1pPr>
    </p:titleStyle>
    <p:bodyStyle>
      <a:lvl1pPr marL="241303" indent="-241303" algn="l" defTabSz="1219215" rtl="0" eaLnBrk="1" latinLnBrk="0" hangingPunct="1">
        <a:lnSpc>
          <a:spcPct val="90000"/>
        </a:lnSpc>
        <a:spcBef>
          <a:spcPts val="1333"/>
        </a:spcBef>
        <a:buClr>
          <a:schemeClr val="tx2"/>
        </a:buClr>
        <a:buSzPct val="80000"/>
        <a:buFont typeface="Verdana" panose="020B0604030504040204" pitchFamily="34" charset="0"/>
        <a:buChar char="●"/>
        <a:defRPr sz="2933" b="1" kern="1200">
          <a:solidFill>
            <a:sysClr val="windowText" lastClr="000000"/>
          </a:solidFill>
          <a:latin typeface="+mn-lt"/>
          <a:ea typeface="+mn-ea"/>
          <a:cs typeface="+mn-cs"/>
        </a:defRPr>
      </a:lvl1pPr>
      <a:lvl2pPr marL="482606" indent="-241303" algn="l" defTabSz="1219215" rtl="0" eaLnBrk="1" latinLnBrk="0" hangingPunct="1">
        <a:lnSpc>
          <a:spcPct val="90000"/>
        </a:lnSpc>
        <a:spcBef>
          <a:spcPts val="1333"/>
        </a:spcBef>
        <a:buClr>
          <a:srgbClr val="FEED02"/>
        </a:buClr>
        <a:buSzPct val="90000"/>
        <a:buFont typeface="Wingdings" panose="05000000000000000000" pitchFamily="2" charset="2"/>
        <a:buChar char="§"/>
        <a:defRPr sz="2933" kern="1200">
          <a:solidFill>
            <a:schemeClr val="tx1"/>
          </a:solidFill>
          <a:latin typeface="+mn-lt"/>
          <a:ea typeface="+mn-ea"/>
          <a:cs typeface="+mn-cs"/>
        </a:defRPr>
      </a:lvl2pPr>
      <a:lvl3pPr marL="721793" indent="-243421" algn="l" defTabSz="1219215" rtl="0" eaLnBrk="1" latinLnBrk="0" hangingPunct="1">
        <a:lnSpc>
          <a:spcPct val="90000"/>
        </a:lnSpc>
        <a:spcBef>
          <a:spcPts val="1333"/>
        </a:spcBef>
        <a:buClr>
          <a:srgbClr val="FEED02"/>
        </a:buClr>
        <a:buSzPct val="80000"/>
        <a:buFont typeface="Verdana" panose="020B0604030504040204" pitchFamily="34" charset="0"/>
        <a:buChar char="●"/>
        <a:defRPr sz="2400" kern="1200">
          <a:solidFill>
            <a:schemeClr val="tx1"/>
          </a:solidFill>
          <a:latin typeface="+mn-lt"/>
          <a:ea typeface="+mn-ea"/>
          <a:cs typeface="+mn-cs"/>
        </a:defRPr>
      </a:lvl3pPr>
      <a:lvl4pPr marL="956745" indent="-239187" algn="l" defTabSz="1219215" rtl="0" eaLnBrk="1" latinLnBrk="0" hangingPunct="1">
        <a:lnSpc>
          <a:spcPct val="90000"/>
        </a:lnSpc>
        <a:spcBef>
          <a:spcPts val="1333"/>
        </a:spcBef>
        <a:buClr>
          <a:srgbClr val="FEED02"/>
        </a:buClr>
        <a:buSzPct val="90000"/>
        <a:buFont typeface="Wingdings" panose="05000000000000000000" pitchFamily="2" charset="2"/>
        <a:buChar char="§"/>
        <a:defRPr sz="2133" kern="1200">
          <a:solidFill>
            <a:schemeClr val="tx1"/>
          </a:solidFill>
          <a:latin typeface="+mn-lt"/>
          <a:ea typeface="+mn-ea"/>
          <a:cs typeface="+mn-cs"/>
        </a:defRPr>
      </a:lvl4pPr>
      <a:lvl5pPr marL="1195932" indent="-239187" algn="l" defTabSz="1219215" rtl="0" eaLnBrk="1" latinLnBrk="0" hangingPunct="1">
        <a:lnSpc>
          <a:spcPct val="90000"/>
        </a:lnSpc>
        <a:spcBef>
          <a:spcPts val="1333"/>
        </a:spcBef>
        <a:buClr>
          <a:srgbClr val="FEED02"/>
        </a:buClr>
        <a:buSzPct val="80000"/>
        <a:buFont typeface="Verdana" panose="020B0604030504040204" pitchFamily="34" charset="0"/>
        <a:buChar char="●"/>
        <a:defRPr sz="2133" kern="1200">
          <a:solidFill>
            <a:schemeClr val="tx1"/>
          </a:solidFill>
          <a:latin typeface="+mn-lt"/>
          <a:ea typeface="+mn-ea"/>
          <a:cs typeface="+mn-cs"/>
        </a:defRPr>
      </a:lvl5pPr>
      <a:lvl6pPr marL="3352842"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450"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2057"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665" indent="-304804" algn="l" defTabSz="121921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215" rtl="0" eaLnBrk="1" latinLnBrk="0" hangingPunct="1">
        <a:defRPr sz="2400" kern="1200">
          <a:solidFill>
            <a:schemeClr val="tx1"/>
          </a:solidFill>
          <a:latin typeface="+mn-lt"/>
          <a:ea typeface="+mn-ea"/>
          <a:cs typeface="+mn-cs"/>
        </a:defRPr>
      </a:lvl1pPr>
      <a:lvl2pPr marL="609608" algn="l" defTabSz="1219215" rtl="0" eaLnBrk="1" latinLnBrk="0" hangingPunct="1">
        <a:defRPr sz="2400" kern="1200">
          <a:solidFill>
            <a:schemeClr val="tx1"/>
          </a:solidFill>
          <a:latin typeface="+mn-lt"/>
          <a:ea typeface="+mn-ea"/>
          <a:cs typeface="+mn-cs"/>
        </a:defRPr>
      </a:lvl2pPr>
      <a:lvl3pPr marL="1219215" algn="l" defTabSz="1219215" rtl="0" eaLnBrk="1" latinLnBrk="0" hangingPunct="1">
        <a:defRPr sz="2400" kern="1200">
          <a:solidFill>
            <a:schemeClr val="tx1"/>
          </a:solidFill>
          <a:latin typeface="+mn-lt"/>
          <a:ea typeface="+mn-ea"/>
          <a:cs typeface="+mn-cs"/>
        </a:defRPr>
      </a:lvl3pPr>
      <a:lvl4pPr marL="1828823" algn="l" defTabSz="1219215" rtl="0" eaLnBrk="1" latinLnBrk="0" hangingPunct="1">
        <a:defRPr sz="2400" kern="1200">
          <a:solidFill>
            <a:schemeClr val="tx1"/>
          </a:solidFill>
          <a:latin typeface="+mn-lt"/>
          <a:ea typeface="+mn-ea"/>
          <a:cs typeface="+mn-cs"/>
        </a:defRPr>
      </a:lvl4pPr>
      <a:lvl5pPr marL="2438430" algn="l" defTabSz="1219215" rtl="0" eaLnBrk="1" latinLnBrk="0" hangingPunct="1">
        <a:defRPr sz="2400" kern="1200">
          <a:solidFill>
            <a:schemeClr val="tx1"/>
          </a:solidFill>
          <a:latin typeface="+mn-lt"/>
          <a:ea typeface="+mn-ea"/>
          <a:cs typeface="+mn-cs"/>
        </a:defRPr>
      </a:lvl5pPr>
      <a:lvl6pPr marL="3048038" algn="l" defTabSz="1219215" rtl="0" eaLnBrk="1" latinLnBrk="0" hangingPunct="1">
        <a:defRPr sz="2400" kern="1200">
          <a:solidFill>
            <a:schemeClr val="tx1"/>
          </a:solidFill>
          <a:latin typeface="+mn-lt"/>
          <a:ea typeface="+mn-ea"/>
          <a:cs typeface="+mn-cs"/>
        </a:defRPr>
      </a:lvl6pPr>
      <a:lvl7pPr marL="3657646" algn="l" defTabSz="1219215" rtl="0" eaLnBrk="1" latinLnBrk="0" hangingPunct="1">
        <a:defRPr sz="2400" kern="1200">
          <a:solidFill>
            <a:schemeClr val="tx1"/>
          </a:solidFill>
          <a:latin typeface="+mn-lt"/>
          <a:ea typeface="+mn-ea"/>
          <a:cs typeface="+mn-cs"/>
        </a:defRPr>
      </a:lvl7pPr>
      <a:lvl8pPr marL="4267253" algn="l" defTabSz="1219215" rtl="0" eaLnBrk="1" latinLnBrk="0" hangingPunct="1">
        <a:defRPr sz="2400" kern="1200">
          <a:solidFill>
            <a:schemeClr val="tx1"/>
          </a:solidFill>
          <a:latin typeface="+mn-lt"/>
          <a:ea typeface="+mn-ea"/>
          <a:cs typeface="+mn-cs"/>
        </a:defRPr>
      </a:lvl8pPr>
      <a:lvl9pPr marL="4876861" algn="l" defTabSz="121921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0" imgW="470" imgH="469" progId="TCLayout.ActiveDocument.1">
                  <p:embed/>
                </p:oleObj>
              </mc:Choice>
              <mc:Fallback>
                <p:oleObj name="think-cell Slide" r:id="rId10"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1"/>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9"/>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1577322100"/>
      </p:ext>
    </p:extLst>
  </p:cSld>
  <p:clrMap bg1="lt1" tx1="dk1" bg2="lt2" tx2="dk2" accent1="accent1" accent2="accent2" accent3="accent3" accent4="accent4" accent5="accent5" accent6="accent6" hlink="hlink" folHlink="folHlink"/>
  <p:sldLayoutIdLst>
    <p:sldLayoutId id="2147483684" r:id="rId1"/>
    <p:sldLayoutId id="2147483695" r:id="rId2"/>
    <p:sldLayoutId id="2147483686" r:id="rId3"/>
    <p:sldLayoutId id="2147483687" r:id="rId4"/>
    <p:sldLayoutId id="2147483688" r:id="rId5"/>
    <p:sldLayoutId id="2147483689" r:id="rId6"/>
  </p:sldLayoutIdLst>
  <mc:AlternateContent xmlns:mc="http://schemas.openxmlformats.org/markup-compatibility/2006" xmlns:p14="http://schemas.microsoft.com/office/powerpoint/2010/main">
    <mc:Choice Requires="p14">
      <p:transition spd="slow" p14:dur="2000" advTm="2000"/>
    </mc:Choice>
    <mc:Fallback xmlns="">
      <p:transition spd="slow" advTm="2000"/>
    </mc:Fallback>
  </mc:AlternateContent>
  <p:hf hdr="0" ftr="0" dt="0"/>
  <p:txStyles>
    <p:titleStyle>
      <a:lvl1pPr algn="l" defTabSz="1219170" rtl="0" eaLnBrk="1" latinLnBrk="0" hangingPunct="1">
        <a:lnSpc>
          <a:spcPct val="90000"/>
        </a:lnSpc>
        <a:spcBef>
          <a:spcPct val="0"/>
        </a:spcBef>
        <a:buNone/>
        <a:defRPr sz="4800" b="1" kern="1200">
          <a:solidFill>
            <a:sysClr val="windowText" lastClr="000000"/>
          </a:solidFill>
          <a:latin typeface="+mn-lt"/>
          <a:ea typeface="+mj-ea"/>
          <a:cs typeface="+mj-cs"/>
        </a:defRPr>
      </a:lvl1pPr>
    </p:titleStyle>
    <p:bodyStyle>
      <a:lvl1pPr marL="241294" indent="-241294" algn="l" defTabSz="1219170" rtl="0" eaLnBrk="1" latinLnBrk="0" hangingPunct="1">
        <a:lnSpc>
          <a:spcPct val="90000"/>
        </a:lnSpc>
        <a:spcBef>
          <a:spcPts val="1333"/>
        </a:spcBef>
        <a:buClr>
          <a:schemeClr val="tx2"/>
        </a:buClr>
        <a:buSzPct val="80000"/>
        <a:buFont typeface="Verdana" panose="020B0604030504040204" pitchFamily="34" charset="0"/>
        <a:buChar char="●"/>
        <a:defRPr sz="2933" b="1" kern="1200">
          <a:solidFill>
            <a:sysClr val="windowText" lastClr="000000"/>
          </a:solidFill>
          <a:latin typeface="+mn-lt"/>
          <a:ea typeface="+mn-ea"/>
          <a:cs typeface="+mn-cs"/>
        </a:defRPr>
      </a:lvl1pPr>
      <a:lvl2pPr marL="482588" indent="-241294" algn="l" defTabSz="1219170" rtl="0" eaLnBrk="1" latinLnBrk="0" hangingPunct="1">
        <a:lnSpc>
          <a:spcPct val="90000"/>
        </a:lnSpc>
        <a:spcBef>
          <a:spcPts val="1333"/>
        </a:spcBef>
        <a:buClr>
          <a:srgbClr val="FEED02"/>
        </a:buClr>
        <a:buSzPct val="90000"/>
        <a:buFont typeface="Wingdings" panose="05000000000000000000" pitchFamily="2" charset="2"/>
        <a:buChar char="§"/>
        <a:defRPr sz="2933" kern="1200">
          <a:solidFill>
            <a:schemeClr val="tx1"/>
          </a:solidFill>
          <a:latin typeface="+mn-lt"/>
          <a:ea typeface="+mn-ea"/>
          <a:cs typeface="+mn-cs"/>
        </a:defRPr>
      </a:lvl2pPr>
      <a:lvl3pPr marL="721766" indent="-243411" algn="l" defTabSz="1219170" rtl="0" eaLnBrk="1" latinLnBrk="0" hangingPunct="1">
        <a:lnSpc>
          <a:spcPct val="90000"/>
        </a:lnSpc>
        <a:spcBef>
          <a:spcPts val="1333"/>
        </a:spcBef>
        <a:buClr>
          <a:srgbClr val="FEED02"/>
        </a:buClr>
        <a:buSzPct val="80000"/>
        <a:buFont typeface="Verdana" panose="020B0604030504040204" pitchFamily="34" charset="0"/>
        <a:buChar char="●"/>
        <a:defRPr sz="2400" kern="1200">
          <a:solidFill>
            <a:schemeClr val="tx1"/>
          </a:solidFill>
          <a:latin typeface="+mn-lt"/>
          <a:ea typeface="+mn-ea"/>
          <a:cs typeface="+mn-cs"/>
        </a:defRPr>
      </a:lvl3pPr>
      <a:lvl4pPr marL="956709" indent="-239178" algn="l" defTabSz="1219170" rtl="0" eaLnBrk="1" latinLnBrk="0" hangingPunct="1">
        <a:lnSpc>
          <a:spcPct val="90000"/>
        </a:lnSpc>
        <a:spcBef>
          <a:spcPts val="1333"/>
        </a:spcBef>
        <a:buClr>
          <a:srgbClr val="FEED02"/>
        </a:buClr>
        <a:buSzPct val="90000"/>
        <a:buFont typeface="Wingdings" panose="05000000000000000000" pitchFamily="2" charset="2"/>
        <a:buChar char="§"/>
        <a:defRPr sz="2133" kern="1200">
          <a:solidFill>
            <a:schemeClr val="tx1"/>
          </a:solidFill>
          <a:latin typeface="+mn-lt"/>
          <a:ea typeface="+mn-ea"/>
          <a:cs typeface="+mn-cs"/>
        </a:defRPr>
      </a:lvl4pPr>
      <a:lvl5pPr marL="1195887" indent="-239178" algn="l" defTabSz="1219170" rtl="0" eaLnBrk="1" latinLnBrk="0" hangingPunct="1">
        <a:lnSpc>
          <a:spcPct val="90000"/>
        </a:lnSpc>
        <a:spcBef>
          <a:spcPts val="1333"/>
        </a:spcBef>
        <a:buClr>
          <a:srgbClr val="FEED02"/>
        </a:buClr>
        <a:buSzPct val="80000"/>
        <a:buFont typeface="Verdana" panose="020B0604030504040204" pitchFamily="34" charset="0"/>
        <a:buChar char="●"/>
        <a:defRPr sz="2133"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1"/>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76" r:id="rId3"/>
    <p:sldLayoutId id="2147483678" r:id="rId4"/>
    <p:sldLayoutId id="2147483679" r:id="rId5"/>
    <p:sldLayoutId id="2147483680" r:id="rId6"/>
    <p:sldLayoutId id="2147483681" r:id="rId7"/>
    <p:sldLayoutId id="2147483685" r:id="rId8"/>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1"/>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1"/>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DCF3F7-DDC0-4DF6-836D-B52DBACE9552}"/>
              </a:ext>
            </a:extLst>
          </p:cNvPr>
          <p:cNvGraphicFramePr>
            <a:graphicFrameLocks noChangeAspect="1"/>
          </p:cNvGraphicFramePr>
          <p:nvPr userDrawn="1">
            <p:custDataLst>
              <p:tags r:id="rId10"/>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8" name="Object 7" hidden="1">
                        <a:extLst>
                          <a:ext uri="{FF2B5EF4-FFF2-40B4-BE49-F238E27FC236}">
                            <a16:creationId xmlns:a16="http://schemas.microsoft.com/office/drawing/2014/main" id="{C1DCF3F7-DDC0-4DF6-836D-B52DBACE9552}"/>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EC7054-3BC7-47AC-961F-1B443B00714B}"/>
              </a:ext>
            </a:extLst>
          </p:cNvPr>
          <p:cNvSpPr/>
          <p:nvPr userDrawn="1">
            <p:custDataLst>
              <p:tags r:id="rId11"/>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800" b="1" i="0" baseline="0">
              <a:latin typeface="Calibri" panose="020F0502020204030204" pitchFamily="34" charset="0"/>
              <a:ea typeface="+mj-ea"/>
              <a:cs typeface="+mj-cs"/>
              <a:sym typeface="Calibri" panose="020F0502020204030204" pitchFamily="34" charset="0"/>
            </a:endParaRPr>
          </a:p>
        </p:txBody>
      </p:sp>
      <p:grpSp>
        <p:nvGrpSpPr>
          <p:cNvPr id="15" name="Graphic 1">
            <a:extLst>
              <a:ext uri="{FF2B5EF4-FFF2-40B4-BE49-F238E27FC236}">
                <a16:creationId xmlns:a16="http://schemas.microsoft.com/office/drawing/2014/main" id="{B836D6A0-7030-454F-B143-83FE25D14800}"/>
              </a:ext>
            </a:extLst>
          </p:cNvPr>
          <p:cNvGrpSpPr/>
          <p:nvPr/>
        </p:nvGrpSpPr>
        <p:grpSpPr>
          <a:xfrm>
            <a:off x="388319" y="3367011"/>
            <a:ext cx="2736532" cy="5606028"/>
            <a:chOff x="512707" y="2481873"/>
            <a:chExt cx="2023787" cy="4145907"/>
          </a:xfrm>
          <a:solidFill>
            <a:schemeClr val="tx1"/>
          </a:solidFill>
        </p:grpSpPr>
        <p:grpSp>
          <p:nvGrpSpPr>
            <p:cNvPr id="780" name="Graphic 1">
              <a:extLst>
                <a:ext uri="{FF2B5EF4-FFF2-40B4-BE49-F238E27FC236}">
                  <a16:creationId xmlns:a16="http://schemas.microsoft.com/office/drawing/2014/main" id="{E4160169-A0F2-409F-99E8-F3F8224BFB6A}"/>
                </a:ext>
              </a:extLst>
            </p:cNvPr>
            <p:cNvGrpSpPr/>
            <p:nvPr/>
          </p:nvGrpSpPr>
          <p:grpSpPr>
            <a:xfrm>
              <a:off x="512707" y="4014989"/>
              <a:ext cx="2023787" cy="2612791"/>
              <a:chOff x="512707" y="4014989"/>
              <a:chExt cx="2023787" cy="2612791"/>
            </a:xfrm>
            <a:grpFill/>
          </p:grpSpPr>
          <p:sp>
            <p:nvSpPr>
              <p:cNvPr id="787" name="Freeform: Shape 786">
                <a:extLst>
                  <a:ext uri="{FF2B5EF4-FFF2-40B4-BE49-F238E27FC236}">
                    <a16:creationId xmlns:a16="http://schemas.microsoft.com/office/drawing/2014/main" id="{55D392E4-99D5-4091-83EA-7371930F5B53}"/>
                  </a:ext>
                </a:extLst>
              </p:cNvPr>
              <p:cNvSpPr/>
              <p:nvPr/>
            </p:nvSpPr>
            <p:spPr>
              <a:xfrm>
                <a:off x="1186372" y="4289083"/>
                <a:ext cx="68707" cy="68707"/>
              </a:xfrm>
              <a:custGeom>
                <a:avLst/>
                <a:gdLst>
                  <a:gd name="connsiteX0" fmla="*/ 71928 w 68706"/>
                  <a:gd name="connsiteY0" fmla="*/ 40938 h 68706"/>
                  <a:gd name="connsiteX1" fmla="*/ 598 w 68706"/>
                  <a:gd name="connsiteY1" fmla="*/ 8833 h 68706"/>
                  <a:gd name="connsiteX2" fmla="*/ 43071 w 68706"/>
                  <a:gd name="connsiteY2" fmla="*/ 74667 h 68706"/>
                </a:gdLst>
                <a:ahLst/>
                <a:cxnLst>
                  <a:cxn ang="0">
                    <a:pos x="connsiteX0" y="connsiteY0"/>
                  </a:cxn>
                  <a:cxn ang="0">
                    <a:pos x="connsiteX1" y="connsiteY1"/>
                  </a:cxn>
                  <a:cxn ang="0">
                    <a:pos x="connsiteX2" y="connsiteY2"/>
                  </a:cxn>
                </a:cxnLst>
                <a:rect l="l" t="t" r="r" b="b"/>
                <a:pathLst>
                  <a:path w="68706" h="68706">
                    <a:moveTo>
                      <a:pt x="71928" y="40938"/>
                    </a:moveTo>
                    <a:cubicBezTo>
                      <a:pt x="45507" y="12894"/>
                      <a:pt x="39136" y="-14589"/>
                      <a:pt x="598" y="8833"/>
                    </a:cubicBezTo>
                    <a:cubicBezTo>
                      <a:pt x="-3587" y="44186"/>
                      <a:pt x="14589" y="57053"/>
                      <a:pt x="43071" y="74667"/>
                    </a:cubicBezTo>
                  </a:path>
                </a:pathLst>
              </a:custGeom>
              <a:grpFill/>
              <a:ln w="6246" cap="flat">
                <a:noFill/>
                <a:prstDash val="solid"/>
                <a:miter/>
              </a:ln>
            </p:spPr>
            <p:txBody>
              <a:bodyPr rtlCol="0" anchor="ctr"/>
              <a:lstStyle/>
              <a:p>
                <a:endParaRPr lang="fr-FR" sz="2400"/>
              </a:p>
            </p:txBody>
          </p:sp>
          <p:sp>
            <p:nvSpPr>
              <p:cNvPr id="788" name="Freeform: Shape 787">
                <a:extLst>
                  <a:ext uri="{FF2B5EF4-FFF2-40B4-BE49-F238E27FC236}">
                    <a16:creationId xmlns:a16="http://schemas.microsoft.com/office/drawing/2014/main" id="{F543CFAA-E6FF-4F3E-8AF2-B1A8C8BE4B5D}"/>
                  </a:ext>
                </a:extLst>
              </p:cNvPr>
              <p:cNvSpPr/>
              <p:nvPr/>
            </p:nvSpPr>
            <p:spPr>
              <a:xfrm>
                <a:off x="791361" y="4014989"/>
                <a:ext cx="68707" cy="68707"/>
              </a:xfrm>
              <a:custGeom>
                <a:avLst/>
                <a:gdLst>
                  <a:gd name="connsiteX0" fmla="*/ 19659 w 68706"/>
                  <a:gd name="connsiteY0" fmla="*/ 5978 h 68706"/>
                  <a:gd name="connsiteX1" fmla="*/ 54886 w 68706"/>
                  <a:gd name="connsiteY1" fmla="*/ 67501 h 68706"/>
                  <a:gd name="connsiteX2" fmla="*/ 19659 w 68706"/>
                  <a:gd name="connsiteY2" fmla="*/ 5978 h 68706"/>
                </a:gdLst>
                <a:ahLst/>
                <a:cxnLst>
                  <a:cxn ang="0">
                    <a:pos x="connsiteX0" y="connsiteY0"/>
                  </a:cxn>
                  <a:cxn ang="0">
                    <a:pos x="connsiteX1" y="connsiteY1"/>
                  </a:cxn>
                  <a:cxn ang="0">
                    <a:pos x="connsiteX2" y="connsiteY2"/>
                  </a:cxn>
                </a:cxnLst>
                <a:rect l="l" t="t" r="r" b="b"/>
                <a:pathLst>
                  <a:path w="68706" h="68706">
                    <a:moveTo>
                      <a:pt x="19659" y="5978"/>
                    </a:moveTo>
                    <a:cubicBezTo>
                      <a:pt x="-24314" y="34085"/>
                      <a:pt x="13475" y="88488"/>
                      <a:pt x="54886" y="67501"/>
                    </a:cubicBezTo>
                    <a:cubicBezTo>
                      <a:pt x="95111" y="47139"/>
                      <a:pt x="60758" y="-20256"/>
                      <a:pt x="19659" y="5978"/>
                    </a:cubicBezTo>
                  </a:path>
                </a:pathLst>
              </a:custGeom>
              <a:grpFill/>
              <a:ln w="6246" cap="flat">
                <a:noFill/>
                <a:prstDash val="solid"/>
                <a:miter/>
              </a:ln>
            </p:spPr>
            <p:txBody>
              <a:bodyPr rtlCol="0" anchor="ctr"/>
              <a:lstStyle/>
              <a:p>
                <a:endParaRPr lang="fr-FR" sz="2400"/>
              </a:p>
            </p:txBody>
          </p:sp>
          <p:sp>
            <p:nvSpPr>
              <p:cNvPr id="789" name="Freeform: Shape 788">
                <a:extLst>
                  <a:ext uri="{FF2B5EF4-FFF2-40B4-BE49-F238E27FC236}">
                    <a16:creationId xmlns:a16="http://schemas.microsoft.com/office/drawing/2014/main" id="{478B8A15-D33E-4B9A-9F56-1A406F294D14}"/>
                  </a:ext>
                </a:extLst>
              </p:cNvPr>
              <p:cNvSpPr/>
              <p:nvPr/>
            </p:nvSpPr>
            <p:spPr>
              <a:xfrm>
                <a:off x="2461541" y="6559073"/>
                <a:ext cx="74953" cy="68707"/>
              </a:xfrm>
              <a:custGeom>
                <a:avLst/>
                <a:gdLst>
                  <a:gd name="connsiteX0" fmla="*/ 76140 w 74952"/>
                  <a:gd name="connsiteY0" fmla="*/ 1231 h 68706"/>
                  <a:gd name="connsiteX1" fmla="*/ 8433 w 74952"/>
                  <a:gd name="connsiteY1" fmla="*/ 69063 h 68706"/>
                  <a:gd name="connsiteX2" fmla="*/ 76140 w 74952"/>
                  <a:gd name="connsiteY2" fmla="*/ 1231 h 68706"/>
                </a:gdLst>
                <a:ahLst/>
                <a:cxnLst>
                  <a:cxn ang="0">
                    <a:pos x="connsiteX0" y="connsiteY0"/>
                  </a:cxn>
                  <a:cxn ang="0">
                    <a:pos x="connsiteX1" y="connsiteY1"/>
                  </a:cxn>
                  <a:cxn ang="0">
                    <a:pos x="connsiteX2" y="connsiteY2"/>
                  </a:cxn>
                </a:cxnLst>
                <a:rect l="l" t="t" r="r" b="b"/>
                <a:pathLst>
                  <a:path w="74952" h="68706">
                    <a:moveTo>
                      <a:pt x="76140" y="1231"/>
                    </a:moveTo>
                    <a:cubicBezTo>
                      <a:pt x="43973" y="-8950"/>
                      <a:pt x="-23672" y="46702"/>
                      <a:pt x="8433" y="69063"/>
                    </a:cubicBezTo>
                    <a:cubicBezTo>
                      <a:pt x="22549" y="78869"/>
                      <a:pt x="100125" y="43142"/>
                      <a:pt x="76140" y="1231"/>
                    </a:cubicBezTo>
                  </a:path>
                </a:pathLst>
              </a:custGeom>
              <a:grpFill/>
              <a:ln w="6246" cap="flat">
                <a:noFill/>
                <a:prstDash val="solid"/>
                <a:miter/>
              </a:ln>
            </p:spPr>
            <p:txBody>
              <a:bodyPr rtlCol="0" anchor="ctr"/>
              <a:lstStyle/>
              <a:p>
                <a:endParaRPr lang="fr-FR" sz="2400"/>
              </a:p>
            </p:txBody>
          </p:sp>
          <p:sp>
            <p:nvSpPr>
              <p:cNvPr id="791" name="Freeform: Shape 790">
                <a:extLst>
                  <a:ext uri="{FF2B5EF4-FFF2-40B4-BE49-F238E27FC236}">
                    <a16:creationId xmlns:a16="http://schemas.microsoft.com/office/drawing/2014/main" id="{7EC15B96-9CA4-428C-B880-49690984403A}"/>
                  </a:ext>
                </a:extLst>
              </p:cNvPr>
              <p:cNvSpPr/>
              <p:nvPr/>
            </p:nvSpPr>
            <p:spPr>
              <a:xfrm>
                <a:off x="787808" y="4588047"/>
                <a:ext cx="49969" cy="62461"/>
              </a:xfrm>
              <a:custGeom>
                <a:avLst/>
                <a:gdLst>
                  <a:gd name="connsiteX0" fmla="*/ 42699 w 49968"/>
                  <a:gd name="connsiteY0" fmla="*/ 65896 h 62460"/>
                  <a:gd name="connsiteX1" fmla="*/ 46259 w 49968"/>
                  <a:gd name="connsiteY1" fmla="*/ 0 h 62460"/>
                  <a:gd name="connsiteX2" fmla="*/ 42699 w 49968"/>
                  <a:gd name="connsiteY2" fmla="*/ 65896 h 62460"/>
                </a:gdLst>
                <a:ahLst/>
                <a:cxnLst>
                  <a:cxn ang="0">
                    <a:pos x="connsiteX0" y="connsiteY0"/>
                  </a:cxn>
                  <a:cxn ang="0">
                    <a:pos x="connsiteX1" y="connsiteY1"/>
                  </a:cxn>
                  <a:cxn ang="0">
                    <a:pos x="connsiteX2" y="connsiteY2"/>
                  </a:cxn>
                </a:cxnLst>
                <a:rect l="l" t="t" r="r" b="b"/>
                <a:pathLst>
                  <a:path w="49968" h="62460">
                    <a:moveTo>
                      <a:pt x="42699" y="65896"/>
                    </a:moveTo>
                    <a:cubicBezTo>
                      <a:pt x="51568" y="48282"/>
                      <a:pt x="54754" y="18114"/>
                      <a:pt x="46259" y="0"/>
                    </a:cubicBezTo>
                    <a:cubicBezTo>
                      <a:pt x="413" y="63"/>
                      <a:pt x="-27944" y="64959"/>
                      <a:pt x="42699" y="65896"/>
                    </a:cubicBezTo>
                  </a:path>
                </a:pathLst>
              </a:custGeom>
              <a:grpFill/>
              <a:ln w="6246" cap="flat">
                <a:noFill/>
                <a:prstDash val="solid"/>
                <a:miter/>
              </a:ln>
            </p:spPr>
            <p:txBody>
              <a:bodyPr rtlCol="0" anchor="ctr"/>
              <a:lstStyle/>
              <a:p>
                <a:endParaRPr lang="fr-FR" sz="2400"/>
              </a:p>
            </p:txBody>
          </p:sp>
          <p:sp>
            <p:nvSpPr>
              <p:cNvPr id="795" name="Freeform: Shape 794">
                <a:extLst>
                  <a:ext uri="{FF2B5EF4-FFF2-40B4-BE49-F238E27FC236}">
                    <a16:creationId xmlns:a16="http://schemas.microsoft.com/office/drawing/2014/main" id="{0D461628-E5B7-4791-BEAF-EDC33CD60C78}"/>
                  </a:ext>
                </a:extLst>
              </p:cNvPr>
              <p:cNvSpPr/>
              <p:nvPr/>
            </p:nvSpPr>
            <p:spPr>
              <a:xfrm>
                <a:off x="512707" y="4151946"/>
                <a:ext cx="56215" cy="49969"/>
              </a:xfrm>
              <a:custGeom>
                <a:avLst/>
                <a:gdLst>
                  <a:gd name="connsiteX0" fmla="*/ 0 w 56214"/>
                  <a:gd name="connsiteY0" fmla="*/ 14304 h 49968"/>
                  <a:gd name="connsiteX1" fmla="*/ 58651 w 56214"/>
                  <a:gd name="connsiteY1" fmla="*/ 51218 h 49968"/>
                  <a:gd name="connsiteX2" fmla="*/ 22861 w 56214"/>
                  <a:gd name="connsiteY2" fmla="*/ 0 h 49968"/>
                  <a:gd name="connsiteX3" fmla="*/ 0 w 56214"/>
                  <a:gd name="connsiteY3" fmla="*/ 14304 h 49968"/>
                </a:gdLst>
                <a:ahLst/>
                <a:cxnLst>
                  <a:cxn ang="0">
                    <a:pos x="connsiteX0" y="connsiteY0"/>
                  </a:cxn>
                  <a:cxn ang="0">
                    <a:pos x="connsiteX1" y="connsiteY1"/>
                  </a:cxn>
                  <a:cxn ang="0">
                    <a:pos x="connsiteX2" y="connsiteY2"/>
                  </a:cxn>
                  <a:cxn ang="0">
                    <a:pos x="connsiteX3" y="connsiteY3"/>
                  </a:cxn>
                </a:cxnLst>
                <a:rect l="l" t="t" r="r" b="b"/>
                <a:pathLst>
                  <a:path w="56214" h="49968">
                    <a:moveTo>
                      <a:pt x="0" y="14304"/>
                    </a:moveTo>
                    <a:cubicBezTo>
                      <a:pt x="9994" y="43785"/>
                      <a:pt x="27420" y="64710"/>
                      <a:pt x="58651" y="51218"/>
                    </a:cubicBezTo>
                    <a:cubicBezTo>
                      <a:pt x="55403" y="33729"/>
                      <a:pt x="37601" y="10244"/>
                      <a:pt x="22861" y="0"/>
                    </a:cubicBezTo>
                    <a:lnTo>
                      <a:pt x="0" y="14304"/>
                    </a:lnTo>
                    <a:close/>
                  </a:path>
                </a:pathLst>
              </a:custGeom>
              <a:grpFill/>
              <a:ln w="6246" cap="flat">
                <a:noFill/>
                <a:prstDash val="solid"/>
                <a:miter/>
              </a:ln>
            </p:spPr>
            <p:txBody>
              <a:bodyPr rtlCol="0" anchor="ctr"/>
              <a:lstStyle/>
              <a:p>
                <a:endParaRPr lang="fr-FR" sz="2400"/>
              </a:p>
            </p:txBody>
          </p:sp>
          <p:sp>
            <p:nvSpPr>
              <p:cNvPr id="796" name="Freeform: Shape 795">
                <a:extLst>
                  <a:ext uri="{FF2B5EF4-FFF2-40B4-BE49-F238E27FC236}">
                    <a16:creationId xmlns:a16="http://schemas.microsoft.com/office/drawing/2014/main" id="{0C698447-CBBE-4ED4-8BD5-91A07A081697}"/>
                  </a:ext>
                </a:extLst>
              </p:cNvPr>
              <p:cNvSpPr/>
              <p:nvPr/>
            </p:nvSpPr>
            <p:spPr>
              <a:xfrm>
                <a:off x="913892" y="5573754"/>
                <a:ext cx="62461" cy="31230"/>
              </a:xfrm>
              <a:custGeom>
                <a:avLst/>
                <a:gdLst>
                  <a:gd name="connsiteX0" fmla="*/ 2311 w 62460"/>
                  <a:gd name="connsiteY0" fmla="*/ 33526 h 31230"/>
                  <a:gd name="connsiteX1" fmla="*/ 63585 w 62460"/>
                  <a:gd name="connsiteY1" fmla="*/ 19285 h 31230"/>
                  <a:gd name="connsiteX2" fmla="*/ 0 w 62460"/>
                  <a:gd name="connsiteY2" fmla="*/ 5106 h 31230"/>
                  <a:gd name="connsiteX3" fmla="*/ 2311 w 62460"/>
                  <a:gd name="connsiteY3" fmla="*/ 33526 h 31230"/>
                </a:gdLst>
                <a:ahLst/>
                <a:cxnLst>
                  <a:cxn ang="0">
                    <a:pos x="connsiteX0" y="connsiteY0"/>
                  </a:cxn>
                  <a:cxn ang="0">
                    <a:pos x="connsiteX1" y="connsiteY1"/>
                  </a:cxn>
                  <a:cxn ang="0">
                    <a:pos x="connsiteX2" y="connsiteY2"/>
                  </a:cxn>
                  <a:cxn ang="0">
                    <a:pos x="connsiteX3" y="connsiteY3"/>
                  </a:cxn>
                </a:cxnLst>
                <a:rect l="l" t="t" r="r" b="b"/>
                <a:pathLst>
                  <a:path w="62460" h="31230">
                    <a:moveTo>
                      <a:pt x="2311" y="33526"/>
                    </a:moveTo>
                    <a:cubicBezTo>
                      <a:pt x="28607" y="32277"/>
                      <a:pt x="43535" y="31027"/>
                      <a:pt x="63585" y="19285"/>
                    </a:cubicBezTo>
                    <a:cubicBezTo>
                      <a:pt x="50468" y="-6324"/>
                      <a:pt x="32480" y="-1140"/>
                      <a:pt x="0" y="5106"/>
                    </a:cubicBezTo>
                    <a:lnTo>
                      <a:pt x="2311" y="33526"/>
                    </a:lnTo>
                    <a:close/>
                  </a:path>
                </a:pathLst>
              </a:custGeom>
              <a:grpFill/>
              <a:ln w="6246" cap="flat">
                <a:noFill/>
                <a:prstDash val="solid"/>
                <a:miter/>
              </a:ln>
            </p:spPr>
            <p:txBody>
              <a:bodyPr rtlCol="0" anchor="ctr"/>
              <a:lstStyle/>
              <a:p>
                <a:endParaRPr lang="fr-FR" sz="2400"/>
              </a:p>
            </p:txBody>
          </p:sp>
          <p:sp>
            <p:nvSpPr>
              <p:cNvPr id="797" name="Freeform: Shape 796">
                <a:extLst>
                  <a:ext uri="{FF2B5EF4-FFF2-40B4-BE49-F238E27FC236}">
                    <a16:creationId xmlns:a16="http://schemas.microsoft.com/office/drawing/2014/main" id="{95901517-15A0-452B-9BC3-3D625E1EA687}"/>
                  </a:ext>
                </a:extLst>
              </p:cNvPr>
              <p:cNvSpPr/>
              <p:nvPr/>
            </p:nvSpPr>
            <p:spPr>
              <a:xfrm>
                <a:off x="524825" y="4664861"/>
                <a:ext cx="74953" cy="18738"/>
              </a:xfrm>
              <a:custGeom>
                <a:avLst/>
                <a:gdLst>
                  <a:gd name="connsiteX0" fmla="*/ 75265 w 74952"/>
                  <a:gd name="connsiteY0" fmla="*/ 11755 h 18738"/>
                  <a:gd name="connsiteX1" fmla="*/ 0 w 74952"/>
                  <a:gd name="connsiteY1" fmla="*/ 9381 h 18738"/>
                  <a:gd name="connsiteX2" fmla="*/ 75265 w 74952"/>
                  <a:gd name="connsiteY2" fmla="*/ 11755 h 18738"/>
                </a:gdLst>
                <a:ahLst/>
                <a:cxnLst>
                  <a:cxn ang="0">
                    <a:pos x="connsiteX0" y="connsiteY0"/>
                  </a:cxn>
                  <a:cxn ang="0">
                    <a:pos x="connsiteX1" y="connsiteY1"/>
                  </a:cxn>
                  <a:cxn ang="0">
                    <a:pos x="connsiteX2" y="connsiteY2"/>
                  </a:cxn>
                </a:cxnLst>
                <a:rect l="l" t="t" r="r" b="b"/>
                <a:pathLst>
                  <a:path w="74952" h="18738">
                    <a:moveTo>
                      <a:pt x="75265" y="11755"/>
                    </a:moveTo>
                    <a:cubicBezTo>
                      <a:pt x="57089" y="-5297"/>
                      <a:pt x="22174" y="-1736"/>
                      <a:pt x="0" y="9381"/>
                    </a:cubicBezTo>
                    <a:cubicBezTo>
                      <a:pt x="4372" y="13254"/>
                      <a:pt x="54965" y="31181"/>
                      <a:pt x="75265" y="11755"/>
                    </a:cubicBezTo>
                  </a:path>
                </a:pathLst>
              </a:custGeom>
              <a:grpFill/>
              <a:ln w="6246" cap="flat">
                <a:noFill/>
                <a:prstDash val="solid"/>
                <a:miter/>
              </a:ln>
            </p:spPr>
            <p:txBody>
              <a:bodyPr rtlCol="0" anchor="ctr"/>
              <a:lstStyle/>
              <a:p>
                <a:endParaRPr lang="fr-FR" sz="2400"/>
              </a:p>
            </p:txBody>
          </p:sp>
          <p:sp>
            <p:nvSpPr>
              <p:cNvPr id="798" name="Freeform: Shape 797">
                <a:extLst>
                  <a:ext uri="{FF2B5EF4-FFF2-40B4-BE49-F238E27FC236}">
                    <a16:creationId xmlns:a16="http://schemas.microsoft.com/office/drawing/2014/main" id="{29C02CE8-D313-474B-AFA4-D89BC1AAF244}"/>
                  </a:ext>
                </a:extLst>
              </p:cNvPr>
              <p:cNvSpPr/>
              <p:nvPr/>
            </p:nvSpPr>
            <p:spPr>
              <a:xfrm>
                <a:off x="962611" y="5506515"/>
                <a:ext cx="62461" cy="31230"/>
              </a:xfrm>
              <a:custGeom>
                <a:avLst/>
                <a:gdLst>
                  <a:gd name="connsiteX0" fmla="*/ 66770 w 62460"/>
                  <a:gd name="connsiteY0" fmla="*/ 31996 h 31230"/>
                  <a:gd name="connsiteX1" fmla="*/ 0 w 62460"/>
                  <a:gd name="connsiteY1" fmla="*/ 4513 h 31230"/>
                  <a:gd name="connsiteX2" fmla="*/ 66770 w 62460"/>
                  <a:gd name="connsiteY2" fmla="*/ 31996 h 31230"/>
                </a:gdLst>
                <a:ahLst/>
                <a:cxnLst>
                  <a:cxn ang="0">
                    <a:pos x="connsiteX0" y="connsiteY0"/>
                  </a:cxn>
                  <a:cxn ang="0">
                    <a:pos x="connsiteX1" y="connsiteY1"/>
                  </a:cxn>
                  <a:cxn ang="0">
                    <a:pos x="connsiteX2" y="connsiteY2"/>
                  </a:cxn>
                </a:cxnLst>
                <a:rect l="l" t="t" r="r" b="b"/>
                <a:pathLst>
                  <a:path w="62460" h="31230">
                    <a:moveTo>
                      <a:pt x="66770" y="31996"/>
                    </a:moveTo>
                    <a:cubicBezTo>
                      <a:pt x="59150" y="1765"/>
                      <a:pt x="28045" y="-6168"/>
                      <a:pt x="0" y="4513"/>
                    </a:cubicBezTo>
                    <a:cubicBezTo>
                      <a:pt x="4747" y="8948"/>
                      <a:pt x="51905" y="32433"/>
                      <a:pt x="66770" y="31996"/>
                    </a:cubicBezTo>
                  </a:path>
                </a:pathLst>
              </a:custGeom>
              <a:grpFill/>
              <a:ln w="6246" cap="flat">
                <a:noFill/>
                <a:prstDash val="solid"/>
                <a:miter/>
              </a:ln>
            </p:spPr>
            <p:txBody>
              <a:bodyPr rtlCol="0" anchor="ctr"/>
              <a:lstStyle/>
              <a:p>
                <a:endParaRPr lang="fr-FR" sz="2400"/>
              </a:p>
            </p:txBody>
          </p:sp>
        </p:grpSp>
        <p:grpSp>
          <p:nvGrpSpPr>
            <p:cNvPr id="781" name="Graphic 1">
              <a:extLst>
                <a:ext uri="{FF2B5EF4-FFF2-40B4-BE49-F238E27FC236}">
                  <a16:creationId xmlns:a16="http://schemas.microsoft.com/office/drawing/2014/main" id="{1E08769A-FEEC-4B69-A984-C6DAA7A0133A}"/>
                </a:ext>
              </a:extLst>
            </p:cNvPr>
            <p:cNvGrpSpPr/>
            <p:nvPr/>
          </p:nvGrpSpPr>
          <p:grpSpPr>
            <a:xfrm>
              <a:off x="562109" y="2481873"/>
              <a:ext cx="818235" cy="4103665"/>
              <a:chOff x="562109" y="2481873"/>
              <a:chExt cx="818235" cy="4103665"/>
            </a:xfrm>
            <a:grpFill/>
          </p:grpSpPr>
          <p:sp>
            <p:nvSpPr>
              <p:cNvPr id="782" name="Freeform: Shape 781">
                <a:extLst>
                  <a:ext uri="{FF2B5EF4-FFF2-40B4-BE49-F238E27FC236}">
                    <a16:creationId xmlns:a16="http://schemas.microsoft.com/office/drawing/2014/main" id="{11551991-367E-4705-9594-A318030740F2}"/>
                  </a:ext>
                </a:extLst>
              </p:cNvPr>
              <p:cNvSpPr/>
              <p:nvPr/>
            </p:nvSpPr>
            <p:spPr>
              <a:xfrm>
                <a:off x="562109" y="2481873"/>
                <a:ext cx="24984" cy="24984"/>
              </a:xfrm>
              <a:custGeom>
                <a:avLst/>
                <a:gdLst>
                  <a:gd name="connsiteX0" fmla="*/ 4814 w 24984"/>
                  <a:gd name="connsiteY0" fmla="*/ 437 h 24984"/>
                  <a:gd name="connsiteX1" fmla="*/ 6251 w 24984"/>
                  <a:gd name="connsiteY1" fmla="*/ 25734 h 24984"/>
                  <a:gd name="connsiteX2" fmla="*/ 28861 w 24984"/>
                  <a:gd name="connsiteY2" fmla="*/ 21549 h 24984"/>
                  <a:gd name="connsiteX3" fmla="*/ 26176 w 24984"/>
                  <a:gd name="connsiteY3" fmla="*/ 0 h 24984"/>
                  <a:gd name="connsiteX4" fmla="*/ 4814 w 24984"/>
                  <a:gd name="connsiteY4" fmla="*/ 437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h="24984">
                    <a:moveTo>
                      <a:pt x="4814" y="437"/>
                    </a:moveTo>
                    <a:cubicBezTo>
                      <a:pt x="379" y="17239"/>
                      <a:pt x="-3931" y="1124"/>
                      <a:pt x="6251" y="25734"/>
                    </a:cubicBezTo>
                    <a:lnTo>
                      <a:pt x="28861" y="21549"/>
                    </a:lnTo>
                    <a:lnTo>
                      <a:pt x="26176" y="0"/>
                    </a:lnTo>
                    <a:lnTo>
                      <a:pt x="4814" y="437"/>
                    </a:lnTo>
                    <a:close/>
                  </a:path>
                </a:pathLst>
              </a:custGeom>
              <a:grpFill/>
              <a:ln w="6246" cap="flat">
                <a:noFill/>
                <a:prstDash val="solid"/>
                <a:miter/>
              </a:ln>
            </p:spPr>
            <p:txBody>
              <a:bodyPr rtlCol="0" anchor="ctr"/>
              <a:lstStyle/>
              <a:p>
                <a:endParaRPr lang="fr-FR" sz="2400"/>
              </a:p>
            </p:txBody>
          </p:sp>
          <p:sp>
            <p:nvSpPr>
              <p:cNvPr id="783" name="Freeform: Shape 782">
                <a:extLst>
                  <a:ext uri="{FF2B5EF4-FFF2-40B4-BE49-F238E27FC236}">
                    <a16:creationId xmlns:a16="http://schemas.microsoft.com/office/drawing/2014/main" id="{F19F54ED-B6E4-4D53-9CCB-24C3B3C1C84E}"/>
                  </a:ext>
                </a:extLst>
              </p:cNvPr>
              <p:cNvSpPr/>
              <p:nvPr/>
            </p:nvSpPr>
            <p:spPr>
              <a:xfrm>
                <a:off x="1347931" y="6562442"/>
                <a:ext cx="31230" cy="24984"/>
              </a:xfrm>
              <a:custGeom>
                <a:avLst/>
                <a:gdLst>
                  <a:gd name="connsiteX0" fmla="*/ 0 w 31230"/>
                  <a:gd name="connsiteY0" fmla="*/ 27156 h 24984"/>
                  <a:gd name="connsiteX1" fmla="*/ 36789 w 31230"/>
                  <a:gd name="connsiteY1" fmla="*/ 7107 h 24984"/>
                  <a:gd name="connsiteX2" fmla="*/ 12804 w 31230"/>
                  <a:gd name="connsiteY2" fmla="*/ 11791 h 24984"/>
                  <a:gd name="connsiteX3" fmla="*/ 0 w 31230"/>
                  <a:gd name="connsiteY3" fmla="*/ 27156 h 24984"/>
                </a:gdLst>
                <a:ahLst/>
                <a:cxnLst>
                  <a:cxn ang="0">
                    <a:pos x="connsiteX0" y="connsiteY0"/>
                  </a:cxn>
                  <a:cxn ang="0">
                    <a:pos x="connsiteX1" y="connsiteY1"/>
                  </a:cxn>
                  <a:cxn ang="0">
                    <a:pos x="connsiteX2" y="connsiteY2"/>
                  </a:cxn>
                  <a:cxn ang="0">
                    <a:pos x="connsiteX3" y="connsiteY3"/>
                  </a:cxn>
                </a:cxnLst>
                <a:rect l="l" t="t" r="r" b="b"/>
                <a:pathLst>
                  <a:path w="31230" h="24984">
                    <a:moveTo>
                      <a:pt x="0" y="27156"/>
                    </a:moveTo>
                    <a:cubicBezTo>
                      <a:pt x="21299" y="25345"/>
                      <a:pt x="25796" y="24033"/>
                      <a:pt x="36789" y="7107"/>
                    </a:cubicBezTo>
                    <a:cubicBezTo>
                      <a:pt x="30606" y="4796"/>
                      <a:pt x="36664" y="-10132"/>
                      <a:pt x="12804" y="11791"/>
                    </a:cubicBezTo>
                    <a:cubicBezTo>
                      <a:pt x="7870" y="16351"/>
                      <a:pt x="7620" y="21285"/>
                      <a:pt x="0" y="27156"/>
                    </a:cubicBezTo>
                  </a:path>
                </a:pathLst>
              </a:custGeom>
              <a:grpFill/>
              <a:ln w="6246" cap="flat">
                <a:noFill/>
                <a:prstDash val="solid"/>
                <a:miter/>
              </a:ln>
            </p:spPr>
            <p:txBody>
              <a:bodyPr rtlCol="0" anchor="ctr"/>
              <a:lstStyle/>
              <a:p>
                <a:endParaRPr lang="fr-FR" sz="2400"/>
              </a:p>
            </p:txBody>
          </p:sp>
          <p:sp>
            <p:nvSpPr>
              <p:cNvPr id="784" name="Freeform: Shape 783">
                <a:extLst>
                  <a:ext uri="{FF2B5EF4-FFF2-40B4-BE49-F238E27FC236}">
                    <a16:creationId xmlns:a16="http://schemas.microsoft.com/office/drawing/2014/main" id="{75207DDE-1C79-4436-A483-4214F72A7FC3}"/>
                  </a:ext>
                </a:extLst>
              </p:cNvPr>
              <p:cNvSpPr/>
              <p:nvPr/>
            </p:nvSpPr>
            <p:spPr>
              <a:xfrm>
                <a:off x="1008662" y="6008277"/>
                <a:ext cx="12492" cy="37476"/>
              </a:xfrm>
              <a:custGeom>
                <a:avLst/>
                <a:gdLst>
                  <a:gd name="connsiteX0" fmla="*/ 11101 w 12492"/>
                  <a:gd name="connsiteY0" fmla="*/ 37664 h 37476"/>
                  <a:gd name="connsiteX1" fmla="*/ 3980 w 12492"/>
                  <a:gd name="connsiteY1" fmla="*/ 0 h 37476"/>
                  <a:gd name="connsiteX2" fmla="*/ 11101 w 12492"/>
                  <a:gd name="connsiteY2" fmla="*/ 37664 h 37476"/>
                </a:gdLst>
                <a:ahLst/>
                <a:cxnLst>
                  <a:cxn ang="0">
                    <a:pos x="connsiteX0" y="connsiteY0"/>
                  </a:cxn>
                  <a:cxn ang="0">
                    <a:pos x="connsiteX1" y="connsiteY1"/>
                  </a:cxn>
                  <a:cxn ang="0">
                    <a:pos x="connsiteX2" y="connsiteY2"/>
                  </a:cxn>
                </a:cxnLst>
                <a:rect l="l" t="t" r="r" b="b"/>
                <a:pathLst>
                  <a:path w="12492" h="37476">
                    <a:moveTo>
                      <a:pt x="11101" y="37664"/>
                    </a:moveTo>
                    <a:cubicBezTo>
                      <a:pt x="18534" y="16864"/>
                      <a:pt x="19283" y="17739"/>
                      <a:pt x="3980" y="0"/>
                    </a:cubicBezTo>
                    <a:cubicBezTo>
                      <a:pt x="-2578" y="18551"/>
                      <a:pt x="-1579" y="20737"/>
                      <a:pt x="11101" y="37664"/>
                    </a:cubicBezTo>
                  </a:path>
                </a:pathLst>
              </a:custGeom>
              <a:grpFill/>
              <a:ln w="6246" cap="flat">
                <a:noFill/>
                <a:prstDash val="solid"/>
                <a:miter/>
              </a:ln>
            </p:spPr>
            <p:txBody>
              <a:bodyPr rtlCol="0" anchor="ctr"/>
              <a:lstStyle/>
              <a:p>
                <a:endParaRPr lang="fr-FR" sz="2400"/>
              </a:p>
            </p:txBody>
          </p:sp>
          <p:sp>
            <p:nvSpPr>
              <p:cNvPr id="785" name="Freeform: Shape 784">
                <a:extLst>
                  <a:ext uri="{FF2B5EF4-FFF2-40B4-BE49-F238E27FC236}">
                    <a16:creationId xmlns:a16="http://schemas.microsoft.com/office/drawing/2014/main" id="{67A09C09-24AA-4375-BC22-D68787B2A843}"/>
                  </a:ext>
                </a:extLst>
              </p:cNvPr>
              <p:cNvSpPr/>
              <p:nvPr/>
            </p:nvSpPr>
            <p:spPr>
              <a:xfrm>
                <a:off x="1264209" y="6537256"/>
                <a:ext cx="12492" cy="6246"/>
              </a:xfrm>
              <a:custGeom>
                <a:avLst/>
                <a:gdLst>
                  <a:gd name="connsiteX0" fmla="*/ 25 w 12492"/>
                  <a:gd name="connsiteY0" fmla="*/ 11680 h 6246"/>
                  <a:gd name="connsiteX1" fmla="*/ 17139 w 12492"/>
                  <a:gd name="connsiteY1" fmla="*/ 0 h 6246"/>
                  <a:gd name="connsiteX2" fmla="*/ 25 w 12492"/>
                  <a:gd name="connsiteY2" fmla="*/ 11680 h 6246"/>
                </a:gdLst>
                <a:ahLst/>
                <a:cxnLst>
                  <a:cxn ang="0">
                    <a:pos x="connsiteX0" y="connsiteY0"/>
                  </a:cxn>
                  <a:cxn ang="0">
                    <a:pos x="connsiteX1" y="connsiteY1"/>
                  </a:cxn>
                  <a:cxn ang="0">
                    <a:pos x="connsiteX2" y="connsiteY2"/>
                  </a:cxn>
                </a:cxnLst>
                <a:rect l="l" t="t" r="r" b="b"/>
                <a:pathLst>
                  <a:path w="12492" h="6246">
                    <a:moveTo>
                      <a:pt x="25" y="11680"/>
                    </a:moveTo>
                    <a:lnTo>
                      <a:pt x="17139" y="0"/>
                    </a:lnTo>
                    <a:cubicBezTo>
                      <a:pt x="6646" y="1749"/>
                      <a:pt x="-475" y="-1374"/>
                      <a:pt x="25" y="11680"/>
                    </a:cubicBezTo>
                  </a:path>
                </a:pathLst>
              </a:custGeom>
              <a:grpFill/>
              <a:ln w="6246" cap="flat">
                <a:noFill/>
                <a:prstDash val="solid"/>
                <a:miter/>
              </a:ln>
            </p:spPr>
            <p:txBody>
              <a:bodyPr rtlCol="0" anchor="ctr"/>
              <a:lstStyle/>
              <a:p>
                <a:endParaRPr lang="fr-FR" sz="2400"/>
              </a:p>
            </p:txBody>
          </p:sp>
        </p:grpSp>
      </p:grpSp>
      <p:sp>
        <p:nvSpPr>
          <p:cNvPr id="973" name="Freeform: Shape 972">
            <a:extLst>
              <a:ext uri="{FF2B5EF4-FFF2-40B4-BE49-F238E27FC236}">
                <a16:creationId xmlns:a16="http://schemas.microsoft.com/office/drawing/2014/main" id="{7481E9AF-80B9-427E-8487-2136E736ABFE}"/>
              </a:ext>
            </a:extLst>
          </p:cNvPr>
          <p:cNvSpPr/>
          <p:nvPr/>
        </p:nvSpPr>
        <p:spPr>
          <a:xfrm>
            <a:off x="14646154" y="8468379"/>
            <a:ext cx="1662985" cy="704413"/>
          </a:xfrm>
          <a:custGeom>
            <a:avLst/>
            <a:gdLst>
              <a:gd name="connsiteX0" fmla="*/ 1167236 w 1247239"/>
              <a:gd name="connsiteY0" fmla="*/ 461355 h 528310"/>
              <a:gd name="connsiteX1" fmla="*/ 1167236 w 1247239"/>
              <a:gd name="connsiteY1" fmla="*/ 461545 h 528310"/>
              <a:gd name="connsiteX2" fmla="*/ 1166750 w 1247239"/>
              <a:gd name="connsiteY2" fmla="*/ 461388 h 528310"/>
              <a:gd name="connsiteX3" fmla="*/ 1246709 w 1247239"/>
              <a:gd name="connsiteY3" fmla="*/ 432826 h 528310"/>
              <a:gd name="connsiteX4" fmla="*/ 1247239 w 1247239"/>
              <a:gd name="connsiteY4" fmla="*/ 432913 h 528310"/>
              <a:gd name="connsiteX5" fmla="*/ 1247239 w 1247239"/>
              <a:gd name="connsiteY5" fmla="*/ 433040 h 528310"/>
              <a:gd name="connsiteX6" fmla="*/ 17231 w 1247239"/>
              <a:gd name="connsiteY6" fmla="*/ 424489 h 528310"/>
              <a:gd name="connsiteX7" fmla="*/ 17498 w 1247239"/>
              <a:gd name="connsiteY7" fmla="*/ 424662 h 528310"/>
              <a:gd name="connsiteX8" fmla="*/ 17231 w 1247239"/>
              <a:gd name="connsiteY8" fmla="*/ 424616 h 528310"/>
              <a:gd name="connsiteX9" fmla="*/ 47318 w 1247239"/>
              <a:gd name="connsiteY9" fmla="*/ 397315 h 528310"/>
              <a:gd name="connsiteX10" fmla="*/ 48087 w 1247239"/>
              <a:gd name="connsiteY10" fmla="*/ 397574 h 528310"/>
              <a:gd name="connsiteX11" fmla="*/ 47318 w 1247239"/>
              <a:gd name="connsiteY11" fmla="*/ 397505 h 528310"/>
              <a:gd name="connsiteX12" fmla="*/ 1183887 w 1247239"/>
              <a:gd name="connsiteY12" fmla="*/ 358947 h 528310"/>
              <a:gd name="connsiteX13" fmla="*/ 1184275 w 1247239"/>
              <a:gd name="connsiteY13" fmla="*/ 358992 h 528310"/>
              <a:gd name="connsiteX14" fmla="*/ 1184275 w 1247239"/>
              <a:gd name="connsiteY14" fmla="*/ 359181 h 528310"/>
              <a:gd name="connsiteX15" fmla="*/ 68285 w 1247239"/>
              <a:gd name="connsiteY15" fmla="*/ 356775 h 528310"/>
              <a:gd name="connsiteX16" fmla="*/ 68573 w 1247239"/>
              <a:gd name="connsiteY16" fmla="*/ 356899 h 528310"/>
              <a:gd name="connsiteX17" fmla="*/ 68285 w 1247239"/>
              <a:gd name="connsiteY17" fmla="*/ 356902 h 528310"/>
              <a:gd name="connsiteX18" fmla="*/ 149746 w 1247239"/>
              <a:gd name="connsiteY18" fmla="*/ 321683 h 528310"/>
              <a:gd name="connsiteX19" fmla="*/ 149938 w 1247239"/>
              <a:gd name="connsiteY19" fmla="*/ 321808 h 528310"/>
              <a:gd name="connsiteX20" fmla="*/ 149746 w 1247239"/>
              <a:gd name="connsiteY20" fmla="*/ 321809 h 528310"/>
              <a:gd name="connsiteX21" fmla="*/ 167418 w 1247239"/>
              <a:gd name="connsiteY21" fmla="*/ 273858 h 528310"/>
              <a:gd name="connsiteX22" fmla="*/ 167796 w 1247239"/>
              <a:gd name="connsiteY22" fmla="*/ 273979 h 528310"/>
              <a:gd name="connsiteX23" fmla="*/ 167418 w 1247239"/>
              <a:gd name="connsiteY23" fmla="*/ 273985 h 528310"/>
              <a:gd name="connsiteX24" fmla="*/ 98564 w 1247239"/>
              <a:gd name="connsiteY24" fmla="*/ 216912 h 528310"/>
              <a:gd name="connsiteX25" fmla="*/ 98887 w 1247239"/>
              <a:gd name="connsiteY25" fmla="*/ 217078 h 528310"/>
              <a:gd name="connsiteX26" fmla="*/ 98564 w 1247239"/>
              <a:gd name="connsiteY26" fmla="*/ 217102 h 528310"/>
              <a:gd name="connsiteX27" fmla="*/ 925818 w 1247239"/>
              <a:gd name="connsiteY27" fmla="*/ 215195 h 528310"/>
              <a:gd name="connsiteX28" fmla="*/ 926277 w 1247239"/>
              <a:gd name="connsiteY28" fmla="*/ 215201 h 528310"/>
              <a:gd name="connsiteX29" fmla="*/ 926277 w 1247239"/>
              <a:gd name="connsiteY29" fmla="*/ 215328 h 528310"/>
              <a:gd name="connsiteX30" fmla="*/ 879339 w 1247239"/>
              <a:gd name="connsiteY30" fmla="*/ 200569 h 528310"/>
              <a:gd name="connsiteX31" fmla="*/ 879339 w 1247239"/>
              <a:gd name="connsiteY31" fmla="*/ 200696 h 528310"/>
              <a:gd name="connsiteX32" fmla="*/ 879187 w 1247239"/>
              <a:gd name="connsiteY32" fmla="*/ 200622 h 528310"/>
              <a:gd name="connsiteX33" fmla="*/ 504724 w 1247239"/>
              <a:gd name="connsiteY33" fmla="*/ 19850 h 528310"/>
              <a:gd name="connsiteX34" fmla="*/ 504915 w 1247239"/>
              <a:gd name="connsiteY34" fmla="*/ 20023 h 528310"/>
              <a:gd name="connsiteX35" fmla="*/ 504724 w 1247239"/>
              <a:gd name="connsiteY35" fmla="*/ 20040 h 528310"/>
              <a:gd name="connsiteX36" fmla="*/ 356436 w 1247239"/>
              <a:gd name="connsiteY36" fmla="*/ 86 h 528310"/>
              <a:gd name="connsiteX37" fmla="*/ 391909 w 1247239"/>
              <a:gd name="connsiteY37" fmla="*/ 8764 h 528310"/>
              <a:gd name="connsiteX38" fmla="*/ 429409 w 1247239"/>
              <a:gd name="connsiteY38" fmla="*/ 18836 h 528310"/>
              <a:gd name="connsiteX39" fmla="*/ 471341 w 1247239"/>
              <a:gd name="connsiteY39" fmla="*/ 28971 h 528310"/>
              <a:gd name="connsiteX40" fmla="*/ 475586 w 1247239"/>
              <a:gd name="connsiteY40" fmla="*/ 29478 h 528310"/>
              <a:gd name="connsiteX41" fmla="*/ 475332 w 1247239"/>
              <a:gd name="connsiteY41" fmla="*/ 29478 h 528310"/>
              <a:gd name="connsiteX42" fmla="*/ 510361 w 1247239"/>
              <a:gd name="connsiteY42" fmla="*/ 38789 h 528310"/>
              <a:gd name="connsiteX43" fmla="*/ 532823 w 1247239"/>
              <a:gd name="connsiteY43" fmla="*/ 43195 h 528310"/>
              <a:gd name="connsiteX44" fmla="*/ 507764 w 1247239"/>
              <a:gd name="connsiteY44" fmla="*/ 34862 h 528310"/>
              <a:gd name="connsiteX45" fmla="*/ 500100 w 1247239"/>
              <a:gd name="connsiteY45" fmla="*/ 30365 h 528310"/>
              <a:gd name="connsiteX46" fmla="*/ 508144 w 1247239"/>
              <a:gd name="connsiteY46" fmla="*/ 22953 h 528310"/>
              <a:gd name="connsiteX47" fmla="*/ 504915 w 1247239"/>
              <a:gd name="connsiteY47" fmla="*/ 20023 h 528310"/>
              <a:gd name="connsiteX48" fmla="*/ 514036 w 1247239"/>
              <a:gd name="connsiteY48" fmla="*/ 19216 h 528310"/>
              <a:gd name="connsiteX49" fmla="*/ 557616 w 1247239"/>
              <a:gd name="connsiteY49" fmla="*/ 31631 h 528310"/>
              <a:gd name="connsiteX50" fmla="*/ 572122 w 1247239"/>
              <a:gd name="connsiteY50" fmla="*/ 35686 h 528310"/>
              <a:gd name="connsiteX51" fmla="*/ 582257 w 1247239"/>
              <a:gd name="connsiteY51" fmla="*/ 39169 h 528310"/>
              <a:gd name="connsiteX52" fmla="*/ 587323 w 1247239"/>
              <a:gd name="connsiteY52" fmla="*/ 40753 h 528310"/>
              <a:gd name="connsiteX53" fmla="*/ 599929 w 1247239"/>
              <a:gd name="connsiteY53" fmla="*/ 45757 h 528310"/>
              <a:gd name="connsiteX54" fmla="*/ 610001 w 1247239"/>
              <a:gd name="connsiteY54" fmla="*/ 47594 h 528310"/>
              <a:gd name="connsiteX55" fmla="*/ 611395 w 1247239"/>
              <a:gd name="connsiteY55" fmla="*/ 48290 h 528310"/>
              <a:gd name="connsiteX56" fmla="*/ 610254 w 1247239"/>
              <a:gd name="connsiteY56" fmla="*/ 47277 h 528310"/>
              <a:gd name="connsiteX57" fmla="*/ 614435 w 1247239"/>
              <a:gd name="connsiteY57" fmla="*/ 47467 h 528310"/>
              <a:gd name="connsiteX58" fmla="*/ 628687 w 1247239"/>
              <a:gd name="connsiteY58" fmla="*/ 50634 h 528310"/>
              <a:gd name="connsiteX59" fmla="*/ 631791 w 1247239"/>
              <a:gd name="connsiteY59" fmla="*/ 50952 h 528310"/>
              <a:gd name="connsiteX60" fmla="*/ 646930 w 1247239"/>
              <a:gd name="connsiteY60" fmla="*/ 54435 h 528310"/>
              <a:gd name="connsiteX61" fmla="*/ 655672 w 1247239"/>
              <a:gd name="connsiteY61" fmla="*/ 57920 h 528310"/>
              <a:gd name="connsiteX62" fmla="*/ 665237 w 1247239"/>
              <a:gd name="connsiteY62" fmla="*/ 62100 h 528310"/>
              <a:gd name="connsiteX63" fmla="*/ 681073 w 1247239"/>
              <a:gd name="connsiteY63" fmla="*/ 63683 h 528310"/>
              <a:gd name="connsiteX64" fmla="*/ 682656 w 1247239"/>
              <a:gd name="connsiteY64" fmla="*/ 64824 h 528310"/>
              <a:gd name="connsiteX65" fmla="*/ 689878 w 1247239"/>
              <a:gd name="connsiteY65" fmla="*/ 68688 h 528310"/>
              <a:gd name="connsiteX66" fmla="*/ 722373 w 1247239"/>
              <a:gd name="connsiteY66" fmla="*/ 76416 h 528310"/>
              <a:gd name="connsiteX67" fmla="*/ 737892 w 1247239"/>
              <a:gd name="connsiteY67" fmla="*/ 81103 h 528310"/>
              <a:gd name="connsiteX68" fmla="*/ 782929 w 1247239"/>
              <a:gd name="connsiteY68" fmla="*/ 91871 h 528310"/>
              <a:gd name="connsiteX69" fmla="*/ 800919 w 1247239"/>
              <a:gd name="connsiteY69" fmla="*/ 95545 h 528310"/>
              <a:gd name="connsiteX70" fmla="*/ 812448 w 1247239"/>
              <a:gd name="connsiteY70" fmla="*/ 99980 h 528310"/>
              <a:gd name="connsiteX71" fmla="*/ 784640 w 1247239"/>
              <a:gd name="connsiteY71" fmla="*/ 102006 h 528310"/>
              <a:gd name="connsiteX72" fmla="*/ 717179 w 1247239"/>
              <a:gd name="connsiteY72" fmla="*/ 87184 h 528310"/>
              <a:gd name="connsiteX73" fmla="*/ 686711 w 1247239"/>
              <a:gd name="connsiteY73" fmla="*/ 80026 h 528310"/>
              <a:gd name="connsiteX74" fmla="*/ 653075 w 1247239"/>
              <a:gd name="connsiteY74" fmla="*/ 72425 h 528310"/>
              <a:gd name="connsiteX75" fmla="*/ 640469 w 1247239"/>
              <a:gd name="connsiteY75" fmla="*/ 73439 h 528310"/>
              <a:gd name="connsiteX76" fmla="*/ 646930 w 1247239"/>
              <a:gd name="connsiteY76" fmla="*/ 77493 h 528310"/>
              <a:gd name="connsiteX77" fmla="*/ 684620 w 1247239"/>
              <a:gd name="connsiteY77" fmla="*/ 86487 h 528310"/>
              <a:gd name="connsiteX78" fmla="*/ 703623 w 1247239"/>
              <a:gd name="connsiteY78" fmla="*/ 89845 h 528310"/>
              <a:gd name="connsiteX79" fmla="*/ 707867 w 1247239"/>
              <a:gd name="connsiteY79" fmla="*/ 90351 h 528310"/>
              <a:gd name="connsiteX80" fmla="*/ 725351 w 1247239"/>
              <a:gd name="connsiteY80" fmla="*/ 95356 h 528310"/>
              <a:gd name="connsiteX81" fmla="*/ 747837 w 1247239"/>
              <a:gd name="connsiteY81" fmla="*/ 102767 h 528310"/>
              <a:gd name="connsiteX82" fmla="*/ 759429 w 1247239"/>
              <a:gd name="connsiteY82" fmla="*/ 105237 h 528310"/>
              <a:gd name="connsiteX83" fmla="*/ 773935 w 1247239"/>
              <a:gd name="connsiteY83" fmla="*/ 109164 h 528310"/>
              <a:gd name="connsiteX84" fmla="*/ 800919 w 1247239"/>
              <a:gd name="connsiteY84" fmla="*/ 119869 h 528310"/>
              <a:gd name="connsiteX85" fmla="*/ 812384 w 1247239"/>
              <a:gd name="connsiteY85" fmla="*/ 121770 h 528310"/>
              <a:gd name="connsiteX86" fmla="*/ 827651 w 1247239"/>
              <a:gd name="connsiteY86" fmla="*/ 125443 h 528310"/>
              <a:gd name="connsiteX87" fmla="*/ 838735 w 1247239"/>
              <a:gd name="connsiteY87" fmla="*/ 129117 h 528310"/>
              <a:gd name="connsiteX88" fmla="*/ 846020 w 1247239"/>
              <a:gd name="connsiteY88" fmla="*/ 130637 h 528310"/>
              <a:gd name="connsiteX89" fmla="*/ 863313 w 1247239"/>
              <a:gd name="connsiteY89" fmla="*/ 135389 h 528310"/>
              <a:gd name="connsiteX90" fmla="*/ 860146 w 1247239"/>
              <a:gd name="connsiteY90" fmla="*/ 138619 h 528310"/>
              <a:gd name="connsiteX91" fmla="*/ 833541 w 1247239"/>
              <a:gd name="connsiteY91" fmla="*/ 134249 h 528310"/>
              <a:gd name="connsiteX92" fmla="*/ 788631 w 1247239"/>
              <a:gd name="connsiteY92" fmla="*/ 122404 h 528310"/>
              <a:gd name="connsiteX93" fmla="*/ 747394 w 1247239"/>
              <a:gd name="connsiteY93" fmla="*/ 113851 h 528310"/>
              <a:gd name="connsiteX94" fmla="*/ 720029 w 1247239"/>
              <a:gd name="connsiteY94" fmla="*/ 108278 h 528310"/>
              <a:gd name="connsiteX95" fmla="*/ 707931 w 1247239"/>
              <a:gd name="connsiteY95" fmla="*/ 103971 h 528310"/>
              <a:gd name="connsiteX96" fmla="*/ 689909 w 1247239"/>
              <a:gd name="connsiteY96" fmla="*/ 99069 h 528310"/>
              <a:gd name="connsiteX97" fmla="*/ 671713 w 1247239"/>
              <a:gd name="connsiteY97" fmla="*/ 100828 h 528310"/>
              <a:gd name="connsiteX98" fmla="*/ 694755 w 1247239"/>
              <a:gd name="connsiteY98" fmla="*/ 108404 h 528310"/>
              <a:gd name="connsiteX99" fmla="*/ 734409 w 1247239"/>
              <a:gd name="connsiteY99" fmla="*/ 118539 h 528310"/>
              <a:gd name="connsiteX100" fmla="*/ 749041 w 1247239"/>
              <a:gd name="connsiteY100" fmla="*/ 121959 h 528310"/>
              <a:gd name="connsiteX101" fmla="*/ 756261 w 1247239"/>
              <a:gd name="connsiteY101" fmla="*/ 123860 h 528310"/>
              <a:gd name="connsiteX102" fmla="*/ 770768 w 1247239"/>
              <a:gd name="connsiteY102" fmla="*/ 127724 h 528310"/>
              <a:gd name="connsiteX103" fmla="*/ 789771 w 1247239"/>
              <a:gd name="connsiteY103" fmla="*/ 134819 h 528310"/>
              <a:gd name="connsiteX104" fmla="*/ 806050 w 1247239"/>
              <a:gd name="connsiteY104" fmla="*/ 139506 h 528310"/>
              <a:gd name="connsiteX105" fmla="*/ 811054 w 1247239"/>
              <a:gd name="connsiteY105" fmla="*/ 140583 h 528310"/>
              <a:gd name="connsiteX106" fmla="*/ 842346 w 1247239"/>
              <a:gd name="connsiteY106" fmla="*/ 151730 h 528310"/>
              <a:gd name="connsiteX107" fmla="*/ 850707 w 1247239"/>
              <a:gd name="connsiteY107" fmla="*/ 153822 h 528310"/>
              <a:gd name="connsiteX108" fmla="*/ 897201 w 1247239"/>
              <a:gd name="connsiteY108" fmla="*/ 167567 h 528310"/>
              <a:gd name="connsiteX109" fmla="*/ 963016 w 1247239"/>
              <a:gd name="connsiteY109" fmla="*/ 188217 h 528310"/>
              <a:gd name="connsiteX110" fmla="*/ 976254 w 1247239"/>
              <a:gd name="connsiteY110" fmla="*/ 195122 h 528310"/>
              <a:gd name="connsiteX111" fmla="*/ 972264 w 1247239"/>
              <a:gd name="connsiteY111" fmla="*/ 194932 h 528310"/>
              <a:gd name="connsiteX112" fmla="*/ 927924 w 1247239"/>
              <a:gd name="connsiteY112" fmla="*/ 181693 h 528310"/>
              <a:gd name="connsiteX113" fmla="*/ 883203 w 1247239"/>
              <a:gd name="connsiteY113" fmla="*/ 169341 h 528310"/>
              <a:gd name="connsiteX114" fmla="*/ 879293 w 1247239"/>
              <a:gd name="connsiteY114" fmla="*/ 169632 h 528310"/>
              <a:gd name="connsiteX115" fmla="*/ 889790 w 1247239"/>
              <a:gd name="connsiteY115" fmla="*/ 173964 h 528310"/>
              <a:gd name="connsiteX116" fmla="*/ 914368 w 1247239"/>
              <a:gd name="connsiteY116" fmla="*/ 182010 h 528310"/>
              <a:gd name="connsiteX117" fmla="*/ 918042 w 1247239"/>
              <a:gd name="connsiteY117" fmla="*/ 184289 h 528310"/>
              <a:gd name="connsiteX118" fmla="*/ 915824 w 1247239"/>
              <a:gd name="connsiteY118" fmla="*/ 185303 h 528310"/>
              <a:gd name="connsiteX119" fmla="*/ 855838 w 1247239"/>
              <a:gd name="connsiteY119" fmla="*/ 167947 h 528310"/>
              <a:gd name="connsiteX120" fmla="*/ 798829 w 1247239"/>
              <a:gd name="connsiteY120" fmla="*/ 152112 h 528310"/>
              <a:gd name="connsiteX121" fmla="*/ 773012 w 1247239"/>
              <a:gd name="connsiteY121" fmla="*/ 147676 h 528310"/>
              <a:gd name="connsiteX122" fmla="*/ 796169 w 1247239"/>
              <a:gd name="connsiteY122" fmla="*/ 156926 h 528310"/>
              <a:gd name="connsiteX123" fmla="*/ 834682 w 1247239"/>
              <a:gd name="connsiteY123" fmla="*/ 167694 h 528310"/>
              <a:gd name="connsiteX124" fmla="*/ 883520 w 1247239"/>
              <a:gd name="connsiteY124" fmla="*/ 181629 h 528310"/>
              <a:gd name="connsiteX125" fmla="*/ 941289 w 1247239"/>
              <a:gd name="connsiteY125" fmla="*/ 199746 h 528310"/>
              <a:gd name="connsiteX126" fmla="*/ 947434 w 1247239"/>
              <a:gd name="connsiteY126" fmla="*/ 204497 h 528310"/>
              <a:gd name="connsiteX127" fmla="*/ 943949 w 1247239"/>
              <a:gd name="connsiteY127" fmla="*/ 204560 h 528310"/>
              <a:gd name="connsiteX128" fmla="*/ 897138 w 1247239"/>
              <a:gd name="connsiteY128" fmla="*/ 191258 h 528310"/>
              <a:gd name="connsiteX129" fmla="*/ 813714 w 1247239"/>
              <a:gd name="connsiteY129" fmla="*/ 168517 h 528310"/>
              <a:gd name="connsiteX130" fmla="*/ 755059 w 1247239"/>
              <a:gd name="connsiteY130" fmla="*/ 153695 h 528310"/>
              <a:gd name="connsiteX131" fmla="*/ 732698 w 1247239"/>
              <a:gd name="connsiteY131" fmla="*/ 150274 h 528310"/>
              <a:gd name="connsiteX132" fmla="*/ 726554 w 1247239"/>
              <a:gd name="connsiteY132" fmla="*/ 148817 h 528310"/>
              <a:gd name="connsiteX133" fmla="*/ 713568 w 1247239"/>
              <a:gd name="connsiteY133" fmla="*/ 144511 h 528310"/>
              <a:gd name="connsiteX134" fmla="*/ 707361 w 1247239"/>
              <a:gd name="connsiteY134" fmla="*/ 142864 h 528310"/>
              <a:gd name="connsiteX135" fmla="*/ 702293 w 1247239"/>
              <a:gd name="connsiteY135" fmla="*/ 141596 h 528310"/>
              <a:gd name="connsiteX136" fmla="*/ 688674 w 1247239"/>
              <a:gd name="connsiteY136" fmla="*/ 140962 h 528310"/>
              <a:gd name="connsiteX137" fmla="*/ 676386 w 1247239"/>
              <a:gd name="connsiteY137" fmla="*/ 137479 h 528310"/>
              <a:gd name="connsiteX138" fmla="*/ 665047 w 1247239"/>
              <a:gd name="connsiteY138" fmla="*/ 134882 h 528310"/>
              <a:gd name="connsiteX139" fmla="*/ 658586 w 1247239"/>
              <a:gd name="connsiteY139" fmla="*/ 134438 h 528310"/>
              <a:gd name="connsiteX140" fmla="*/ 625774 w 1247239"/>
              <a:gd name="connsiteY140" fmla="*/ 127851 h 528310"/>
              <a:gd name="connsiteX141" fmla="*/ 589921 w 1247239"/>
              <a:gd name="connsiteY141" fmla="*/ 119869 h 528310"/>
              <a:gd name="connsiteX142" fmla="*/ 570475 w 1247239"/>
              <a:gd name="connsiteY142" fmla="*/ 113535 h 528310"/>
              <a:gd name="connsiteX143" fmla="*/ 541210 w 1247239"/>
              <a:gd name="connsiteY143" fmla="*/ 106504 h 528310"/>
              <a:gd name="connsiteX144" fmla="*/ 527592 w 1247239"/>
              <a:gd name="connsiteY144" fmla="*/ 103526 h 528310"/>
              <a:gd name="connsiteX145" fmla="*/ 502634 w 1247239"/>
              <a:gd name="connsiteY145" fmla="*/ 96749 h 528310"/>
              <a:gd name="connsiteX146" fmla="*/ 460384 w 1247239"/>
              <a:gd name="connsiteY146" fmla="*/ 88007 h 528310"/>
              <a:gd name="connsiteX147" fmla="*/ 432828 w 1247239"/>
              <a:gd name="connsiteY147" fmla="*/ 82623 h 528310"/>
              <a:gd name="connsiteX148" fmla="*/ 403501 w 1247239"/>
              <a:gd name="connsiteY148" fmla="*/ 76035 h 528310"/>
              <a:gd name="connsiteX149" fmla="*/ 382470 w 1247239"/>
              <a:gd name="connsiteY149" fmla="*/ 70968 h 528310"/>
              <a:gd name="connsiteX150" fmla="*/ 343704 w 1247239"/>
              <a:gd name="connsiteY150" fmla="*/ 61214 h 528310"/>
              <a:gd name="connsiteX151" fmla="*/ 325144 w 1247239"/>
              <a:gd name="connsiteY151" fmla="*/ 57856 h 528310"/>
              <a:gd name="connsiteX152" fmla="*/ 325841 w 1247239"/>
              <a:gd name="connsiteY152" fmla="*/ 61846 h 528310"/>
              <a:gd name="connsiteX153" fmla="*/ 333885 w 1247239"/>
              <a:gd name="connsiteY153" fmla="*/ 64951 h 528310"/>
              <a:gd name="connsiteX154" fmla="*/ 394379 w 1247239"/>
              <a:gd name="connsiteY154" fmla="*/ 81419 h 528310"/>
              <a:gd name="connsiteX155" fmla="*/ 489078 w 1247239"/>
              <a:gd name="connsiteY155" fmla="*/ 103653 h 528310"/>
              <a:gd name="connsiteX156" fmla="*/ 521320 w 1247239"/>
              <a:gd name="connsiteY156" fmla="*/ 112585 h 528310"/>
              <a:gd name="connsiteX157" fmla="*/ 526513 w 1247239"/>
              <a:gd name="connsiteY157" fmla="*/ 113978 h 528310"/>
              <a:gd name="connsiteX158" fmla="*/ 584664 w 1247239"/>
              <a:gd name="connsiteY158" fmla="*/ 125823 h 528310"/>
              <a:gd name="connsiteX159" fmla="*/ 634958 w 1247239"/>
              <a:gd name="connsiteY159" fmla="*/ 138049 h 528310"/>
              <a:gd name="connsiteX160" fmla="*/ 636035 w 1247239"/>
              <a:gd name="connsiteY160" fmla="*/ 138302 h 528310"/>
              <a:gd name="connsiteX161" fmla="*/ 715975 w 1247239"/>
              <a:gd name="connsiteY161" fmla="*/ 156672 h 528310"/>
              <a:gd name="connsiteX162" fmla="*/ 781218 w 1247239"/>
              <a:gd name="connsiteY162" fmla="*/ 172065 h 528310"/>
              <a:gd name="connsiteX163" fmla="*/ 818973 w 1247239"/>
              <a:gd name="connsiteY163" fmla="*/ 182453 h 528310"/>
              <a:gd name="connsiteX164" fmla="*/ 820683 w 1247239"/>
              <a:gd name="connsiteY164" fmla="*/ 187965 h 528310"/>
              <a:gd name="connsiteX165" fmla="*/ 839496 w 1247239"/>
              <a:gd name="connsiteY165" fmla="*/ 187583 h 528310"/>
              <a:gd name="connsiteX166" fmla="*/ 870661 w 1247239"/>
              <a:gd name="connsiteY166" fmla="*/ 196452 h 528310"/>
              <a:gd name="connsiteX167" fmla="*/ 879187 w 1247239"/>
              <a:gd name="connsiteY167" fmla="*/ 200622 h 528310"/>
              <a:gd name="connsiteX168" fmla="*/ 876631 w 1247239"/>
              <a:gd name="connsiteY168" fmla="*/ 201503 h 528310"/>
              <a:gd name="connsiteX169" fmla="*/ 875537 w 1247239"/>
              <a:gd name="connsiteY169" fmla="*/ 204813 h 528310"/>
              <a:gd name="connsiteX170" fmla="*/ 888523 w 1247239"/>
              <a:gd name="connsiteY170" fmla="*/ 206523 h 528310"/>
              <a:gd name="connsiteX171" fmla="*/ 888270 w 1247239"/>
              <a:gd name="connsiteY171" fmla="*/ 206460 h 528310"/>
              <a:gd name="connsiteX172" fmla="*/ 895175 w 1247239"/>
              <a:gd name="connsiteY172" fmla="*/ 208170 h 528310"/>
              <a:gd name="connsiteX173" fmla="*/ 894984 w 1247239"/>
              <a:gd name="connsiteY173" fmla="*/ 208234 h 528310"/>
              <a:gd name="connsiteX174" fmla="*/ 908414 w 1247239"/>
              <a:gd name="connsiteY174" fmla="*/ 210135 h 528310"/>
              <a:gd name="connsiteX175" fmla="*/ 925818 w 1247239"/>
              <a:gd name="connsiteY175" fmla="*/ 215195 h 528310"/>
              <a:gd name="connsiteX176" fmla="*/ 908287 w 1247239"/>
              <a:gd name="connsiteY176" fmla="*/ 214949 h 528310"/>
              <a:gd name="connsiteX177" fmla="*/ 894731 w 1247239"/>
              <a:gd name="connsiteY177" fmla="*/ 213681 h 528310"/>
              <a:gd name="connsiteX178" fmla="*/ 896821 w 1247239"/>
              <a:gd name="connsiteY178" fmla="*/ 217925 h 528310"/>
              <a:gd name="connsiteX179" fmla="*/ 932927 w 1247239"/>
              <a:gd name="connsiteY179" fmla="*/ 228441 h 528310"/>
              <a:gd name="connsiteX180" fmla="*/ 944646 w 1247239"/>
              <a:gd name="connsiteY180" fmla="*/ 235091 h 528310"/>
              <a:gd name="connsiteX181" fmla="*/ 957061 w 1247239"/>
              <a:gd name="connsiteY181" fmla="*/ 240792 h 528310"/>
              <a:gd name="connsiteX182" fmla="*/ 981513 w 1247239"/>
              <a:gd name="connsiteY182" fmla="*/ 244657 h 528310"/>
              <a:gd name="connsiteX183" fmla="*/ 1004632 w 1247239"/>
              <a:gd name="connsiteY183" fmla="*/ 249787 h 528310"/>
              <a:gd name="connsiteX184" fmla="*/ 1041372 w 1247239"/>
              <a:gd name="connsiteY184" fmla="*/ 258022 h 528310"/>
              <a:gd name="connsiteX185" fmla="*/ 1045553 w 1247239"/>
              <a:gd name="connsiteY185" fmla="*/ 258846 h 528310"/>
              <a:gd name="connsiteX186" fmla="*/ 1076211 w 1247239"/>
              <a:gd name="connsiteY186" fmla="*/ 268727 h 528310"/>
              <a:gd name="connsiteX187" fmla="*/ 1090653 w 1247239"/>
              <a:gd name="connsiteY187" fmla="*/ 277722 h 528310"/>
              <a:gd name="connsiteX188" fmla="*/ 1090970 w 1247239"/>
              <a:gd name="connsiteY188" fmla="*/ 280319 h 528310"/>
              <a:gd name="connsiteX189" fmla="*/ 1087043 w 1247239"/>
              <a:gd name="connsiteY189" fmla="*/ 280762 h 528310"/>
              <a:gd name="connsiteX190" fmla="*/ 1079062 w 1247239"/>
              <a:gd name="connsiteY190" fmla="*/ 281649 h 528310"/>
              <a:gd name="connsiteX191" fmla="*/ 1068673 w 1247239"/>
              <a:gd name="connsiteY191" fmla="*/ 281460 h 528310"/>
              <a:gd name="connsiteX192" fmla="*/ 1039979 w 1247239"/>
              <a:gd name="connsiteY192" fmla="*/ 277468 h 528310"/>
              <a:gd name="connsiteX193" fmla="*/ 1035951 w 1247239"/>
              <a:gd name="connsiteY193" fmla="*/ 277765 h 528310"/>
              <a:gd name="connsiteX194" fmla="*/ 1047516 w 1247239"/>
              <a:gd name="connsiteY194" fmla="*/ 282156 h 528310"/>
              <a:gd name="connsiteX195" fmla="*/ 1058348 w 1247239"/>
              <a:gd name="connsiteY195" fmla="*/ 288364 h 528310"/>
              <a:gd name="connsiteX196" fmla="*/ 1049163 w 1247239"/>
              <a:gd name="connsiteY196" fmla="*/ 288806 h 528310"/>
              <a:gd name="connsiteX197" fmla="*/ 1049797 w 1247239"/>
              <a:gd name="connsiteY197" fmla="*/ 288364 h 528310"/>
              <a:gd name="connsiteX198" fmla="*/ 1033011 w 1247239"/>
              <a:gd name="connsiteY198" fmla="*/ 280952 h 528310"/>
              <a:gd name="connsiteX199" fmla="*/ 1030033 w 1247239"/>
              <a:gd name="connsiteY199" fmla="*/ 279749 h 528310"/>
              <a:gd name="connsiteX200" fmla="*/ 998805 w 1247239"/>
              <a:gd name="connsiteY200" fmla="*/ 269677 h 528310"/>
              <a:gd name="connsiteX201" fmla="*/ 950853 w 1247239"/>
              <a:gd name="connsiteY201" fmla="*/ 261949 h 528310"/>
              <a:gd name="connsiteX202" fmla="*/ 948954 w 1247239"/>
              <a:gd name="connsiteY202" fmla="*/ 262646 h 528310"/>
              <a:gd name="connsiteX203" fmla="*/ 952945 w 1247239"/>
              <a:gd name="connsiteY203" fmla="*/ 265307 h 528310"/>
              <a:gd name="connsiteX204" fmla="*/ 991014 w 1247239"/>
              <a:gd name="connsiteY204" fmla="*/ 273161 h 528310"/>
              <a:gd name="connsiteX205" fmla="*/ 1017174 w 1247239"/>
              <a:gd name="connsiteY205" fmla="*/ 279749 h 528310"/>
              <a:gd name="connsiteX206" fmla="*/ 1018252 w 1247239"/>
              <a:gd name="connsiteY206" fmla="*/ 281396 h 528310"/>
              <a:gd name="connsiteX207" fmla="*/ 1016289 w 1247239"/>
              <a:gd name="connsiteY207" fmla="*/ 283422 h 528310"/>
              <a:gd name="connsiteX208" fmla="*/ 1004759 w 1247239"/>
              <a:gd name="connsiteY208" fmla="*/ 282599 h 528310"/>
              <a:gd name="connsiteX209" fmla="*/ 1015401 w 1247239"/>
              <a:gd name="connsiteY209" fmla="*/ 287920 h 528310"/>
              <a:gd name="connsiteX210" fmla="*/ 1048657 w 1247239"/>
              <a:gd name="connsiteY210" fmla="*/ 296978 h 528310"/>
              <a:gd name="connsiteX211" fmla="*/ 1065443 w 1247239"/>
              <a:gd name="connsiteY211" fmla="*/ 301033 h 528310"/>
              <a:gd name="connsiteX212" fmla="*/ 1117321 w 1247239"/>
              <a:gd name="connsiteY212" fmla="*/ 311421 h 528310"/>
              <a:gd name="connsiteX213" fmla="*/ 1154441 w 1247239"/>
              <a:gd name="connsiteY213" fmla="*/ 326053 h 528310"/>
              <a:gd name="connsiteX214" fmla="*/ 1170403 w 1247239"/>
              <a:gd name="connsiteY214" fmla="*/ 332387 h 528310"/>
              <a:gd name="connsiteX215" fmla="*/ 1209866 w 1247239"/>
              <a:gd name="connsiteY215" fmla="*/ 343220 h 528310"/>
              <a:gd name="connsiteX216" fmla="*/ 1229503 w 1247239"/>
              <a:gd name="connsiteY216" fmla="*/ 349174 h 528310"/>
              <a:gd name="connsiteX217" fmla="*/ 1238815 w 1247239"/>
              <a:gd name="connsiteY217" fmla="*/ 352595 h 528310"/>
              <a:gd name="connsiteX218" fmla="*/ 1232543 w 1247239"/>
              <a:gd name="connsiteY218" fmla="*/ 353481 h 528310"/>
              <a:gd name="connsiteX219" fmla="*/ 1222915 w 1247239"/>
              <a:gd name="connsiteY219" fmla="*/ 352087 h 528310"/>
              <a:gd name="connsiteX220" fmla="*/ 1176611 w 1247239"/>
              <a:gd name="connsiteY220" fmla="*/ 341382 h 528310"/>
              <a:gd name="connsiteX221" fmla="*/ 1171480 w 1247239"/>
              <a:gd name="connsiteY221" fmla="*/ 341255 h 528310"/>
              <a:gd name="connsiteX222" fmla="*/ 1158241 w 1247239"/>
              <a:gd name="connsiteY222" fmla="*/ 340053 h 528310"/>
              <a:gd name="connsiteX223" fmla="*/ 1140822 w 1247239"/>
              <a:gd name="connsiteY223" fmla="*/ 334668 h 528310"/>
              <a:gd name="connsiteX224" fmla="*/ 1122008 w 1247239"/>
              <a:gd name="connsiteY224" fmla="*/ 329854 h 528310"/>
              <a:gd name="connsiteX225" fmla="*/ 1113584 w 1247239"/>
              <a:gd name="connsiteY225" fmla="*/ 328017 h 528310"/>
              <a:gd name="connsiteX226" fmla="*/ 1088183 w 1247239"/>
              <a:gd name="connsiteY226" fmla="*/ 323646 h 528310"/>
              <a:gd name="connsiteX227" fmla="*/ 1063669 w 1247239"/>
              <a:gd name="connsiteY227" fmla="*/ 319782 h 528310"/>
              <a:gd name="connsiteX228" fmla="*/ 1037255 w 1247239"/>
              <a:gd name="connsiteY228" fmla="*/ 314271 h 528310"/>
              <a:gd name="connsiteX229" fmla="*/ 1031491 w 1247239"/>
              <a:gd name="connsiteY229" fmla="*/ 314018 h 528310"/>
              <a:gd name="connsiteX230" fmla="*/ 1032757 w 1247239"/>
              <a:gd name="connsiteY230" fmla="*/ 318071 h 528310"/>
              <a:gd name="connsiteX231" fmla="*/ 1048150 w 1247239"/>
              <a:gd name="connsiteY231" fmla="*/ 323012 h 528310"/>
              <a:gd name="connsiteX232" fmla="*/ 1082925 w 1247239"/>
              <a:gd name="connsiteY232" fmla="*/ 330804 h 528310"/>
              <a:gd name="connsiteX233" fmla="*/ 1094581 w 1247239"/>
              <a:gd name="connsiteY233" fmla="*/ 332704 h 528310"/>
              <a:gd name="connsiteX234" fmla="*/ 1098824 w 1247239"/>
              <a:gd name="connsiteY234" fmla="*/ 333401 h 528310"/>
              <a:gd name="connsiteX235" fmla="*/ 1138605 w 1247239"/>
              <a:gd name="connsiteY235" fmla="*/ 343346 h 528310"/>
              <a:gd name="connsiteX236" fmla="*/ 1139682 w 1247239"/>
              <a:gd name="connsiteY236" fmla="*/ 343536 h 528310"/>
              <a:gd name="connsiteX237" fmla="*/ 1179651 w 1247239"/>
              <a:gd name="connsiteY237" fmla="*/ 356394 h 528310"/>
              <a:gd name="connsiteX238" fmla="*/ 1183887 w 1247239"/>
              <a:gd name="connsiteY238" fmla="*/ 358947 h 528310"/>
              <a:gd name="connsiteX239" fmla="*/ 1164006 w 1247239"/>
              <a:gd name="connsiteY239" fmla="*/ 356648 h 528310"/>
              <a:gd name="connsiteX240" fmla="*/ 1095214 w 1247239"/>
              <a:gd name="connsiteY240" fmla="*/ 342840 h 528310"/>
              <a:gd name="connsiteX241" fmla="*/ 1076084 w 1247239"/>
              <a:gd name="connsiteY241" fmla="*/ 338785 h 528310"/>
              <a:gd name="connsiteX242" fmla="*/ 1079505 w 1247239"/>
              <a:gd name="connsiteY242" fmla="*/ 341952 h 528310"/>
              <a:gd name="connsiteX243" fmla="*/ 1094897 w 1247239"/>
              <a:gd name="connsiteY243" fmla="*/ 349237 h 528310"/>
              <a:gd name="connsiteX244" fmla="*/ 1107566 w 1247239"/>
              <a:gd name="connsiteY244" fmla="*/ 355065 h 528310"/>
              <a:gd name="connsiteX245" fmla="*/ 1130497 w 1247239"/>
              <a:gd name="connsiteY245" fmla="*/ 368683 h 528310"/>
              <a:gd name="connsiteX246" fmla="*/ 1161345 w 1247239"/>
              <a:gd name="connsiteY246" fmla="*/ 388130 h 528310"/>
              <a:gd name="connsiteX247" fmla="*/ 1169643 w 1247239"/>
              <a:gd name="connsiteY247" fmla="*/ 390093 h 528310"/>
              <a:gd name="connsiteX248" fmla="*/ 1177307 w 1247239"/>
              <a:gd name="connsiteY248" fmla="*/ 392374 h 528310"/>
              <a:gd name="connsiteX249" fmla="*/ 1158749 w 1247239"/>
              <a:gd name="connsiteY249" fmla="*/ 391107 h 528310"/>
              <a:gd name="connsiteX250" fmla="*/ 1140632 w 1247239"/>
              <a:gd name="connsiteY250" fmla="*/ 387939 h 528310"/>
              <a:gd name="connsiteX251" fmla="*/ 1123593 w 1247239"/>
              <a:gd name="connsiteY251" fmla="*/ 384963 h 528310"/>
              <a:gd name="connsiteX252" fmla="*/ 1106235 w 1247239"/>
              <a:gd name="connsiteY252" fmla="*/ 381669 h 528310"/>
              <a:gd name="connsiteX253" fmla="*/ 1109213 w 1247239"/>
              <a:gd name="connsiteY253" fmla="*/ 387497 h 528310"/>
              <a:gd name="connsiteX254" fmla="*/ 1102435 w 1247239"/>
              <a:gd name="connsiteY254" fmla="*/ 389523 h 528310"/>
              <a:gd name="connsiteX255" fmla="*/ 1117013 w 1247239"/>
              <a:gd name="connsiteY255" fmla="*/ 395772 h 528310"/>
              <a:gd name="connsiteX256" fmla="*/ 1116050 w 1247239"/>
              <a:gd name="connsiteY256" fmla="*/ 397644 h 528310"/>
              <a:gd name="connsiteX257" fmla="*/ 1120806 w 1247239"/>
              <a:gd name="connsiteY257" fmla="*/ 398138 h 528310"/>
              <a:gd name="connsiteX258" fmla="*/ 1120679 w 1247239"/>
              <a:gd name="connsiteY258" fmla="*/ 398201 h 528310"/>
              <a:gd name="connsiteX259" fmla="*/ 1148803 w 1247239"/>
              <a:gd name="connsiteY259" fmla="*/ 404789 h 528310"/>
              <a:gd name="connsiteX260" fmla="*/ 1157102 w 1247239"/>
              <a:gd name="connsiteY260" fmla="*/ 406627 h 528310"/>
              <a:gd name="connsiteX261" fmla="*/ 1170530 w 1247239"/>
              <a:gd name="connsiteY261" fmla="*/ 409414 h 528310"/>
              <a:gd name="connsiteX262" fmla="*/ 1176611 w 1247239"/>
              <a:gd name="connsiteY262" fmla="*/ 411061 h 528310"/>
              <a:gd name="connsiteX263" fmla="*/ 1201061 w 1247239"/>
              <a:gd name="connsiteY263" fmla="*/ 419169 h 528310"/>
              <a:gd name="connsiteX264" fmla="*/ 1235330 w 1247239"/>
              <a:gd name="connsiteY264" fmla="*/ 428226 h 528310"/>
              <a:gd name="connsiteX265" fmla="*/ 1246709 w 1247239"/>
              <a:gd name="connsiteY265" fmla="*/ 432826 h 528310"/>
              <a:gd name="connsiteX266" fmla="*/ 1230327 w 1247239"/>
              <a:gd name="connsiteY266" fmla="*/ 430126 h 528310"/>
              <a:gd name="connsiteX267" fmla="*/ 1168123 w 1247239"/>
              <a:gd name="connsiteY267" fmla="*/ 416001 h 528310"/>
              <a:gd name="connsiteX268" fmla="*/ 1150259 w 1247239"/>
              <a:gd name="connsiteY268" fmla="*/ 411757 h 528310"/>
              <a:gd name="connsiteX269" fmla="*/ 1134423 w 1247239"/>
              <a:gd name="connsiteY269" fmla="*/ 411250 h 528310"/>
              <a:gd name="connsiteX270" fmla="*/ 1131383 w 1247239"/>
              <a:gd name="connsiteY270" fmla="*/ 410934 h 528310"/>
              <a:gd name="connsiteX271" fmla="*/ 1112443 w 1247239"/>
              <a:gd name="connsiteY271" fmla="*/ 409730 h 528310"/>
              <a:gd name="connsiteX272" fmla="*/ 1115547 w 1247239"/>
              <a:gd name="connsiteY272" fmla="*/ 411693 h 528310"/>
              <a:gd name="connsiteX273" fmla="*/ 1137591 w 1247239"/>
              <a:gd name="connsiteY273" fmla="*/ 416951 h 528310"/>
              <a:gd name="connsiteX274" fmla="*/ 1151336 w 1247239"/>
              <a:gd name="connsiteY274" fmla="*/ 419675 h 528310"/>
              <a:gd name="connsiteX275" fmla="*/ 1198275 w 1247239"/>
              <a:gd name="connsiteY275" fmla="*/ 432343 h 528310"/>
              <a:gd name="connsiteX276" fmla="*/ 1204673 w 1247239"/>
              <a:gd name="connsiteY276" fmla="*/ 436017 h 528310"/>
              <a:gd name="connsiteX277" fmla="*/ 1190040 w 1247239"/>
              <a:gd name="connsiteY277" fmla="*/ 433737 h 528310"/>
              <a:gd name="connsiteX278" fmla="*/ 1175090 w 1247239"/>
              <a:gd name="connsiteY278" fmla="*/ 431330 h 528310"/>
              <a:gd name="connsiteX279" fmla="*/ 1161472 w 1247239"/>
              <a:gd name="connsiteY279" fmla="*/ 427910 h 528310"/>
              <a:gd name="connsiteX280" fmla="*/ 1147092 w 1247239"/>
              <a:gd name="connsiteY280" fmla="*/ 425630 h 528310"/>
              <a:gd name="connsiteX281" fmla="*/ 1156720 w 1247239"/>
              <a:gd name="connsiteY281" fmla="*/ 430951 h 528310"/>
              <a:gd name="connsiteX282" fmla="*/ 1165399 w 1247239"/>
              <a:gd name="connsiteY282" fmla="*/ 435257 h 528310"/>
              <a:gd name="connsiteX283" fmla="*/ 1179335 w 1247239"/>
              <a:gd name="connsiteY283" fmla="*/ 441149 h 528310"/>
              <a:gd name="connsiteX284" fmla="*/ 1189723 w 1247239"/>
              <a:gd name="connsiteY284" fmla="*/ 454324 h 528310"/>
              <a:gd name="connsiteX285" fmla="*/ 1180222 w 1247239"/>
              <a:gd name="connsiteY285" fmla="*/ 449257 h 528310"/>
              <a:gd name="connsiteX286" fmla="*/ 1171291 w 1247239"/>
              <a:gd name="connsiteY286" fmla="*/ 445455 h 528310"/>
              <a:gd name="connsiteX287" fmla="*/ 1158937 w 1247239"/>
              <a:gd name="connsiteY287" fmla="*/ 442605 h 528310"/>
              <a:gd name="connsiteX288" fmla="*/ 1148169 w 1247239"/>
              <a:gd name="connsiteY288" fmla="*/ 435638 h 528310"/>
              <a:gd name="connsiteX289" fmla="*/ 1110481 w 1247239"/>
              <a:gd name="connsiteY289" fmla="*/ 422145 h 528310"/>
              <a:gd name="connsiteX290" fmla="*/ 1107313 w 1247239"/>
              <a:gd name="connsiteY290" fmla="*/ 421385 h 528310"/>
              <a:gd name="connsiteX291" fmla="*/ 1101295 w 1247239"/>
              <a:gd name="connsiteY291" fmla="*/ 422588 h 528310"/>
              <a:gd name="connsiteX292" fmla="*/ 1100092 w 1247239"/>
              <a:gd name="connsiteY292" fmla="*/ 430570 h 528310"/>
              <a:gd name="connsiteX293" fmla="*/ 1111367 w 1247239"/>
              <a:gd name="connsiteY293" fmla="*/ 441782 h 528310"/>
              <a:gd name="connsiteX294" fmla="*/ 1121249 w 1247239"/>
              <a:gd name="connsiteY294" fmla="*/ 446026 h 528310"/>
              <a:gd name="connsiteX295" fmla="*/ 1145636 w 1247239"/>
              <a:gd name="connsiteY295" fmla="*/ 454831 h 528310"/>
              <a:gd name="connsiteX296" fmla="*/ 1157038 w 1247239"/>
              <a:gd name="connsiteY296" fmla="*/ 458251 h 528310"/>
              <a:gd name="connsiteX297" fmla="*/ 1166750 w 1247239"/>
              <a:gd name="connsiteY297" fmla="*/ 461388 h 528310"/>
              <a:gd name="connsiteX298" fmla="*/ 1154385 w 1247239"/>
              <a:gd name="connsiteY298" fmla="*/ 462227 h 528310"/>
              <a:gd name="connsiteX299" fmla="*/ 1141772 w 1247239"/>
              <a:gd name="connsiteY299" fmla="*/ 459772 h 528310"/>
              <a:gd name="connsiteX300" fmla="*/ 1125936 w 1247239"/>
              <a:gd name="connsiteY300" fmla="*/ 456224 h 528310"/>
              <a:gd name="connsiteX301" fmla="*/ 1120931 w 1247239"/>
              <a:gd name="connsiteY301" fmla="*/ 458125 h 528310"/>
              <a:gd name="connsiteX302" fmla="*/ 1134423 w 1247239"/>
              <a:gd name="connsiteY302" fmla="*/ 465979 h 528310"/>
              <a:gd name="connsiteX303" fmla="*/ 1115674 w 1247239"/>
              <a:gd name="connsiteY303" fmla="*/ 462812 h 528310"/>
              <a:gd name="connsiteX304" fmla="*/ 1116244 w 1247239"/>
              <a:gd name="connsiteY304" fmla="*/ 466992 h 528310"/>
              <a:gd name="connsiteX305" fmla="*/ 1125239 w 1247239"/>
              <a:gd name="connsiteY305" fmla="*/ 474530 h 528310"/>
              <a:gd name="connsiteX306" fmla="*/ 1134361 w 1247239"/>
              <a:gd name="connsiteY306" fmla="*/ 480105 h 528310"/>
              <a:gd name="connsiteX307" fmla="*/ 1156214 w 1247239"/>
              <a:gd name="connsiteY307" fmla="*/ 489480 h 528310"/>
              <a:gd name="connsiteX308" fmla="*/ 1176421 w 1247239"/>
              <a:gd name="connsiteY308" fmla="*/ 500375 h 528310"/>
              <a:gd name="connsiteX309" fmla="*/ 1166730 w 1247239"/>
              <a:gd name="connsiteY309" fmla="*/ 504746 h 528310"/>
              <a:gd name="connsiteX310" fmla="*/ 1169116 w 1247239"/>
              <a:gd name="connsiteY310" fmla="*/ 506716 h 528310"/>
              <a:gd name="connsiteX311" fmla="*/ 1177625 w 1247239"/>
              <a:gd name="connsiteY311" fmla="*/ 513740 h 528310"/>
              <a:gd name="connsiteX312" fmla="*/ 1189470 w 1247239"/>
              <a:gd name="connsiteY312" fmla="*/ 521342 h 528310"/>
              <a:gd name="connsiteX313" fmla="*/ 1203215 w 1247239"/>
              <a:gd name="connsiteY313" fmla="*/ 528310 h 528310"/>
              <a:gd name="connsiteX314" fmla="*/ 1185542 w 1247239"/>
              <a:gd name="connsiteY314" fmla="*/ 524002 h 528310"/>
              <a:gd name="connsiteX315" fmla="*/ 1177245 w 1247239"/>
              <a:gd name="connsiteY315" fmla="*/ 518998 h 528310"/>
              <a:gd name="connsiteX316" fmla="*/ 1164133 w 1247239"/>
              <a:gd name="connsiteY316" fmla="*/ 511840 h 528310"/>
              <a:gd name="connsiteX317" fmla="*/ 1159572 w 1247239"/>
              <a:gd name="connsiteY317" fmla="*/ 509116 h 528310"/>
              <a:gd name="connsiteX318" fmla="*/ 1154758 w 1247239"/>
              <a:gd name="connsiteY318" fmla="*/ 506900 h 528310"/>
              <a:gd name="connsiteX319" fmla="*/ 1153701 w 1247239"/>
              <a:gd name="connsiteY319" fmla="*/ 506716 h 528310"/>
              <a:gd name="connsiteX320" fmla="*/ 1124007 w 1247239"/>
              <a:gd name="connsiteY320" fmla="*/ 506716 h 528310"/>
              <a:gd name="connsiteX321" fmla="*/ 75765 w 1247239"/>
              <a:gd name="connsiteY321" fmla="*/ 506716 h 528310"/>
              <a:gd name="connsiteX322" fmla="*/ 63914 w 1247239"/>
              <a:gd name="connsiteY322" fmla="*/ 504619 h 528310"/>
              <a:gd name="connsiteX323" fmla="*/ 57454 w 1247239"/>
              <a:gd name="connsiteY323" fmla="*/ 501832 h 528310"/>
              <a:gd name="connsiteX324" fmla="*/ 60684 w 1247239"/>
              <a:gd name="connsiteY324" fmla="*/ 499361 h 528310"/>
              <a:gd name="connsiteX325" fmla="*/ 73606 w 1247239"/>
              <a:gd name="connsiteY325" fmla="*/ 500501 h 528310"/>
              <a:gd name="connsiteX326" fmla="*/ 84701 w 1247239"/>
              <a:gd name="connsiteY326" fmla="*/ 498907 h 528310"/>
              <a:gd name="connsiteX327" fmla="*/ 75950 w 1247239"/>
              <a:gd name="connsiteY327" fmla="*/ 496130 h 528310"/>
              <a:gd name="connsiteX328" fmla="*/ 19447 w 1247239"/>
              <a:gd name="connsiteY328" fmla="*/ 487770 h 528310"/>
              <a:gd name="connsiteX329" fmla="*/ 8679 w 1247239"/>
              <a:gd name="connsiteY329" fmla="*/ 487200 h 528310"/>
              <a:gd name="connsiteX330" fmla="*/ 0 w 1247239"/>
              <a:gd name="connsiteY330" fmla="*/ 486503 h 528310"/>
              <a:gd name="connsiteX331" fmla="*/ 8742 w 1247239"/>
              <a:gd name="connsiteY331" fmla="*/ 483525 h 528310"/>
              <a:gd name="connsiteX332" fmla="*/ 16661 w 1247239"/>
              <a:gd name="connsiteY332" fmla="*/ 478711 h 528310"/>
              <a:gd name="connsiteX333" fmla="*/ 22171 w 1247239"/>
              <a:gd name="connsiteY333" fmla="*/ 479534 h 528310"/>
              <a:gd name="connsiteX334" fmla="*/ 27872 w 1247239"/>
              <a:gd name="connsiteY334" fmla="*/ 482639 h 528310"/>
              <a:gd name="connsiteX335" fmla="*/ 17293 w 1247239"/>
              <a:gd name="connsiteY335" fmla="*/ 483019 h 528310"/>
              <a:gd name="connsiteX336" fmla="*/ 32686 w 1247239"/>
              <a:gd name="connsiteY336" fmla="*/ 485362 h 528310"/>
              <a:gd name="connsiteX337" fmla="*/ 43012 w 1247239"/>
              <a:gd name="connsiteY337" fmla="*/ 485932 h 528310"/>
              <a:gd name="connsiteX338" fmla="*/ 45988 w 1247239"/>
              <a:gd name="connsiteY338" fmla="*/ 485807 h 528310"/>
              <a:gd name="connsiteX339" fmla="*/ 65118 w 1247239"/>
              <a:gd name="connsiteY339" fmla="*/ 485932 h 528310"/>
              <a:gd name="connsiteX340" fmla="*/ 98480 w 1247239"/>
              <a:gd name="connsiteY340" fmla="*/ 489508 h 528310"/>
              <a:gd name="connsiteX341" fmla="*/ 71199 w 1247239"/>
              <a:gd name="connsiteY341" fmla="*/ 478458 h 528310"/>
              <a:gd name="connsiteX342" fmla="*/ 76457 w 1247239"/>
              <a:gd name="connsiteY342" fmla="*/ 475227 h 528310"/>
              <a:gd name="connsiteX343" fmla="*/ 89505 w 1247239"/>
              <a:gd name="connsiteY343" fmla="*/ 470920 h 528310"/>
              <a:gd name="connsiteX344" fmla="*/ 94574 w 1247239"/>
              <a:gd name="connsiteY344" fmla="*/ 469970 h 528310"/>
              <a:gd name="connsiteX345" fmla="*/ 106165 w 1247239"/>
              <a:gd name="connsiteY345" fmla="*/ 466803 h 528310"/>
              <a:gd name="connsiteX346" fmla="*/ 103504 w 1247239"/>
              <a:gd name="connsiteY346" fmla="*/ 462939 h 528310"/>
              <a:gd name="connsiteX347" fmla="*/ 102491 w 1247239"/>
              <a:gd name="connsiteY347" fmla="*/ 462622 h 528310"/>
              <a:gd name="connsiteX348" fmla="*/ 77154 w 1247239"/>
              <a:gd name="connsiteY348" fmla="*/ 454577 h 528310"/>
              <a:gd name="connsiteX349" fmla="*/ 69932 w 1247239"/>
              <a:gd name="connsiteY349" fmla="*/ 452424 h 528310"/>
              <a:gd name="connsiteX350" fmla="*/ 44151 w 1247239"/>
              <a:gd name="connsiteY350" fmla="*/ 445076 h 528310"/>
              <a:gd name="connsiteX351" fmla="*/ 23122 w 1247239"/>
              <a:gd name="connsiteY351" fmla="*/ 440388 h 528310"/>
              <a:gd name="connsiteX352" fmla="*/ 15140 w 1247239"/>
              <a:gd name="connsiteY352" fmla="*/ 437855 h 528310"/>
              <a:gd name="connsiteX353" fmla="*/ 22568 w 1247239"/>
              <a:gd name="connsiteY353" fmla="*/ 435707 h 528310"/>
              <a:gd name="connsiteX354" fmla="*/ 8299 w 1247239"/>
              <a:gd name="connsiteY354" fmla="*/ 428353 h 528310"/>
              <a:gd name="connsiteX355" fmla="*/ 22430 w 1247239"/>
              <a:gd name="connsiteY355" fmla="*/ 427854 h 528310"/>
              <a:gd name="connsiteX356" fmla="*/ 17498 w 1247239"/>
              <a:gd name="connsiteY356" fmla="*/ 424662 h 528310"/>
              <a:gd name="connsiteX357" fmla="*/ 44788 w 1247239"/>
              <a:gd name="connsiteY357" fmla="*/ 429325 h 528310"/>
              <a:gd name="connsiteX358" fmla="*/ 44786 w 1247239"/>
              <a:gd name="connsiteY358" fmla="*/ 429303 h 528310"/>
              <a:gd name="connsiteX359" fmla="*/ 55490 w 1247239"/>
              <a:gd name="connsiteY359" fmla="*/ 429494 h 528310"/>
              <a:gd name="connsiteX360" fmla="*/ 77851 w 1247239"/>
              <a:gd name="connsiteY360" fmla="*/ 433104 h 528310"/>
              <a:gd name="connsiteX361" fmla="*/ 102491 w 1247239"/>
              <a:gd name="connsiteY361" fmla="*/ 435574 h 528310"/>
              <a:gd name="connsiteX362" fmla="*/ 105232 w 1247239"/>
              <a:gd name="connsiteY362" fmla="*/ 434660 h 528310"/>
              <a:gd name="connsiteX363" fmla="*/ 63662 w 1247239"/>
              <a:gd name="connsiteY363" fmla="*/ 422018 h 528310"/>
              <a:gd name="connsiteX364" fmla="*/ 76330 w 1247239"/>
              <a:gd name="connsiteY364" fmla="*/ 421512 h 528310"/>
              <a:gd name="connsiteX365" fmla="*/ 113640 w 1247239"/>
              <a:gd name="connsiteY365" fmla="*/ 426516 h 528310"/>
              <a:gd name="connsiteX366" fmla="*/ 120671 w 1247239"/>
              <a:gd name="connsiteY366" fmla="*/ 425882 h 528310"/>
              <a:gd name="connsiteX367" fmla="*/ 109206 w 1247239"/>
              <a:gd name="connsiteY367" fmla="*/ 421385 h 528310"/>
              <a:gd name="connsiteX368" fmla="*/ 99958 w 1247239"/>
              <a:gd name="connsiteY368" fmla="*/ 416888 h 528310"/>
              <a:gd name="connsiteX369" fmla="*/ 103631 w 1247239"/>
              <a:gd name="connsiteY369" fmla="*/ 413658 h 528310"/>
              <a:gd name="connsiteX370" fmla="*/ 117060 w 1247239"/>
              <a:gd name="connsiteY370" fmla="*/ 413467 h 528310"/>
              <a:gd name="connsiteX371" fmla="*/ 108192 w 1247239"/>
              <a:gd name="connsiteY371" fmla="*/ 410870 h 528310"/>
              <a:gd name="connsiteX372" fmla="*/ 59544 w 1247239"/>
              <a:gd name="connsiteY372" fmla="*/ 401432 h 528310"/>
              <a:gd name="connsiteX373" fmla="*/ 48087 w 1247239"/>
              <a:gd name="connsiteY373" fmla="*/ 397574 h 528310"/>
              <a:gd name="connsiteX374" fmla="*/ 74114 w 1247239"/>
              <a:gd name="connsiteY374" fmla="*/ 399912 h 528310"/>
              <a:gd name="connsiteX375" fmla="*/ 105087 w 1247239"/>
              <a:gd name="connsiteY375" fmla="*/ 404346 h 528310"/>
              <a:gd name="connsiteX376" fmla="*/ 115857 w 1247239"/>
              <a:gd name="connsiteY376" fmla="*/ 404980 h 528310"/>
              <a:gd name="connsiteX377" fmla="*/ 135113 w 1247239"/>
              <a:gd name="connsiteY377" fmla="*/ 404282 h 528310"/>
              <a:gd name="connsiteX378" fmla="*/ 137900 w 1247239"/>
              <a:gd name="connsiteY378" fmla="*/ 402826 h 528310"/>
              <a:gd name="connsiteX379" fmla="*/ 128842 w 1247239"/>
              <a:gd name="connsiteY379" fmla="*/ 396175 h 528310"/>
              <a:gd name="connsiteX380" fmla="*/ 104392 w 1247239"/>
              <a:gd name="connsiteY380" fmla="*/ 391740 h 528310"/>
              <a:gd name="connsiteX381" fmla="*/ 44974 w 1247239"/>
              <a:gd name="connsiteY381" fmla="*/ 380528 h 528310"/>
              <a:gd name="connsiteX382" fmla="*/ 42125 w 1247239"/>
              <a:gd name="connsiteY382" fmla="*/ 379072 h 528310"/>
              <a:gd name="connsiteX383" fmla="*/ 49346 w 1247239"/>
              <a:gd name="connsiteY383" fmla="*/ 378375 h 528310"/>
              <a:gd name="connsiteX384" fmla="*/ 106989 w 1247239"/>
              <a:gd name="connsiteY384" fmla="*/ 387116 h 528310"/>
              <a:gd name="connsiteX385" fmla="*/ 138154 w 1247239"/>
              <a:gd name="connsiteY385" fmla="*/ 387433 h 528310"/>
              <a:gd name="connsiteX386" fmla="*/ 142651 w 1247239"/>
              <a:gd name="connsiteY386" fmla="*/ 385786 h 528310"/>
              <a:gd name="connsiteX387" fmla="*/ 140434 w 1247239"/>
              <a:gd name="connsiteY387" fmla="*/ 380908 h 528310"/>
              <a:gd name="connsiteX388" fmla="*/ 105785 w 1247239"/>
              <a:gd name="connsiteY388" fmla="*/ 369190 h 528310"/>
              <a:gd name="connsiteX389" fmla="*/ 89886 w 1247239"/>
              <a:gd name="connsiteY389" fmla="*/ 366087 h 528310"/>
              <a:gd name="connsiteX390" fmla="*/ 68573 w 1247239"/>
              <a:gd name="connsiteY390" fmla="*/ 356899 h 528310"/>
              <a:gd name="connsiteX391" fmla="*/ 87479 w 1247239"/>
              <a:gd name="connsiteY391" fmla="*/ 356712 h 528310"/>
              <a:gd name="connsiteX392" fmla="*/ 114020 w 1247239"/>
              <a:gd name="connsiteY392" fmla="*/ 355128 h 528310"/>
              <a:gd name="connsiteX393" fmla="*/ 121431 w 1247239"/>
              <a:gd name="connsiteY393" fmla="*/ 355001 h 528310"/>
              <a:gd name="connsiteX394" fmla="*/ 142587 w 1247239"/>
              <a:gd name="connsiteY394" fmla="*/ 346007 h 528310"/>
              <a:gd name="connsiteX395" fmla="*/ 144044 w 1247239"/>
              <a:gd name="connsiteY395" fmla="*/ 342332 h 528310"/>
              <a:gd name="connsiteX396" fmla="*/ 148859 w 1247239"/>
              <a:gd name="connsiteY396" fmla="*/ 335491 h 528310"/>
              <a:gd name="connsiteX397" fmla="*/ 156586 w 1247239"/>
              <a:gd name="connsiteY397" fmla="*/ 334287 h 528310"/>
              <a:gd name="connsiteX398" fmla="*/ 156958 w 1247239"/>
              <a:gd name="connsiteY398" fmla="*/ 326365 h 528310"/>
              <a:gd name="connsiteX399" fmla="*/ 149938 w 1247239"/>
              <a:gd name="connsiteY399" fmla="*/ 321808 h 528310"/>
              <a:gd name="connsiteX400" fmla="*/ 173183 w 1247239"/>
              <a:gd name="connsiteY400" fmla="*/ 321619 h 528310"/>
              <a:gd name="connsiteX401" fmla="*/ 186738 w 1247239"/>
              <a:gd name="connsiteY401" fmla="*/ 321429 h 528310"/>
              <a:gd name="connsiteX402" fmla="*/ 185091 w 1247239"/>
              <a:gd name="connsiteY402" fmla="*/ 317565 h 528310"/>
              <a:gd name="connsiteX403" fmla="*/ 179707 w 1247239"/>
              <a:gd name="connsiteY403" fmla="*/ 307494 h 528310"/>
              <a:gd name="connsiteX404" fmla="*/ 183508 w 1247239"/>
              <a:gd name="connsiteY404" fmla="*/ 304200 h 528310"/>
              <a:gd name="connsiteX405" fmla="*/ 181987 w 1247239"/>
              <a:gd name="connsiteY405" fmla="*/ 299004 h 528310"/>
              <a:gd name="connsiteX406" fmla="*/ 194847 w 1247239"/>
              <a:gd name="connsiteY406" fmla="*/ 297928 h 528310"/>
              <a:gd name="connsiteX407" fmla="*/ 201371 w 1247239"/>
              <a:gd name="connsiteY407" fmla="*/ 292355 h 528310"/>
              <a:gd name="connsiteX408" fmla="*/ 190095 w 1247239"/>
              <a:gd name="connsiteY408" fmla="*/ 286527 h 528310"/>
              <a:gd name="connsiteX409" fmla="*/ 197253 w 1247239"/>
              <a:gd name="connsiteY409" fmla="*/ 282980 h 528310"/>
              <a:gd name="connsiteX410" fmla="*/ 196430 w 1247239"/>
              <a:gd name="connsiteY410" fmla="*/ 280952 h 528310"/>
              <a:gd name="connsiteX411" fmla="*/ 178567 w 1247239"/>
              <a:gd name="connsiteY411" fmla="*/ 277405 h 528310"/>
              <a:gd name="connsiteX412" fmla="*/ 167796 w 1247239"/>
              <a:gd name="connsiteY412" fmla="*/ 273979 h 528310"/>
              <a:gd name="connsiteX413" fmla="*/ 178124 w 1247239"/>
              <a:gd name="connsiteY413" fmla="*/ 273794 h 528310"/>
              <a:gd name="connsiteX414" fmla="*/ 191489 w 1247239"/>
              <a:gd name="connsiteY414" fmla="*/ 271261 h 528310"/>
              <a:gd name="connsiteX415" fmla="*/ 200801 w 1247239"/>
              <a:gd name="connsiteY415" fmla="*/ 270310 h 528310"/>
              <a:gd name="connsiteX416" fmla="*/ 213018 w 1247239"/>
              <a:gd name="connsiteY416" fmla="*/ 269883 h 528310"/>
              <a:gd name="connsiteX417" fmla="*/ 199534 w 1247239"/>
              <a:gd name="connsiteY417" fmla="*/ 264673 h 528310"/>
              <a:gd name="connsiteX418" fmla="*/ 153673 w 1247239"/>
              <a:gd name="connsiteY418" fmla="*/ 258022 h 528310"/>
              <a:gd name="connsiteX419" fmla="*/ 137519 w 1247239"/>
              <a:gd name="connsiteY419" fmla="*/ 256882 h 528310"/>
              <a:gd name="connsiteX420" fmla="*/ 124725 w 1247239"/>
              <a:gd name="connsiteY420" fmla="*/ 255109 h 528310"/>
              <a:gd name="connsiteX421" fmla="*/ 121114 w 1247239"/>
              <a:gd name="connsiteY421" fmla="*/ 251624 h 528310"/>
              <a:gd name="connsiteX422" fmla="*/ 137900 w 1247239"/>
              <a:gd name="connsiteY422" fmla="*/ 249344 h 528310"/>
              <a:gd name="connsiteX423" fmla="*/ 152976 w 1247239"/>
              <a:gd name="connsiteY423" fmla="*/ 248647 h 528310"/>
              <a:gd name="connsiteX424" fmla="*/ 159463 w 1247239"/>
              <a:gd name="connsiteY424" fmla="*/ 245744 h 528310"/>
              <a:gd name="connsiteX425" fmla="*/ 146072 w 1247239"/>
              <a:gd name="connsiteY425" fmla="*/ 242630 h 528310"/>
              <a:gd name="connsiteX426" fmla="*/ 62521 w 1247239"/>
              <a:gd name="connsiteY426" fmla="*/ 233064 h 528310"/>
              <a:gd name="connsiteX427" fmla="*/ 33890 w 1247239"/>
              <a:gd name="connsiteY427" fmla="*/ 230467 h 528310"/>
              <a:gd name="connsiteX428" fmla="*/ 37880 w 1247239"/>
              <a:gd name="connsiteY428" fmla="*/ 226287 h 528310"/>
              <a:gd name="connsiteX429" fmla="*/ 67019 w 1247239"/>
              <a:gd name="connsiteY429" fmla="*/ 226983 h 528310"/>
              <a:gd name="connsiteX430" fmla="*/ 98183 w 1247239"/>
              <a:gd name="connsiteY430" fmla="*/ 229517 h 528310"/>
              <a:gd name="connsiteX431" fmla="*/ 107875 w 1247239"/>
              <a:gd name="connsiteY431" fmla="*/ 229897 h 528310"/>
              <a:gd name="connsiteX432" fmla="*/ 117657 w 1247239"/>
              <a:gd name="connsiteY432" fmla="*/ 226678 h 528310"/>
              <a:gd name="connsiteX433" fmla="*/ 98887 w 1247239"/>
              <a:gd name="connsiteY433" fmla="*/ 217078 h 528310"/>
              <a:gd name="connsiteX434" fmla="*/ 110219 w 1247239"/>
              <a:gd name="connsiteY434" fmla="*/ 216215 h 528310"/>
              <a:gd name="connsiteX435" fmla="*/ 133973 w 1247239"/>
              <a:gd name="connsiteY435" fmla="*/ 217355 h 528310"/>
              <a:gd name="connsiteX436" fmla="*/ 144677 w 1247239"/>
              <a:gd name="connsiteY436" fmla="*/ 218495 h 528310"/>
              <a:gd name="connsiteX437" fmla="*/ 153103 w 1247239"/>
              <a:gd name="connsiteY437" fmla="*/ 217925 h 528310"/>
              <a:gd name="connsiteX438" fmla="*/ 165391 w 1247239"/>
              <a:gd name="connsiteY438" fmla="*/ 216025 h 528310"/>
              <a:gd name="connsiteX439" fmla="*/ 185851 w 1247239"/>
              <a:gd name="connsiteY439" fmla="*/ 217798 h 528310"/>
              <a:gd name="connsiteX440" fmla="*/ 204602 w 1247239"/>
              <a:gd name="connsiteY440" fmla="*/ 215328 h 528310"/>
              <a:gd name="connsiteX441" fmla="*/ 201878 w 1247239"/>
              <a:gd name="connsiteY441" fmla="*/ 210958 h 528310"/>
              <a:gd name="connsiteX442" fmla="*/ 227342 w 1247239"/>
              <a:gd name="connsiteY442" fmla="*/ 211464 h 528310"/>
              <a:gd name="connsiteX443" fmla="*/ 253186 w 1247239"/>
              <a:gd name="connsiteY443" fmla="*/ 212921 h 528310"/>
              <a:gd name="connsiteX444" fmla="*/ 260344 w 1247239"/>
              <a:gd name="connsiteY444" fmla="*/ 209501 h 528310"/>
              <a:gd name="connsiteX445" fmla="*/ 256670 w 1247239"/>
              <a:gd name="connsiteY445" fmla="*/ 207537 h 528310"/>
              <a:gd name="connsiteX446" fmla="*/ 251538 w 1247239"/>
              <a:gd name="connsiteY446" fmla="*/ 206017 h 528310"/>
              <a:gd name="connsiteX447" fmla="*/ 223921 w 1247239"/>
              <a:gd name="connsiteY447" fmla="*/ 198352 h 528310"/>
              <a:gd name="connsiteX448" fmla="*/ 209098 w 1247239"/>
              <a:gd name="connsiteY448" fmla="*/ 196579 h 528310"/>
              <a:gd name="connsiteX449" fmla="*/ 211822 w 1247239"/>
              <a:gd name="connsiteY449" fmla="*/ 194172 h 528310"/>
              <a:gd name="connsiteX450" fmla="*/ 221007 w 1247239"/>
              <a:gd name="connsiteY450" fmla="*/ 194614 h 528310"/>
              <a:gd name="connsiteX451" fmla="*/ 223160 w 1247239"/>
              <a:gd name="connsiteY451" fmla="*/ 187204 h 528310"/>
              <a:gd name="connsiteX452" fmla="*/ 208402 w 1247239"/>
              <a:gd name="connsiteY452" fmla="*/ 180109 h 528310"/>
              <a:gd name="connsiteX453" fmla="*/ 195480 w 1247239"/>
              <a:gd name="connsiteY453" fmla="*/ 172762 h 528310"/>
              <a:gd name="connsiteX454" fmla="*/ 214482 w 1247239"/>
              <a:gd name="connsiteY454" fmla="*/ 166174 h 528310"/>
              <a:gd name="connsiteX455" fmla="*/ 219804 w 1247239"/>
              <a:gd name="connsiteY455" fmla="*/ 166554 h 528310"/>
              <a:gd name="connsiteX456" fmla="*/ 221767 w 1247239"/>
              <a:gd name="connsiteY456" fmla="*/ 165477 h 528310"/>
              <a:gd name="connsiteX457" fmla="*/ 218221 w 1247239"/>
              <a:gd name="connsiteY457" fmla="*/ 155088 h 528310"/>
              <a:gd name="connsiteX458" fmla="*/ 209922 w 1247239"/>
              <a:gd name="connsiteY458" fmla="*/ 146664 h 528310"/>
              <a:gd name="connsiteX459" fmla="*/ 221894 w 1247239"/>
              <a:gd name="connsiteY459" fmla="*/ 140139 h 528310"/>
              <a:gd name="connsiteX460" fmla="*/ 221261 w 1247239"/>
              <a:gd name="connsiteY460" fmla="*/ 131652 h 528310"/>
              <a:gd name="connsiteX461" fmla="*/ 232156 w 1247239"/>
              <a:gd name="connsiteY461" fmla="*/ 131461 h 528310"/>
              <a:gd name="connsiteX462" fmla="*/ 230509 w 1247239"/>
              <a:gd name="connsiteY462" fmla="*/ 123290 h 528310"/>
              <a:gd name="connsiteX463" fmla="*/ 257177 w 1247239"/>
              <a:gd name="connsiteY463" fmla="*/ 121833 h 528310"/>
              <a:gd name="connsiteX464" fmla="*/ 247802 w 1247239"/>
              <a:gd name="connsiteY464" fmla="*/ 112838 h 528310"/>
              <a:gd name="connsiteX465" fmla="*/ 256670 w 1247239"/>
              <a:gd name="connsiteY465" fmla="*/ 111318 h 528310"/>
              <a:gd name="connsiteX466" fmla="*/ 247929 w 1247239"/>
              <a:gd name="connsiteY466" fmla="*/ 105617 h 528310"/>
              <a:gd name="connsiteX467" fmla="*/ 247738 w 1247239"/>
              <a:gd name="connsiteY467" fmla="*/ 102703 h 528310"/>
              <a:gd name="connsiteX468" fmla="*/ 249512 w 1247239"/>
              <a:gd name="connsiteY468" fmla="*/ 101753 h 528310"/>
              <a:gd name="connsiteX469" fmla="*/ 251602 w 1247239"/>
              <a:gd name="connsiteY469" fmla="*/ 101879 h 528310"/>
              <a:gd name="connsiteX470" fmla="*/ 284161 w 1247239"/>
              <a:gd name="connsiteY470" fmla="*/ 109228 h 528310"/>
              <a:gd name="connsiteX471" fmla="*/ 310639 w 1247239"/>
              <a:gd name="connsiteY471" fmla="*/ 114612 h 528310"/>
              <a:gd name="connsiteX472" fmla="*/ 334076 w 1247239"/>
              <a:gd name="connsiteY472" fmla="*/ 117272 h 528310"/>
              <a:gd name="connsiteX473" fmla="*/ 332176 w 1247239"/>
              <a:gd name="connsiteY473" fmla="*/ 114421 h 528310"/>
              <a:gd name="connsiteX474" fmla="*/ 314185 w 1247239"/>
              <a:gd name="connsiteY474" fmla="*/ 111002 h 528310"/>
              <a:gd name="connsiteX475" fmla="*/ 289989 w 1247239"/>
              <a:gd name="connsiteY475" fmla="*/ 102576 h 528310"/>
              <a:gd name="connsiteX476" fmla="*/ 267438 w 1247239"/>
              <a:gd name="connsiteY476" fmla="*/ 89908 h 528310"/>
              <a:gd name="connsiteX477" fmla="*/ 262941 w 1247239"/>
              <a:gd name="connsiteY477" fmla="*/ 86678 h 528310"/>
              <a:gd name="connsiteX478" fmla="*/ 267691 w 1247239"/>
              <a:gd name="connsiteY478" fmla="*/ 85537 h 528310"/>
              <a:gd name="connsiteX479" fmla="*/ 275990 w 1247239"/>
              <a:gd name="connsiteY479" fmla="*/ 87754 h 528310"/>
              <a:gd name="connsiteX480" fmla="*/ 287455 w 1247239"/>
              <a:gd name="connsiteY480" fmla="*/ 91111 h 528310"/>
              <a:gd name="connsiteX481" fmla="*/ 284668 w 1247239"/>
              <a:gd name="connsiteY481" fmla="*/ 87248 h 528310"/>
              <a:gd name="connsiteX482" fmla="*/ 280741 w 1247239"/>
              <a:gd name="connsiteY482" fmla="*/ 85410 h 528310"/>
              <a:gd name="connsiteX483" fmla="*/ 274722 w 1247239"/>
              <a:gd name="connsiteY483" fmla="*/ 79583 h 528310"/>
              <a:gd name="connsiteX484" fmla="*/ 276116 w 1247239"/>
              <a:gd name="connsiteY484" fmla="*/ 68815 h 528310"/>
              <a:gd name="connsiteX485" fmla="*/ 286631 w 1247239"/>
              <a:gd name="connsiteY485" fmla="*/ 70398 h 528310"/>
              <a:gd name="connsiteX486" fmla="*/ 287835 w 1247239"/>
              <a:gd name="connsiteY486" fmla="*/ 60326 h 528310"/>
              <a:gd name="connsiteX487" fmla="*/ 292206 w 1247239"/>
              <a:gd name="connsiteY487" fmla="*/ 56399 h 528310"/>
              <a:gd name="connsiteX488" fmla="*/ 300630 w 1247239"/>
              <a:gd name="connsiteY488" fmla="*/ 57856 h 528310"/>
              <a:gd name="connsiteX489" fmla="*/ 316213 w 1247239"/>
              <a:gd name="connsiteY489" fmla="*/ 60453 h 528310"/>
              <a:gd name="connsiteX490" fmla="*/ 312602 w 1247239"/>
              <a:gd name="connsiteY490" fmla="*/ 52282 h 528310"/>
              <a:gd name="connsiteX491" fmla="*/ 312032 w 1247239"/>
              <a:gd name="connsiteY491" fmla="*/ 43033 h 528310"/>
              <a:gd name="connsiteX492" fmla="*/ 316709 w 1247239"/>
              <a:gd name="connsiteY492" fmla="*/ 40634 h 528310"/>
              <a:gd name="connsiteX493" fmla="*/ 313996 w 1247239"/>
              <a:gd name="connsiteY493" fmla="*/ 38283 h 528310"/>
              <a:gd name="connsiteX494" fmla="*/ 331225 w 1247239"/>
              <a:gd name="connsiteY494" fmla="*/ 35559 h 528310"/>
              <a:gd name="connsiteX495" fmla="*/ 314630 w 1247239"/>
              <a:gd name="connsiteY495" fmla="*/ 24157 h 528310"/>
              <a:gd name="connsiteX496" fmla="*/ 324891 w 1247239"/>
              <a:gd name="connsiteY496" fmla="*/ 21813 h 528310"/>
              <a:gd name="connsiteX497" fmla="*/ 336482 w 1247239"/>
              <a:gd name="connsiteY497" fmla="*/ 21243 h 528310"/>
              <a:gd name="connsiteX498" fmla="*/ 347632 w 1247239"/>
              <a:gd name="connsiteY498" fmla="*/ 24664 h 528310"/>
              <a:gd name="connsiteX499" fmla="*/ 347632 w 1247239"/>
              <a:gd name="connsiteY499" fmla="*/ 24537 h 528310"/>
              <a:gd name="connsiteX500" fmla="*/ 351496 w 1247239"/>
              <a:gd name="connsiteY500" fmla="*/ 27008 h 528310"/>
              <a:gd name="connsiteX501" fmla="*/ 351369 w 1247239"/>
              <a:gd name="connsiteY501" fmla="*/ 27071 h 528310"/>
              <a:gd name="connsiteX502" fmla="*/ 382280 w 1247239"/>
              <a:gd name="connsiteY502" fmla="*/ 35812 h 528310"/>
              <a:gd name="connsiteX503" fmla="*/ 389636 w 1247239"/>
              <a:gd name="connsiteY503" fmla="*/ 31012 h 528310"/>
              <a:gd name="connsiteX504" fmla="*/ 355993 w 1247239"/>
              <a:gd name="connsiteY504" fmla="*/ 17062 h 528310"/>
              <a:gd name="connsiteX505" fmla="*/ 348075 w 1247239"/>
              <a:gd name="connsiteY505" fmla="*/ 13705 h 528310"/>
              <a:gd name="connsiteX506" fmla="*/ 340854 w 1247239"/>
              <a:gd name="connsiteY506" fmla="*/ 7625 h 528310"/>
              <a:gd name="connsiteX507" fmla="*/ 340917 w 1247239"/>
              <a:gd name="connsiteY507" fmla="*/ 4838 h 528310"/>
              <a:gd name="connsiteX508" fmla="*/ 348265 w 1247239"/>
              <a:gd name="connsiteY508" fmla="*/ 6928 h 528310"/>
              <a:gd name="connsiteX509" fmla="*/ 353079 w 1247239"/>
              <a:gd name="connsiteY509" fmla="*/ 594 h 528310"/>
              <a:gd name="connsiteX510" fmla="*/ 356436 w 1247239"/>
              <a:gd name="connsiteY510" fmla="*/ 86 h 52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Lst>
            <a:rect l="l" t="t" r="r" b="b"/>
            <a:pathLst>
              <a:path w="1247239" h="528310">
                <a:moveTo>
                  <a:pt x="1167236" y="461355"/>
                </a:moveTo>
                <a:cubicBezTo>
                  <a:pt x="1167236" y="461355"/>
                  <a:pt x="1167236" y="461545"/>
                  <a:pt x="1167236" y="461545"/>
                </a:cubicBezTo>
                <a:lnTo>
                  <a:pt x="1166750" y="461388"/>
                </a:lnTo>
                <a:close/>
                <a:moveTo>
                  <a:pt x="1246709" y="432826"/>
                </a:moveTo>
                <a:lnTo>
                  <a:pt x="1247239" y="432913"/>
                </a:lnTo>
                <a:lnTo>
                  <a:pt x="1247239" y="433040"/>
                </a:lnTo>
                <a:close/>
                <a:moveTo>
                  <a:pt x="17231" y="424489"/>
                </a:moveTo>
                <a:lnTo>
                  <a:pt x="17498" y="424662"/>
                </a:lnTo>
                <a:lnTo>
                  <a:pt x="17231" y="424616"/>
                </a:lnTo>
                <a:close/>
                <a:moveTo>
                  <a:pt x="47318" y="397315"/>
                </a:moveTo>
                <a:lnTo>
                  <a:pt x="48087" y="397574"/>
                </a:lnTo>
                <a:lnTo>
                  <a:pt x="47318" y="397505"/>
                </a:lnTo>
                <a:close/>
                <a:moveTo>
                  <a:pt x="1183887" y="358947"/>
                </a:moveTo>
                <a:lnTo>
                  <a:pt x="1184275" y="358992"/>
                </a:lnTo>
                <a:lnTo>
                  <a:pt x="1184275" y="359181"/>
                </a:lnTo>
                <a:close/>
                <a:moveTo>
                  <a:pt x="68285" y="356775"/>
                </a:moveTo>
                <a:lnTo>
                  <a:pt x="68573" y="356899"/>
                </a:lnTo>
                <a:lnTo>
                  <a:pt x="68285" y="356902"/>
                </a:lnTo>
                <a:close/>
                <a:moveTo>
                  <a:pt x="149746" y="321683"/>
                </a:moveTo>
                <a:lnTo>
                  <a:pt x="149938" y="321808"/>
                </a:lnTo>
                <a:lnTo>
                  <a:pt x="149746" y="321809"/>
                </a:lnTo>
                <a:close/>
                <a:moveTo>
                  <a:pt x="167418" y="273858"/>
                </a:moveTo>
                <a:lnTo>
                  <a:pt x="167796" y="273979"/>
                </a:lnTo>
                <a:lnTo>
                  <a:pt x="167418" y="273985"/>
                </a:lnTo>
                <a:close/>
                <a:moveTo>
                  <a:pt x="98564" y="216912"/>
                </a:moveTo>
                <a:lnTo>
                  <a:pt x="98887" y="217078"/>
                </a:lnTo>
                <a:lnTo>
                  <a:pt x="98564" y="217102"/>
                </a:lnTo>
                <a:close/>
                <a:moveTo>
                  <a:pt x="925818" y="215195"/>
                </a:moveTo>
                <a:lnTo>
                  <a:pt x="926277" y="215201"/>
                </a:lnTo>
                <a:lnTo>
                  <a:pt x="926277" y="215328"/>
                </a:lnTo>
                <a:close/>
                <a:moveTo>
                  <a:pt x="879339" y="200569"/>
                </a:moveTo>
                <a:lnTo>
                  <a:pt x="879339" y="200696"/>
                </a:lnTo>
                <a:lnTo>
                  <a:pt x="879187" y="200622"/>
                </a:lnTo>
                <a:close/>
                <a:moveTo>
                  <a:pt x="504724" y="19850"/>
                </a:moveTo>
                <a:lnTo>
                  <a:pt x="504915" y="20023"/>
                </a:lnTo>
                <a:lnTo>
                  <a:pt x="504724" y="20040"/>
                </a:lnTo>
                <a:close/>
                <a:moveTo>
                  <a:pt x="356436" y="86"/>
                </a:moveTo>
                <a:cubicBezTo>
                  <a:pt x="367964" y="4077"/>
                  <a:pt x="380253" y="5154"/>
                  <a:pt x="391909" y="8764"/>
                </a:cubicBezTo>
                <a:cubicBezTo>
                  <a:pt x="404261" y="12565"/>
                  <a:pt x="416866" y="15669"/>
                  <a:pt x="429409" y="18836"/>
                </a:cubicBezTo>
                <a:cubicBezTo>
                  <a:pt x="443344" y="22383"/>
                  <a:pt x="457343" y="25613"/>
                  <a:pt x="471341" y="28971"/>
                </a:cubicBezTo>
                <a:cubicBezTo>
                  <a:pt x="472735" y="29288"/>
                  <a:pt x="474192" y="29288"/>
                  <a:pt x="475586" y="29478"/>
                </a:cubicBezTo>
                <a:lnTo>
                  <a:pt x="475332" y="29478"/>
                </a:lnTo>
                <a:cubicBezTo>
                  <a:pt x="486987" y="32581"/>
                  <a:pt x="498643" y="35939"/>
                  <a:pt x="510361" y="38789"/>
                </a:cubicBezTo>
                <a:lnTo>
                  <a:pt x="532823" y="43195"/>
                </a:lnTo>
                <a:lnTo>
                  <a:pt x="507764" y="34862"/>
                </a:lnTo>
                <a:cubicBezTo>
                  <a:pt x="505104" y="33975"/>
                  <a:pt x="502127" y="33849"/>
                  <a:pt x="500100" y="30365"/>
                </a:cubicBezTo>
                <a:cubicBezTo>
                  <a:pt x="503330" y="28401"/>
                  <a:pt x="507448" y="27515"/>
                  <a:pt x="508144" y="22953"/>
                </a:cubicBezTo>
                <a:lnTo>
                  <a:pt x="504915" y="20023"/>
                </a:lnTo>
                <a:lnTo>
                  <a:pt x="514036" y="19216"/>
                </a:lnTo>
                <a:cubicBezTo>
                  <a:pt x="528542" y="23334"/>
                  <a:pt x="543047" y="27515"/>
                  <a:pt x="557616" y="31631"/>
                </a:cubicBezTo>
                <a:cubicBezTo>
                  <a:pt x="562430" y="33026"/>
                  <a:pt x="567307" y="34228"/>
                  <a:pt x="572122" y="35686"/>
                </a:cubicBezTo>
                <a:cubicBezTo>
                  <a:pt x="575542" y="36699"/>
                  <a:pt x="578836" y="38029"/>
                  <a:pt x="582257" y="39169"/>
                </a:cubicBezTo>
                <a:cubicBezTo>
                  <a:pt x="583967" y="39739"/>
                  <a:pt x="585614" y="40753"/>
                  <a:pt x="587323" y="40753"/>
                </a:cubicBezTo>
                <a:cubicBezTo>
                  <a:pt x="592265" y="40753"/>
                  <a:pt x="596319" y="42210"/>
                  <a:pt x="599929" y="45757"/>
                </a:cubicBezTo>
                <a:cubicBezTo>
                  <a:pt x="602590" y="48418"/>
                  <a:pt x="606327" y="48924"/>
                  <a:pt x="610001" y="47594"/>
                </a:cubicBezTo>
                <a:cubicBezTo>
                  <a:pt x="610445" y="47847"/>
                  <a:pt x="610888" y="48101"/>
                  <a:pt x="611395" y="48290"/>
                </a:cubicBezTo>
                <a:cubicBezTo>
                  <a:pt x="611015" y="47974"/>
                  <a:pt x="610634" y="47594"/>
                  <a:pt x="610254" y="47277"/>
                </a:cubicBezTo>
                <a:cubicBezTo>
                  <a:pt x="611648" y="47341"/>
                  <a:pt x="613485" y="46834"/>
                  <a:pt x="614435" y="47467"/>
                </a:cubicBezTo>
                <a:cubicBezTo>
                  <a:pt x="618806" y="50634"/>
                  <a:pt x="623367" y="51965"/>
                  <a:pt x="628687" y="50634"/>
                </a:cubicBezTo>
                <a:cubicBezTo>
                  <a:pt x="629701" y="50382"/>
                  <a:pt x="631158" y="50382"/>
                  <a:pt x="631791" y="50952"/>
                </a:cubicBezTo>
                <a:cubicBezTo>
                  <a:pt x="636289" y="54942"/>
                  <a:pt x="641419" y="54689"/>
                  <a:pt x="646930" y="54435"/>
                </a:cubicBezTo>
                <a:cubicBezTo>
                  <a:pt x="649908" y="54308"/>
                  <a:pt x="653518" y="55005"/>
                  <a:pt x="655672" y="57920"/>
                </a:cubicBezTo>
                <a:cubicBezTo>
                  <a:pt x="658079" y="61214"/>
                  <a:pt x="661626" y="61973"/>
                  <a:pt x="665237" y="62100"/>
                </a:cubicBezTo>
                <a:cubicBezTo>
                  <a:pt x="670558" y="62290"/>
                  <a:pt x="675499" y="65964"/>
                  <a:pt x="681073" y="63683"/>
                </a:cubicBezTo>
                <a:cubicBezTo>
                  <a:pt x="681390" y="63557"/>
                  <a:pt x="682403" y="64254"/>
                  <a:pt x="682656" y="64824"/>
                </a:cubicBezTo>
                <a:cubicBezTo>
                  <a:pt x="684050" y="68054"/>
                  <a:pt x="687154" y="68054"/>
                  <a:pt x="689878" y="68688"/>
                </a:cubicBezTo>
                <a:cubicBezTo>
                  <a:pt x="700709" y="71221"/>
                  <a:pt x="711604" y="73692"/>
                  <a:pt x="722373" y="76416"/>
                </a:cubicBezTo>
                <a:cubicBezTo>
                  <a:pt x="727630" y="77746"/>
                  <a:pt x="732762" y="79329"/>
                  <a:pt x="737892" y="81103"/>
                </a:cubicBezTo>
                <a:cubicBezTo>
                  <a:pt x="752524" y="86170"/>
                  <a:pt x="767601" y="89527"/>
                  <a:pt x="782929" y="91871"/>
                </a:cubicBezTo>
                <a:cubicBezTo>
                  <a:pt x="788947" y="92758"/>
                  <a:pt x="794965" y="94025"/>
                  <a:pt x="800919" y="95545"/>
                </a:cubicBezTo>
                <a:cubicBezTo>
                  <a:pt x="804656" y="96495"/>
                  <a:pt x="808204" y="98269"/>
                  <a:pt x="812448" y="99980"/>
                </a:cubicBezTo>
                <a:cubicBezTo>
                  <a:pt x="802756" y="104541"/>
                  <a:pt x="793951" y="104223"/>
                  <a:pt x="784640" y="102006"/>
                </a:cubicBezTo>
                <a:cubicBezTo>
                  <a:pt x="762215" y="96749"/>
                  <a:pt x="739666" y="92188"/>
                  <a:pt x="717179" y="87184"/>
                </a:cubicBezTo>
                <a:cubicBezTo>
                  <a:pt x="706980" y="84967"/>
                  <a:pt x="696909" y="82370"/>
                  <a:pt x="686711" y="80026"/>
                </a:cubicBezTo>
                <a:cubicBezTo>
                  <a:pt x="675499" y="77430"/>
                  <a:pt x="664350" y="74831"/>
                  <a:pt x="653075" y="72425"/>
                </a:cubicBezTo>
                <a:cubicBezTo>
                  <a:pt x="648895" y="71538"/>
                  <a:pt x="644713" y="72108"/>
                  <a:pt x="640469" y="73439"/>
                </a:cubicBezTo>
                <a:cubicBezTo>
                  <a:pt x="641863" y="77049"/>
                  <a:pt x="644587" y="76923"/>
                  <a:pt x="646930" y="77493"/>
                </a:cubicBezTo>
                <a:cubicBezTo>
                  <a:pt x="659536" y="80470"/>
                  <a:pt x="672078" y="83320"/>
                  <a:pt x="684620" y="86487"/>
                </a:cubicBezTo>
                <a:cubicBezTo>
                  <a:pt x="690891" y="88071"/>
                  <a:pt x="696972" y="90478"/>
                  <a:pt x="703623" y="89845"/>
                </a:cubicBezTo>
                <a:cubicBezTo>
                  <a:pt x="705017" y="89718"/>
                  <a:pt x="706790" y="89654"/>
                  <a:pt x="707867" y="90351"/>
                </a:cubicBezTo>
                <a:cubicBezTo>
                  <a:pt x="713251" y="93771"/>
                  <a:pt x="719585" y="93646"/>
                  <a:pt x="725351" y="95356"/>
                </a:cubicBezTo>
                <a:cubicBezTo>
                  <a:pt x="732951" y="97572"/>
                  <a:pt x="740299" y="100422"/>
                  <a:pt x="747837" y="102767"/>
                </a:cubicBezTo>
                <a:cubicBezTo>
                  <a:pt x="751574" y="103907"/>
                  <a:pt x="755565" y="104350"/>
                  <a:pt x="759429" y="105237"/>
                </a:cubicBezTo>
                <a:cubicBezTo>
                  <a:pt x="764307" y="106440"/>
                  <a:pt x="769311" y="107264"/>
                  <a:pt x="773935" y="109164"/>
                </a:cubicBezTo>
                <a:cubicBezTo>
                  <a:pt x="782866" y="112838"/>
                  <a:pt x="792368" y="115055"/>
                  <a:pt x="800919" y="119869"/>
                </a:cubicBezTo>
                <a:cubicBezTo>
                  <a:pt x="804403" y="121833"/>
                  <a:pt x="808204" y="122656"/>
                  <a:pt x="812384" y="121770"/>
                </a:cubicBezTo>
                <a:cubicBezTo>
                  <a:pt x="817959" y="120629"/>
                  <a:pt x="823216" y="122086"/>
                  <a:pt x="827651" y="125443"/>
                </a:cubicBezTo>
                <a:cubicBezTo>
                  <a:pt x="831007" y="127977"/>
                  <a:pt x="834682" y="128801"/>
                  <a:pt x="838735" y="129117"/>
                </a:cubicBezTo>
                <a:cubicBezTo>
                  <a:pt x="841206" y="129308"/>
                  <a:pt x="844056" y="129371"/>
                  <a:pt x="846020" y="130637"/>
                </a:cubicBezTo>
                <a:cubicBezTo>
                  <a:pt x="851404" y="133995"/>
                  <a:pt x="857295" y="135071"/>
                  <a:pt x="863313" y="135389"/>
                </a:cubicBezTo>
                <a:cubicBezTo>
                  <a:pt x="864010" y="138873"/>
                  <a:pt x="861539" y="138809"/>
                  <a:pt x="860146" y="138619"/>
                </a:cubicBezTo>
                <a:cubicBezTo>
                  <a:pt x="851277" y="137353"/>
                  <a:pt x="842283" y="136339"/>
                  <a:pt x="833541" y="134249"/>
                </a:cubicBezTo>
                <a:cubicBezTo>
                  <a:pt x="818465" y="130637"/>
                  <a:pt x="803706" y="126014"/>
                  <a:pt x="788631" y="122404"/>
                </a:cubicBezTo>
                <a:cubicBezTo>
                  <a:pt x="775011" y="119173"/>
                  <a:pt x="761139" y="116702"/>
                  <a:pt x="747394" y="113851"/>
                </a:cubicBezTo>
                <a:cubicBezTo>
                  <a:pt x="738273" y="112015"/>
                  <a:pt x="729087" y="110368"/>
                  <a:pt x="720029" y="108278"/>
                </a:cubicBezTo>
                <a:cubicBezTo>
                  <a:pt x="715912" y="107327"/>
                  <a:pt x="711984" y="105364"/>
                  <a:pt x="707931" y="103971"/>
                </a:cubicBezTo>
                <a:cubicBezTo>
                  <a:pt x="701977" y="101880"/>
                  <a:pt x="695991" y="99916"/>
                  <a:pt x="689909" y="99069"/>
                </a:cubicBezTo>
                <a:lnTo>
                  <a:pt x="671713" y="100828"/>
                </a:lnTo>
                <a:lnTo>
                  <a:pt x="694755" y="108404"/>
                </a:lnTo>
                <a:cubicBezTo>
                  <a:pt x="707931" y="112015"/>
                  <a:pt x="721169" y="115245"/>
                  <a:pt x="734409" y="118539"/>
                </a:cubicBezTo>
                <a:cubicBezTo>
                  <a:pt x="739286" y="119743"/>
                  <a:pt x="744163" y="120820"/>
                  <a:pt x="749041" y="121959"/>
                </a:cubicBezTo>
                <a:cubicBezTo>
                  <a:pt x="751447" y="122530"/>
                  <a:pt x="753855" y="123227"/>
                  <a:pt x="756261" y="123860"/>
                </a:cubicBezTo>
                <a:cubicBezTo>
                  <a:pt x="761076" y="125190"/>
                  <a:pt x="765890" y="127154"/>
                  <a:pt x="770768" y="127724"/>
                </a:cubicBezTo>
                <a:cubicBezTo>
                  <a:pt x="777799" y="128547"/>
                  <a:pt x="784006" y="131018"/>
                  <a:pt x="789771" y="134819"/>
                </a:cubicBezTo>
                <a:cubicBezTo>
                  <a:pt x="794774" y="138176"/>
                  <a:pt x="800033" y="139697"/>
                  <a:pt x="806050" y="139506"/>
                </a:cubicBezTo>
                <a:cubicBezTo>
                  <a:pt x="807697" y="139442"/>
                  <a:pt x="809597" y="139760"/>
                  <a:pt x="811054" y="140583"/>
                </a:cubicBezTo>
                <a:cubicBezTo>
                  <a:pt x="820872" y="146157"/>
                  <a:pt x="831515" y="149198"/>
                  <a:pt x="842346" y="151730"/>
                </a:cubicBezTo>
                <a:cubicBezTo>
                  <a:pt x="845133" y="152365"/>
                  <a:pt x="847983" y="152998"/>
                  <a:pt x="850707" y="153822"/>
                </a:cubicBezTo>
                <a:cubicBezTo>
                  <a:pt x="866227" y="158382"/>
                  <a:pt x="881556" y="163514"/>
                  <a:pt x="897201" y="167567"/>
                </a:cubicBezTo>
                <a:cubicBezTo>
                  <a:pt x="919499" y="173332"/>
                  <a:pt x="941035" y="181440"/>
                  <a:pt x="963016" y="188217"/>
                </a:cubicBezTo>
                <a:cubicBezTo>
                  <a:pt x="967703" y="189674"/>
                  <a:pt x="972455" y="191195"/>
                  <a:pt x="976254" y="195122"/>
                </a:cubicBezTo>
                <a:cubicBezTo>
                  <a:pt x="974925" y="195058"/>
                  <a:pt x="973531" y="195311"/>
                  <a:pt x="972264" y="194932"/>
                </a:cubicBezTo>
                <a:cubicBezTo>
                  <a:pt x="957441" y="190561"/>
                  <a:pt x="942745" y="186000"/>
                  <a:pt x="927924" y="181693"/>
                </a:cubicBezTo>
                <a:cubicBezTo>
                  <a:pt x="913101" y="177385"/>
                  <a:pt x="898152" y="173332"/>
                  <a:pt x="883203" y="169341"/>
                </a:cubicBezTo>
                <a:lnTo>
                  <a:pt x="879293" y="169632"/>
                </a:lnTo>
                <a:lnTo>
                  <a:pt x="889790" y="173964"/>
                </a:lnTo>
                <a:cubicBezTo>
                  <a:pt x="897962" y="176752"/>
                  <a:pt x="906197" y="179286"/>
                  <a:pt x="914368" y="182010"/>
                </a:cubicBezTo>
                <a:cubicBezTo>
                  <a:pt x="915635" y="182453"/>
                  <a:pt x="916647" y="183403"/>
                  <a:pt x="918042" y="184289"/>
                </a:cubicBezTo>
                <a:cubicBezTo>
                  <a:pt x="916965" y="184796"/>
                  <a:pt x="916268" y="185430"/>
                  <a:pt x="915824" y="185303"/>
                </a:cubicBezTo>
                <a:cubicBezTo>
                  <a:pt x="895808" y="179602"/>
                  <a:pt x="875601" y="174345"/>
                  <a:pt x="855838" y="167947"/>
                </a:cubicBezTo>
                <a:cubicBezTo>
                  <a:pt x="837025" y="161867"/>
                  <a:pt x="817832" y="157179"/>
                  <a:pt x="798829" y="152112"/>
                </a:cubicBezTo>
                <a:lnTo>
                  <a:pt x="773012" y="147676"/>
                </a:lnTo>
                <a:lnTo>
                  <a:pt x="796169" y="156926"/>
                </a:lnTo>
                <a:cubicBezTo>
                  <a:pt x="809090" y="160156"/>
                  <a:pt x="821823" y="164084"/>
                  <a:pt x="834682" y="167694"/>
                </a:cubicBezTo>
                <a:cubicBezTo>
                  <a:pt x="850961" y="172317"/>
                  <a:pt x="867303" y="176752"/>
                  <a:pt x="883520" y="181629"/>
                </a:cubicBezTo>
                <a:cubicBezTo>
                  <a:pt x="902839" y="187456"/>
                  <a:pt x="922033" y="193602"/>
                  <a:pt x="941289" y="199746"/>
                </a:cubicBezTo>
                <a:cubicBezTo>
                  <a:pt x="943569" y="200442"/>
                  <a:pt x="945596" y="201963"/>
                  <a:pt x="947434" y="204497"/>
                </a:cubicBezTo>
                <a:cubicBezTo>
                  <a:pt x="946293" y="204560"/>
                  <a:pt x="945026" y="204876"/>
                  <a:pt x="943949" y="204560"/>
                </a:cubicBezTo>
                <a:cubicBezTo>
                  <a:pt x="928367" y="200189"/>
                  <a:pt x="912784" y="195564"/>
                  <a:pt x="897138" y="191258"/>
                </a:cubicBezTo>
                <a:cubicBezTo>
                  <a:pt x="869330" y="183593"/>
                  <a:pt x="841586" y="175929"/>
                  <a:pt x="813714" y="168517"/>
                </a:cubicBezTo>
                <a:cubicBezTo>
                  <a:pt x="794204" y="163323"/>
                  <a:pt x="774695" y="158382"/>
                  <a:pt x="755059" y="153695"/>
                </a:cubicBezTo>
                <a:cubicBezTo>
                  <a:pt x="747774" y="151985"/>
                  <a:pt x="740172" y="151415"/>
                  <a:pt x="732698" y="150274"/>
                </a:cubicBezTo>
                <a:cubicBezTo>
                  <a:pt x="730607" y="149958"/>
                  <a:pt x="728011" y="150022"/>
                  <a:pt x="726554" y="148817"/>
                </a:cubicBezTo>
                <a:cubicBezTo>
                  <a:pt x="722626" y="145650"/>
                  <a:pt x="718382" y="144699"/>
                  <a:pt x="713568" y="144511"/>
                </a:cubicBezTo>
                <a:cubicBezTo>
                  <a:pt x="711478" y="144447"/>
                  <a:pt x="709451" y="143433"/>
                  <a:pt x="707361" y="142864"/>
                </a:cubicBezTo>
                <a:cubicBezTo>
                  <a:pt x="705650" y="142420"/>
                  <a:pt x="703623" y="141089"/>
                  <a:pt x="702293" y="141596"/>
                </a:cubicBezTo>
                <a:cubicBezTo>
                  <a:pt x="697542" y="143433"/>
                  <a:pt x="693235" y="141026"/>
                  <a:pt x="688674" y="140962"/>
                </a:cubicBezTo>
                <a:cubicBezTo>
                  <a:pt x="684177" y="140836"/>
                  <a:pt x="680123" y="139949"/>
                  <a:pt x="676386" y="137479"/>
                </a:cubicBezTo>
                <a:cubicBezTo>
                  <a:pt x="672901" y="135198"/>
                  <a:pt x="669227" y="134374"/>
                  <a:pt x="665047" y="134882"/>
                </a:cubicBezTo>
                <a:cubicBezTo>
                  <a:pt x="662957" y="135135"/>
                  <a:pt x="660740" y="134819"/>
                  <a:pt x="658586" y="134438"/>
                </a:cubicBezTo>
                <a:cubicBezTo>
                  <a:pt x="647627" y="132284"/>
                  <a:pt x="636669" y="130194"/>
                  <a:pt x="625774" y="127851"/>
                </a:cubicBezTo>
                <a:cubicBezTo>
                  <a:pt x="613801" y="125317"/>
                  <a:pt x="601893" y="122530"/>
                  <a:pt x="589921" y="119869"/>
                </a:cubicBezTo>
                <a:cubicBezTo>
                  <a:pt x="583207" y="118349"/>
                  <a:pt x="576746" y="116512"/>
                  <a:pt x="570475" y="113535"/>
                </a:cubicBezTo>
                <a:cubicBezTo>
                  <a:pt x="561289" y="109228"/>
                  <a:pt x="551218" y="107835"/>
                  <a:pt x="541210" y="106504"/>
                </a:cubicBezTo>
                <a:cubicBezTo>
                  <a:pt x="536585" y="105870"/>
                  <a:pt x="531709" y="105491"/>
                  <a:pt x="527592" y="103526"/>
                </a:cubicBezTo>
                <a:cubicBezTo>
                  <a:pt x="519609" y="99663"/>
                  <a:pt x="511058" y="98523"/>
                  <a:pt x="502634" y="96749"/>
                </a:cubicBezTo>
                <a:cubicBezTo>
                  <a:pt x="488572" y="93835"/>
                  <a:pt x="474446" y="90921"/>
                  <a:pt x="460384" y="88007"/>
                </a:cubicBezTo>
                <a:cubicBezTo>
                  <a:pt x="451199" y="86170"/>
                  <a:pt x="442013" y="84461"/>
                  <a:pt x="432828" y="82623"/>
                </a:cubicBezTo>
                <a:cubicBezTo>
                  <a:pt x="423011" y="80660"/>
                  <a:pt x="413002" y="79520"/>
                  <a:pt x="403501" y="76035"/>
                </a:cubicBezTo>
                <a:cubicBezTo>
                  <a:pt x="396786" y="73565"/>
                  <a:pt x="389501" y="72741"/>
                  <a:pt x="382470" y="70968"/>
                </a:cubicBezTo>
                <a:cubicBezTo>
                  <a:pt x="369548" y="67738"/>
                  <a:pt x="356626" y="64317"/>
                  <a:pt x="343704" y="61214"/>
                </a:cubicBezTo>
                <a:cubicBezTo>
                  <a:pt x="337434" y="59756"/>
                  <a:pt x="331035" y="58933"/>
                  <a:pt x="325144" y="57856"/>
                </a:cubicBezTo>
                <a:cubicBezTo>
                  <a:pt x="323181" y="60326"/>
                  <a:pt x="324701" y="61339"/>
                  <a:pt x="325841" y="61846"/>
                </a:cubicBezTo>
                <a:cubicBezTo>
                  <a:pt x="328438" y="63050"/>
                  <a:pt x="331098" y="64190"/>
                  <a:pt x="333885" y="64951"/>
                </a:cubicBezTo>
                <a:cubicBezTo>
                  <a:pt x="354029" y="70524"/>
                  <a:pt x="374109" y="76416"/>
                  <a:pt x="394379" y="81419"/>
                </a:cubicBezTo>
                <a:cubicBezTo>
                  <a:pt x="425860" y="89148"/>
                  <a:pt x="457533" y="96115"/>
                  <a:pt x="489078" y="103653"/>
                </a:cubicBezTo>
                <a:cubicBezTo>
                  <a:pt x="499910" y="106250"/>
                  <a:pt x="510615" y="109544"/>
                  <a:pt x="521320" y="112585"/>
                </a:cubicBezTo>
                <a:cubicBezTo>
                  <a:pt x="523031" y="113092"/>
                  <a:pt x="524740" y="113851"/>
                  <a:pt x="526513" y="113978"/>
                </a:cubicBezTo>
                <a:cubicBezTo>
                  <a:pt x="546468" y="115182"/>
                  <a:pt x="565280" y="121959"/>
                  <a:pt x="584664" y="125823"/>
                </a:cubicBezTo>
                <a:cubicBezTo>
                  <a:pt x="601576" y="129181"/>
                  <a:pt x="618235" y="133931"/>
                  <a:pt x="634958" y="138049"/>
                </a:cubicBezTo>
                <a:cubicBezTo>
                  <a:pt x="635339" y="138113"/>
                  <a:pt x="635655" y="138302"/>
                  <a:pt x="636035" y="138302"/>
                </a:cubicBezTo>
                <a:cubicBezTo>
                  <a:pt x="663146" y="142293"/>
                  <a:pt x="689244" y="150907"/>
                  <a:pt x="715975" y="156672"/>
                </a:cubicBezTo>
                <a:cubicBezTo>
                  <a:pt x="737829" y="161360"/>
                  <a:pt x="759493" y="166681"/>
                  <a:pt x="781218" y="172065"/>
                </a:cubicBezTo>
                <a:cubicBezTo>
                  <a:pt x="793825" y="175168"/>
                  <a:pt x="806240" y="178905"/>
                  <a:pt x="818973" y="182453"/>
                </a:cubicBezTo>
                <a:cubicBezTo>
                  <a:pt x="819542" y="184289"/>
                  <a:pt x="820112" y="186127"/>
                  <a:pt x="820683" y="187965"/>
                </a:cubicBezTo>
                <a:cubicBezTo>
                  <a:pt x="829741" y="184796"/>
                  <a:pt x="829741" y="184796"/>
                  <a:pt x="839496" y="187583"/>
                </a:cubicBezTo>
                <a:cubicBezTo>
                  <a:pt x="849884" y="190497"/>
                  <a:pt x="860336" y="193285"/>
                  <a:pt x="870661" y="196452"/>
                </a:cubicBezTo>
                <a:lnTo>
                  <a:pt x="879187" y="200622"/>
                </a:lnTo>
                <a:lnTo>
                  <a:pt x="876631" y="201503"/>
                </a:lnTo>
                <a:cubicBezTo>
                  <a:pt x="875743" y="201899"/>
                  <a:pt x="875125" y="202691"/>
                  <a:pt x="875537" y="204813"/>
                </a:cubicBezTo>
                <a:cubicBezTo>
                  <a:pt x="879719" y="205383"/>
                  <a:pt x="884152" y="205953"/>
                  <a:pt x="888523" y="206523"/>
                </a:cubicBezTo>
                <a:lnTo>
                  <a:pt x="888270" y="206460"/>
                </a:lnTo>
                <a:cubicBezTo>
                  <a:pt x="890551" y="207030"/>
                  <a:pt x="892894" y="207600"/>
                  <a:pt x="895175" y="208170"/>
                </a:cubicBezTo>
                <a:lnTo>
                  <a:pt x="894984" y="208234"/>
                </a:lnTo>
                <a:cubicBezTo>
                  <a:pt x="899482" y="208931"/>
                  <a:pt x="903916" y="209944"/>
                  <a:pt x="908414" y="210135"/>
                </a:cubicBezTo>
                <a:lnTo>
                  <a:pt x="925818" y="215195"/>
                </a:lnTo>
                <a:lnTo>
                  <a:pt x="908287" y="214949"/>
                </a:lnTo>
                <a:cubicBezTo>
                  <a:pt x="903979" y="213491"/>
                  <a:pt x="899229" y="213111"/>
                  <a:pt x="894731" y="213681"/>
                </a:cubicBezTo>
                <a:cubicBezTo>
                  <a:pt x="893401" y="216469"/>
                  <a:pt x="895175" y="217228"/>
                  <a:pt x="896821" y="217925"/>
                </a:cubicBezTo>
                <a:cubicBezTo>
                  <a:pt x="908414" y="222866"/>
                  <a:pt x="920702" y="225590"/>
                  <a:pt x="932927" y="228441"/>
                </a:cubicBezTo>
                <a:cubicBezTo>
                  <a:pt x="937552" y="229517"/>
                  <a:pt x="941732" y="230531"/>
                  <a:pt x="944646" y="235091"/>
                </a:cubicBezTo>
                <a:cubicBezTo>
                  <a:pt x="947307" y="239272"/>
                  <a:pt x="952564" y="239906"/>
                  <a:pt x="957061" y="240792"/>
                </a:cubicBezTo>
                <a:cubicBezTo>
                  <a:pt x="965169" y="242376"/>
                  <a:pt x="973405" y="243200"/>
                  <a:pt x="981513" y="244657"/>
                </a:cubicBezTo>
                <a:cubicBezTo>
                  <a:pt x="989241" y="246113"/>
                  <a:pt x="996904" y="248078"/>
                  <a:pt x="1004632" y="249787"/>
                </a:cubicBezTo>
                <a:cubicBezTo>
                  <a:pt x="1016859" y="252511"/>
                  <a:pt x="1029147" y="255298"/>
                  <a:pt x="1041372" y="258022"/>
                </a:cubicBezTo>
                <a:cubicBezTo>
                  <a:pt x="1042766" y="258339"/>
                  <a:pt x="1044349" y="258212"/>
                  <a:pt x="1045553" y="258846"/>
                </a:cubicBezTo>
                <a:cubicBezTo>
                  <a:pt x="1055244" y="263976"/>
                  <a:pt x="1066077" y="265307"/>
                  <a:pt x="1076211" y="268727"/>
                </a:cubicBezTo>
                <a:cubicBezTo>
                  <a:pt x="1081468" y="270500"/>
                  <a:pt x="1085903" y="274555"/>
                  <a:pt x="1090653" y="277722"/>
                </a:cubicBezTo>
                <a:cubicBezTo>
                  <a:pt x="1091034" y="277975"/>
                  <a:pt x="1090843" y="279052"/>
                  <a:pt x="1090970" y="280319"/>
                </a:cubicBezTo>
                <a:cubicBezTo>
                  <a:pt x="1089640" y="280446"/>
                  <a:pt x="1088310" y="280889"/>
                  <a:pt x="1087043" y="280762"/>
                </a:cubicBezTo>
                <a:cubicBezTo>
                  <a:pt x="1084256" y="280446"/>
                  <a:pt x="1082039" y="280065"/>
                  <a:pt x="1079062" y="281649"/>
                </a:cubicBezTo>
                <a:cubicBezTo>
                  <a:pt x="1076402" y="283043"/>
                  <a:pt x="1072157" y="281902"/>
                  <a:pt x="1068673" y="281460"/>
                </a:cubicBezTo>
                <a:cubicBezTo>
                  <a:pt x="1059109" y="280255"/>
                  <a:pt x="1049543" y="278735"/>
                  <a:pt x="1039979" y="277468"/>
                </a:cubicBezTo>
                <a:lnTo>
                  <a:pt x="1035951" y="277765"/>
                </a:lnTo>
                <a:lnTo>
                  <a:pt x="1047516" y="282156"/>
                </a:lnTo>
                <a:cubicBezTo>
                  <a:pt x="1053344" y="282536"/>
                  <a:pt x="1053535" y="283107"/>
                  <a:pt x="1058348" y="288364"/>
                </a:cubicBezTo>
                <a:cubicBezTo>
                  <a:pt x="1055307" y="290644"/>
                  <a:pt x="1052014" y="287667"/>
                  <a:pt x="1049163" y="288806"/>
                </a:cubicBezTo>
                <a:lnTo>
                  <a:pt x="1049797" y="288364"/>
                </a:lnTo>
                <a:cubicBezTo>
                  <a:pt x="1044222" y="285893"/>
                  <a:pt x="1038584" y="283422"/>
                  <a:pt x="1033011" y="280952"/>
                </a:cubicBezTo>
                <a:cubicBezTo>
                  <a:pt x="1031997" y="280509"/>
                  <a:pt x="1030857" y="280319"/>
                  <a:pt x="1030033" y="279749"/>
                </a:cubicBezTo>
                <a:cubicBezTo>
                  <a:pt x="1020659" y="273034"/>
                  <a:pt x="1009954" y="271134"/>
                  <a:pt x="998805" y="269677"/>
                </a:cubicBezTo>
                <a:cubicBezTo>
                  <a:pt x="982779" y="267650"/>
                  <a:pt x="966817" y="264546"/>
                  <a:pt x="950853" y="261949"/>
                </a:cubicBezTo>
                <a:cubicBezTo>
                  <a:pt x="950283" y="261886"/>
                  <a:pt x="949587" y="262393"/>
                  <a:pt x="948954" y="262646"/>
                </a:cubicBezTo>
                <a:cubicBezTo>
                  <a:pt x="949270" y="265053"/>
                  <a:pt x="951360" y="264989"/>
                  <a:pt x="952945" y="265307"/>
                </a:cubicBezTo>
                <a:cubicBezTo>
                  <a:pt x="965613" y="267967"/>
                  <a:pt x="978346" y="270374"/>
                  <a:pt x="991014" y="273161"/>
                </a:cubicBezTo>
                <a:cubicBezTo>
                  <a:pt x="999818" y="275125"/>
                  <a:pt x="1008496" y="277468"/>
                  <a:pt x="1017174" y="279749"/>
                </a:cubicBezTo>
                <a:cubicBezTo>
                  <a:pt x="1017682" y="279876"/>
                  <a:pt x="1018442" y="281079"/>
                  <a:pt x="1018252" y="281396"/>
                </a:cubicBezTo>
                <a:cubicBezTo>
                  <a:pt x="1017809" y="282219"/>
                  <a:pt x="1016985" y="283422"/>
                  <a:pt x="1016289" y="283422"/>
                </a:cubicBezTo>
                <a:cubicBezTo>
                  <a:pt x="1012804" y="283359"/>
                  <a:pt x="1009319" y="282916"/>
                  <a:pt x="1004759" y="282599"/>
                </a:cubicBezTo>
                <a:cubicBezTo>
                  <a:pt x="1009004" y="286147"/>
                  <a:pt x="1011030" y="287730"/>
                  <a:pt x="1015401" y="287920"/>
                </a:cubicBezTo>
                <a:cubicBezTo>
                  <a:pt x="1027246" y="288427"/>
                  <a:pt x="1037698" y="293368"/>
                  <a:pt x="1048657" y="296978"/>
                </a:cubicBezTo>
                <a:cubicBezTo>
                  <a:pt x="1054104" y="298752"/>
                  <a:pt x="1059742" y="300399"/>
                  <a:pt x="1065443" y="301033"/>
                </a:cubicBezTo>
                <a:cubicBezTo>
                  <a:pt x="1083052" y="302932"/>
                  <a:pt x="1100092" y="307810"/>
                  <a:pt x="1117321" y="311421"/>
                </a:cubicBezTo>
                <a:cubicBezTo>
                  <a:pt x="1130433" y="314145"/>
                  <a:pt x="1142595" y="319718"/>
                  <a:pt x="1154441" y="326053"/>
                </a:cubicBezTo>
                <a:cubicBezTo>
                  <a:pt x="1159445" y="328776"/>
                  <a:pt x="1164892" y="331184"/>
                  <a:pt x="1170403" y="332387"/>
                </a:cubicBezTo>
                <a:cubicBezTo>
                  <a:pt x="1183832" y="335175"/>
                  <a:pt x="1196881" y="339039"/>
                  <a:pt x="1209866" y="343220"/>
                </a:cubicBezTo>
                <a:cubicBezTo>
                  <a:pt x="1216391" y="345310"/>
                  <a:pt x="1222979" y="347147"/>
                  <a:pt x="1229503" y="349174"/>
                </a:cubicBezTo>
                <a:cubicBezTo>
                  <a:pt x="1231783" y="349871"/>
                  <a:pt x="1234064" y="350821"/>
                  <a:pt x="1238815" y="352595"/>
                </a:cubicBezTo>
                <a:cubicBezTo>
                  <a:pt x="1234950" y="353164"/>
                  <a:pt x="1233747" y="353608"/>
                  <a:pt x="1232543" y="353481"/>
                </a:cubicBezTo>
                <a:cubicBezTo>
                  <a:pt x="1229313" y="353164"/>
                  <a:pt x="1226082" y="352784"/>
                  <a:pt x="1222915" y="352087"/>
                </a:cubicBezTo>
                <a:cubicBezTo>
                  <a:pt x="1207459" y="348604"/>
                  <a:pt x="1192067" y="344929"/>
                  <a:pt x="1176611" y="341382"/>
                </a:cubicBezTo>
                <a:cubicBezTo>
                  <a:pt x="1174964" y="341002"/>
                  <a:pt x="1172684" y="340496"/>
                  <a:pt x="1171480" y="341255"/>
                </a:cubicBezTo>
                <a:cubicBezTo>
                  <a:pt x="1166603" y="344423"/>
                  <a:pt x="1162168" y="342206"/>
                  <a:pt x="1158241" y="340053"/>
                </a:cubicBezTo>
                <a:cubicBezTo>
                  <a:pt x="1152667" y="337011"/>
                  <a:pt x="1146903" y="335808"/>
                  <a:pt x="1140822" y="334668"/>
                </a:cubicBezTo>
                <a:cubicBezTo>
                  <a:pt x="1134487" y="333464"/>
                  <a:pt x="1128280" y="331437"/>
                  <a:pt x="1122008" y="329854"/>
                </a:cubicBezTo>
                <a:cubicBezTo>
                  <a:pt x="1119221" y="329157"/>
                  <a:pt x="1116308" y="327826"/>
                  <a:pt x="1113584" y="328017"/>
                </a:cubicBezTo>
                <a:cubicBezTo>
                  <a:pt x="1104653" y="328776"/>
                  <a:pt x="1096671" y="324913"/>
                  <a:pt x="1088183" y="323646"/>
                </a:cubicBezTo>
                <a:cubicBezTo>
                  <a:pt x="1080012" y="322379"/>
                  <a:pt x="1071777" y="321302"/>
                  <a:pt x="1063669" y="319782"/>
                </a:cubicBezTo>
                <a:cubicBezTo>
                  <a:pt x="1054801" y="318135"/>
                  <a:pt x="1046060" y="316045"/>
                  <a:pt x="1037255" y="314271"/>
                </a:cubicBezTo>
                <a:cubicBezTo>
                  <a:pt x="1035291" y="313891"/>
                  <a:pt x="1033200" y="314081"/>
                  <a:pt x="1031491" y="314018"/>
                </a:cubicBezTo>
                <a:cubicBezTo>
                  <a:pt x="1030224" y="316488"/>
                  <a:pt x="1031491" y="317628"/>
                  <a:pt x="1032757" y="318071"/>
                </a:cubicBezTo>
                <a:cubicBezTo>
                  <a:pt x="1037825" y="319909"/>
                  <a:pt x="1042893" y="321745"/>
                  <a:pt x="1048150" y="323012"/>
                </a:cubicBezTo>
                <a:cubicBezTo>
                  <a:pt x="1059742" y="325736"/>
                  <a:pt x="1071397" y="327953"/>
                  <a:pt x="1082925" y="330804"/>
                </a:cubicBezTo>
                <a:cubicBezTo>
                  <a:pt x="1086789" y="331754"/>
                  <a:pt x="1090527" y="332958"/>
                  <a:pt x="1094581" y="332704"/>
                </a:cubicBezTo>
                <a:cubicBezTo>
                  <a:pt x="1095975" y="332640"/>
                  <a:pt x="1097431" y="333084"/>
                  <a:pt x="1098824" y="333401"/>
                </a:cubicBezTo>
                <a:cubicBezTo>
                  <a:pt x="1112064" y="336695"/>
                  <a:pt x="1125366" y="340053"/>
                  <a:pt x="1138605" y="343346"/>
                </a:cubicBezTo>
                <a:cubicBezTo>
                  <a:pt x="1138921" y="343408"/>
                  <a:pt x="1139364" y="343408"/>
                  <a:pt x="1139682" y="343536"/>
                </a:cubicBezTo>
                <a:cubicBezTo>
                  <a:pt x="1152794" y="348540"/>
                  <a:pt x="1166413" y="351898"/>
                  <a:pt x="1179651" y="356394"/>
                </a:cubicBezTo>
                <a:lnTo>
                  <a:pt x="1183887" y="358947"/>
                </a:lnTo>
                <a:lnTo>
                  <a:pt x="1164006" y="356648"/>
                </a:lnTo>
                <a:cubicBezTo>
                  <a:pt x="1141138" y="351707"/>
                  <a:pt x="1118335" y="346640"/>
                  <a:pt x="1095214" y="342840"/>
                </a:cubicBezTo>
                <a:cubicBezTo>
                  <a:pt x="1088879" y="341762"/>
                  <a:pt x="1082609" y="340178"/>
                  <a:pt x="1076084" y="338785"/>
                </a:cubicBezTo>
                <a:cubicBezTo>
                  <a:pt x="1076021" y="341509"/>
                  <a:pt x="1078111" y="341636"/>
                  <a:pt x="1079505" y="341952"/>
                </a:cubicBezTo>
                <a:cubicBezTo>
                  <a:pt x="1085143" y="343283"/>
                  <a:pt x="1090210" y="345310"/>
                  <a:pt x="1094897" y="349237"/>
                </a:cubicBezTo>
                <a:cubicBezTo>
                  <a:pt x="1098318" y="352150"/>
                  <a:pt x="1103132" y="353545"/>
                  <a:pt x="1107566" y="355065"/>
                </a:cubicBezTo>
                <a:cubicBezTo>
                  <a:pt x="1116244" y="357979"/>
                  <a:pt x="1123466" y="363109"/>
                  <a:pt x="1130497" y="368683"/>
                </a:cubicBezTo>
                <a:cubicBezTo>
                  <a:pt x="1140061" y="376285"/>
                  <a:pt x="1150450" y="382683"/>
                  <a:pt x="1161345" y="388130"/>
                </a:cubicBezTo>
                <a:cubicBezTo>
                  <a:pt x="1163815" y="389397"/>
                  <a:pt x="1166856" y="389397"/>
                  <a:pt x="1169643" y="390093"/>
                </a:cubicBezTo>
                <a:cubicBezTo>
                  <a:pt x="1171607" y="390600"/>
                  <a:pt x="1173570" y="391234"/>
                  <a:pt x="1177307" y="392374"/>
                </a:cubicBezTo>
                <a:cubicBezTo>
                  <a:pt x="1169517" y="394971"/>
                  <a:pt x="1164195" y="392058"/>
                  <a:pt x="1158749" y="391107"/>
                </a:cubicBezTo>
                <a:cubicBezTo>
                  <a:pt x="1152730" y="390029"/>
                  <a:pt x="1146713" y="389017"/>
                  <a:pt x="1140632" y="387939"/>
                </a:cubicBezTo>
                <a:cubicBezTo>
                  <a:pt x="1134931" y="386926"/>
                  <a:pt x="1129293" y="385977"/>
                  <a:pt x="1123593" y="384963"/>
                </a:cubicBezTo>
                <a:cubicBezTo>
                  <a:pt x="1118018" y="383949"/>
                  <a:pt x="1112443" y="382873"/>
                  <a:pt x="1106235" y="381669"/>
                </a:cubicBezTo>
                <a:cubicBezTo>
                  <a:pt x="1107439" y="383949"/>
                  <a:pt x="1108200" y="385469"/>
                  <a:pt x="1109213" y="387497"/>
                </a:cubicBezTo>
                <a:cubicBezTo>
                  <a:pt x="1107250" y="388067"/>
                  <a:pt x="1105412" y="388636"/>
                  <a:pt x="1102435" y="389523"/>
                </a:cubicBezTo>
                <a:lnTo>
                  <a:pt x="1117013" y="395772"/>
                </a:lnTo>
                <a:lnTo>
                  <a:pt x="1116050" y="397644"/>
                </a:lnTo>
                <a:lnTo>
                  <a:pt x="1120806" y="398138"/>
                </a:lnTo>
                <a:lnTo>
                  <a:pt x="1120679" y="398201"/>
                </a:lnTo>
                <a:cubicBezTo>
                  <a:pt x="1129673" y="402065"/>
                  <a:pt x="1139301" y="403142"/>
                  <a:pt x="1148803" y="404789"/>
                </a:cubicBezTo>
                <a:cubicBezTo>
                  <a:pt x="1151591" y="405296"/>
                  <a:pt x="1154631" y="405423"/>
                  <a:pt x="1157102" y="406627"/>
                </a:cubicBezTo>
                <a:cubicBezTo>
                  <a:pt x="1161408" y="408717"/>
                  <a:pt x="1165716" y="409857"/>
                  <a:pt x="1170530" y="409414"/>
                </a:cubicBezTo>
                <a:cubicBezTo>
                  <a:pt x="1172493" y="409223"/>
                  <a:pt x="1174774" y="410110"/>
                  <a:pt x="1176611" y="411061"/>
                </a:cubicBezTo>
                <a:cubicBezTo>
                  <a:pt x="1184338" y="415114"/>
                  <a:pt x="1192764" y="416951"/>
                  <a:pt x="1201061" y="419169"/>
                </a:cubicBezTo>
                <a:cubicBezTo>
                  <a:pt x="1212463" y="422272"/>
                  <a:pt x="1223992" y="424996"/>
                  <a:pt x="1235330" y="428226"/>
                </a:cubicBezTo>
                <a:lnTo>
                  <a:pt x="1246709" y="432826"/>
                </a:lnTo>
                <a:lnTo>
                  <a:pt x="1230327" y="430126"/>
                </a:lnTo>
                <a:cubicBezTo>
                  <a:pt x="1209550" y="425630"/>
                  <a:pt x="1188836" y="420752"/>
                  <a:pt x="1168123" y="416001"/>
                </a:cubicBezTo>
                <a:cubicBezTo>
                  <a:pt x="1162168" y="414607"/>
                  <a:pt x="1156214" y="413087"/>
                  <a:pt x="1150259" y="411757"/>
                </a:cubicBezTo>
                <a:cubicBezTo>
                  <a:pt x="1145066" y="410616"/>
                  <a:pt x="1139871" y="408399"/>
                  <a:pt x="1134423" y="411250"/>
                </a:cubicBezTo>
                <a:cubicBezTo>
                  <a:pt x="1133664" y="411693"/>
                  <a:pt x="1132017" y="411504"/>
                  <a:pt x="1131383" y="410934"/>
                </a:cubicBezTo>
                <a:cubicBezTo>
                  <a:pt x="1125556" y="405866"/>
                  <a:pt x="1118905" y="410364"/>
                  <a:pt x="1112443" y="409730"/>
                </a:cubicBezTo>
                <a:cubicBezTo>
                  <a:pt x="1113457" y="410364"/>
                  <a:pt x="1114407" y="411377"/>
                  <a:pt x="1115547" y="411693"/>
                </a:cubicBezTo>
                <a:cubicBezTo>
                  <a:pt x="1122896" y="413531"/>
                  <a:pt x="1130243" y="415305"/>
                  <a:pt x="1137591" y="416951"/>
                </a:cubicBezTo>
                <a:cubicBezTo>
                  <a:pt x="1142152" y="417965"/>
                  <a:pt x="1146840" y="418472"/>
                  <a:pt x="1151336" y="419675"/>
                </a:cubicBezTo>
                <a:cubicBezTo>
                  <a:pt x="1166982" y="423792"/>
                  <a:pt x="1182629" y="428099"/>
                  <a:pt x="1198275" y="432343"/>
                </a:cubicBezTo>
                <a:cubicBezTo>
                  <a:pt x="1200238" y="432913"/>
                  <a:pt x="1202455" y="433231"/>
                  <a:pt x="1204673" y="436017"/>
                </a:cubicBezTo>
                <a:cubicBezTo>
                  <a:pt x="1198845" y="436271"/>
                  <a:pt x="1194537" y="434181"/>
                  <a:pt x="1190040" y="433737"/>
                </a:cubicBezTo>
                <a:cubicBezTo>
                  <a:pt x="1185035" y="433231"/>
                  <a:pt x="1180031" y="432343"/>
                  <a:pt x="1175090" y="431330"/>
                </a:cubicBezTo>
                <a:cubicBezTo>
                  <a:pt x="1170530" y="430381"/>
                  <a:pt x="1166032" y="428923"/>
                  <a:pt x="1161472" y="427910"/>
                </a:cubicBezTo>
                <a:cubicBezTo>
                  <a:pt x="1157038" y="426959"/>
                  <a:pt x="1152857" y="424426"/>
                  <a:pt x="1147092" y="425630"/>
                </a:cubicBezTo>
                <a:cubicBezTo>
                  <a:pt x="1149880" y="429431"/>
                  <a:pt x="1153871" y="429113"/>
                  <a:pt x="1156720" y="430951"/>
                </a:cubicBezTo>
                <a:cubicBezTo>
                  <a:pt x="1159445" y="432661"/>
                  <a:pt x="1162486" y="433927"/>
                  <a:pt x="1165399" y="435257"/>
                </a:cubicBezTo>
                <a:cubicBezTo>
                  <a:pt x="1170023" y="437285"/>
                  <a:pt x="1174774" y="438932"/>
                  <a:pt x="1179335" y="441149"/>
                </a:cubicBezTo>
                <a:cubicBezTo>
                  <a:pt x="1184275" y="443556"/>
                  <a:pt x="1188013" y="447103"/>
                  <a:pt x="1189723" y="454324"/>
                </a:cubicBezTo>
                <a:cubicBezTo>
                  <a:pt x="1185669" y="452171"/>
                  <a:pt x="1183009" y="450524"/>
                  <a:pt x="1180222" y="449257"/>
                </a:cubicBezTo>
                <a:cubicBezTo>
                  <a:pt x="1177307" y="447863"/>
                  <a:pt x="1174013" y="447103"/>
                  <a:pt x="1171291" y="445455"/>
                </a:cubicBezTo>
                <a:cubicBezTo>
                  <a:pt x="1167363" y="443111"/>
                  <a:pt x="1162865" y="443935"/>
                  <a:pt x="1158937" y="442605"/>
                </a:cubicBezTo>
                <a:cubicBezTo>
                  <a:pt x="1155011" y="441276"/>
                  <a:pt x="1152033" y="437158"/>
                  <a:pt x="1148169" y="435638"/>
                </a:cubicBezTo>
                <a:cubicBezTo>
                  <a:pt x="1135754" y="430823"/>
                  <a:pt x="1123085" y="426579"/>
                  <a:pt x="1110481" y="422145"/>
                </a:cubicBezTo>
                <a:cubicBezTo>
                  <a:pt x="1109467" y="421765"/>
                  <a:pt x="1108389" y="421322"/>
                  <a:pt x="1107313" y="421385"/>
                </a:cubicBezTo>
                <a:cubicBezTo>
                  <a:pt x="1105285" y="421575"/>
                  <a:pt x="1102752" y="421448"/>
                  <a:pt x="1101295" y="422588"/>
                </a:cubicBezTo>
                <a:cubicBezTo>
                  <a:pt x="1098888" y="424553"/>
                  <a:pt x="1098951" y="427656"/>
                  <a:pt x="1100092" y="430570"/>
                </a:cubicBezTo>
                <a:cubicBezTo>
                  <a:pt x="1102182" y="435954"/>
                  <a:pt x="1106932" y="438868"/>
                  <a:pt x="1111367" y="441782"/>
                </a:cubicBezTo>
                <a:cubicBezTo>
                  <a:pt x="1114281" y="443746"/>
                  <a:pt x="1117891" y="444759"/>
                  <a:pt x="1121249" y="446026"/>
                </a:cubicBezTo>
                <a:cubicBezTo>
                  <a:pt x="1129357" y="449003"/>
                  <a:pt x="1137465" y="451980"/>
                  <a:pt x="1145636" y="454831"/>
                </a:cubicBezTo>
                <a:cubicBezTo>
                  <a:pt x="1149374" y="456161"/>
                  <a:pt x="1153238" y="457048"/>
                  <a:pt x="1157038" y="458251"/>
                </a:cubicBezTo>
                <a:lnTo>
                  <a:pt x="1166750" y="461388"/>
                </a:lnTo>
                <a:lnTo>
                  <a:pt x="1154385" y="462227"/>
                </a:lnTo>
                <a:cubicBezTo>
                  <a:pt x="1150149" y="461688"/>
                  <a:pt x="1145953" y="460596"/>
                  <a:pt x="1141772" y="459772"/>
                </a:cubicBezTo>
                <a:cubicBezTo>
                  <a:pt x="1136451" y="458758"/>
                  <a:pt x="1131256" y="457301"/>
                  <a:pt x="1125936" y="456224"/>
                </a:cubicBezTo>
                <a:cubicBezTo>
                  <a:pt x="1124289" y="455908"/>
                  <a:pt x="1122262" y="455591"/>
                  <a:pt x="1120931" y="458125"/>
                </a:cubicBezTo>
                <a:cubicBezTo>
                  <a:pt x="1123529" y="462622"/>
                  <a:pt x="1130307" y="460468"/>
                  <a:pt x="1134423" y="465979"/>
                </a:cubicBezTo>
                <a:cubicBezTo>
                  <a:pt x="1127013" y="464712"/>
                  <a:pt x="1121185" y="463698"/>
                  <a:pt x="1115674" y="462812"/>
                </a:cubicBezTo>
                <a:cubicBezTo>
                  <a:pt x="1113963" y="465029"/>
                  <a:pt x="1115168" y="466042"/>
                  <a:pt x="1116244" y="466992"/>
                </a:cubicBezTo>
                <a:cubicBezTo>
                  <a:pt x="1119221" y="469527"/>
                  <a:pt x="1122135" y="472251"/>
                  <a:pt x="1125239" y="474530"/>
                </a:cubicBezTo>
                <a:cubicBezTo>
                  <a:pt x="1128089" y="476620"/>
                  <a:pt x="1131131" y="478649"/>
                  <a:pt x="1134361" y="480105"/>
                </a:cubicBezTo>
                <a:cubicBezTo>
                  <a:pt x="1141518" y="483462"/>
                  <a:pt x="1148803" y="486692"/>
                  <a:pt x="1156214" y="489480"/>
                </a:cubicBezTo>
                <a:cubicBezTo>
                  <a:pt x="1163055" y="492077"/>
                  <a:pt x="1167870" y="497525"/>
                  <a:pt x="1176421" y="500375"/>
                </a:cubicBezTo>
                <a:cubicBezTo>
                  <a:pt x="1171923" y="502402"/>
                  <a:pt x="1169517" y="503479"/>
                  <a:pt x="1166730" y="504746"/>
                </a:cubicBezTo>
                <a:lnTo>
                  <a:pt x="1169116" y="506716"/>
                </a:lnTo>
                <a:lnTo>
                  <a:pt x="1177625" y="513740"/>
                </a:lnTo>
                <a:cubicBezTo>
                  <a:pt x="1181615" y="516210"/>
                  <a:pt x="1185415" y="518998"/>
                  <a:pt x="1189470" y="521342"/>
                </a:cubicBezTo>
                <a:cubicBezTo>
                  <a:pt x="1193461" y="523622"/>
                  <a:pt x="1197642" y="525522"/>
                  <a:pt x="1203215" y="528310"/>
                </a:cubicBezTo>
                <a:cubicBezTo>
                  <a:pt x="1195487" y="527993"/>
                  <a:pt x="1191750" y="527105"/>
                  <a:pt x="1185542" y="524002"/>
                </a:cubicBezTo>
                <a:cubicBezTo>
                  <a:pt x="1182629" y="522545"/>
                  <a:pt x="1179905" y="520835"/>
                  <a:pt x="1177245" y="518998"/>
                </a:cubicBezTo>
                <a:cubicBezTo>
                  <a:pt x="1173127" y="516147"/>
                  <a:pt x="1169580" y="512473"/>
                  <a:pt x="1164133" y="511840"/>
                </a:cubicBezTo>
                <a:cubicBezTo>
                  <a:pt x="1162549" y="511650"/>
                  <a:pt x="1161092" y="510003"/>
                  <a:pt x="1159572" y="509116"/>
                </a:cubicBezTo>
                <a:cubicBezTo>
                  <a:pt x="1157988" y="508293"/>
                  <a:pt x="1156468" y="507216"/>
                  <a:pt x="1154758" y="506900"/>
                </a:cubicBezTo>
                <a:lnTo>
                  <a:pt x="1153701" y="506716"/>
                </a:lnTo>
                <a:lnTo>
                  <a:pt x="1124007" y="506716"/>
                </a:lnTo>
                <a:lnTo>
                  <a:pt x="75765" y="506716"/>
                </a:lnTo>
                <a:lnTo>
                  <a:pt x="63914" y="504619"/>
                </a:lnTo>
                <a:cubicBezTo>
                  <a:pt x="61635" y="504176"/>
                  <a:pt x="59481" y="502718"/>
                  <a:pt x="57454" y="501832"/>
                </a:cubicBezTo>
                <a:cubicBezTo>
                  <a:pt x="57707" y="499108"/>
                  <a:pt x="59418" y="499298"/>
                  <a:pt x="60684" y="499361"/>
                </a:cubicBezTo>
                <a:cubicBezTo>
                  <a:pt x="64991" y="499615"/>
                  <a:pt x="69299" y="500058"/>
                  <a:pt x="73606" y="500501"/>
                </a:cubicBezTo>
                <a:lnTo>
                  <a:pt x="84701" y="498907"/>
                </a:lnTo>
                <a:lnTo>
                  <a:pt x="75950" y="496130"/>
                </a:lnTo>
                <a:cubicBezTo>
                  <a:pt x="57137" y="493217"/>
                  <a:pt x="38261" y="490494"/>
                  <a:pt x="19447" y="487770"/>
                </a:cubicBezTo>
                <a:cubicBezTo>
                  <a:pt x="15900" y="487263"/>
                  <a:pt x="12290" y="487452"/>
                  <a:pt x="8679" y="487200"/>
                </a:cubicBezTo>
                <a:cubicBezTo>
                  <a:pt x="6272" y="487073"/>
                  <a:pt x="3864" y="486819"/>
                  <a:pt x="0" y="486503"/>
                </a:cubicBezTo>
                <a:cubicBezTo>
                  <a:pt x="3295" y="483336"/>
                  <a:pt x="6462" y="484603"/>
                  <a:pt x="8742" y="483525"/>
                </a:cubicBezTo>
                <a:cubicBezTo>
                  <a:pt x="11277" y="482258"/>
                  <a:pt x="13556" y="480611"/>
                  <a:pt x="16661" y="478711"/>
                </a:cubicBezTo>
                <a:cubicBezTo>
                  <a:pt x="17990" y="478901"/>
                  <a:pt x="20081" y="479091"/>
                  <a:pt x="22171" y="479534"/>
                </a:cubicBezTo>
                <a:cubicBezTo>
                  <a:pt x="24135" y="479914"/>
                  <a:pt x="26542" y="479534"/>
                  <a:pt x="27872" y="482639"/>
                </a:cubicBezTo>
                <a:cubicBezTo>
                  <a:pt x="24895" y="482765"/>
                  <a:pt x="22234" y="482828"/>
                  <a:pt x="17293" y="483019"/>
                </a:cubicBezTo>
                <a:cubicBezTo>
                  <a:pt x="23628" y="486250"/>
                  <a:pt x="28189" y="486123"/>
                  <a:pt x="32686" y="485362"/>
                </a:cubicBezTo>
                <a:cubicBezTo>
                  <a:pt x="36233" y="484792"/>
                  <a:pt x="39590" y="483272"/>
                  <a:pt x="43012" y="485932"/>
                </a:cubicBezTo>
                <a:cubicBezTo>
                  <a:pt x="43645" y="486439"/>
                  <a:pt x="45292" y="486313"/>
                  <a:pt x="45988" y="485807"/>
                </a:cubicBezTo>
                <a:cubicBezTo>
                  <a:pt x="52450" y="480738"/>
                  <a:pt x="58657" y="483272"/>
                  <a:pt x="65118" y="485932"/>
                </a:cubicBezTo>
                <a:lnTo>
                  <a:pt x="98480" y="489508"/>
                </a:lnTo>
                <a:lnTo>
                  <a:pt x="71199" y="478458"/>
                </a:lnTo>
                <a:cubicBezTo>
                  <a:pt x="71960" y="475227"/>
                  <a:pt x="74746" y="475543"/>
                  <a:pt x="76457" y="475227"/>
                </a:cubicBezTo>
                <a:cubicBezTo>
                  <a:pt x="81018" y="474341"/>
                  <a:pt x="85515" y="473707"/>
                  <a:pt x="89505" y="470920"/>
                </a:cubicBezTo>
                <a:cubicBezTo>
                  <a:pt x="90836" y="469970"/>
                  <a:pt x="93306" y="469336"/>
                  <a:pt x="94574" y="469970"/>
                </a:cubicBezTo>
                <a:cubicBezTo>
                  <a:pt x="99514" y="472187"/>
                  <a:pt x="102618" y="469083"/>
                  <a:pt x="106165" y="466803"/>
                </a:cubicBezTo>
                <a:cubicBezTo>
                  <a:pt x="106798" y="464522"/>
                  <a:pt x="105215" y="463698"/>
                  <a:pt x="103504" y="462939"/>
                </a:cubicBezTo>
                <a:cubicBezTo>
                  <a:pt x="103188" y="462812"/>
                  <a:pt x="102808" y="462749"/>
                  <a:pt x="102491" y="462622"/>
                </a:cubicBezTo>
                <a:cubicBezTo>
                  <a:pt x="94447" y="458758"/>
                  <a:pt x="86275" y="455211"/>
                  <a:pt x="77154" y="454577"/>
                </a:cubicBezTo>
                <a:cubicBezTo>
                  <a:pt x="74683" y="454388"/>
                  <a:pt x="72086" y="453627"/>
                  <a:pt x="69932" y="452424"/>
                </a:cubicBezTo>
                <a:cubicBezTo>
                  <a:pt x="61888" y="447863"/>
                  <a:pt x="52956" y="446913"/>
                  <a:pt x="44151" y="445076"/>
                </a:cubicBezTo>
                <a:cubicBezTo>
                  <a:pt x="37120" y="443619"/>
                  <a:pt x="30089" y="442035"/>
                  <a:pt x="23122" y="440388"/>
                </a:cubicBezTo>
                <a:cubicBezTo>
                  <a:pt x="21094" y="439882"/>
                  <a:pt x="19067" y="439121"/>
                  <a:pt x="15140" y="437855"/>
                </a:cubicBezTo>
                <a:lnTo>
                  <a:pt x="22568" y="435707"/>
                </a:lnTo>
                <a:lnTo>
                  <a:pt x="8299" y="428353"/>
                </a:lnTo>
                <a:lnTo>
                  <a:pt x="22430" y="427854"/>
                </a:lnTo>
                <a:lnTo>
                  <a:pt x="17498" y="424662"/>
                </a:lnTo>
                <a:lnTo>
                  <a:pt x="44788" y="429325"/>
                </a:lnTo>
                <a:lnTo>
                  <a:pt x="44786" y="429303"/>
                </a:lnTo>
                <a:cubicBezTo>
                  <a:pt x="48332" y="429367"/>
                  <a:pt x="51943" y="429049"/>
                  <a:pt x="55490" y="429494"/>
                </a:cubicBezTo>
                <a:cubicBezTo>
                  <a:pt x="62965" y="430507"/>
                  <a:pt x="70375" y="432090"/>
                  <a:pt x="77851" y="433104"/>
                </a:cubicBezTo>
                <a:cubicBezTo>
                  <a:pt x="86022" y="434181"/>
                  <a:pt x="94256" y="434878"/>
                  <a:pt x="102491" y="435574"/>
                </a:cubicBezTo>
                <a:lnTo>
                  <a:pt x="105232" y="434660"/>
                </a:lnTo>
                <a:lnTo>
                  <a:pt x="63662" y="422018"/>
                </a:lnTo>
                <a:cubicBezTo>
                  <a:pt x="68096" y="419928"/>
                  <a:pt x="72149" y="420878"/>
                  <a:pt x="76330" y="421512"/>
                </a:cubicBezTo>
                <a:cubicBezTo>
                  <a:pt x="88746" y="423349"/>
                  <a:pt x="100971" y="426390"/>
                  <a:pt x="113640" y="426516"/>
                </a:cubicBezTo>
                <a:cubicBezTo>
                  <a:pt x="115287" y="426516"/>
                  <a:pt x="116996" y="426200"/>
                  <a:pt x="120671" y="425882"/>
                </a:cubicBezTo>
                <a:cubicBezTo>
                  <a:pt x="115983" y="422652"/>
                  <a:pt x="112373" y="422652"/>
                  <a:pt x="109206" y="421385"/>
                </a:cubicBezTo>
                <a:cubicBezTo>
                  <a:pt x="105975" y="420055"/>
                  <a:pt x="102871" y="418345"/>
                  <a:pt x="99958" y="416888"/>
                </a:cubicBezTo>
                <a:cubicBezTo>
                  <a:pt x="99958" y="413594"/>
                  <a:pt x="101857" y="413531"/>
                  <a:pt x="103631" y="413658"/>
                </a:cubicBezTo>
                <a:cubicBezTo>
                  <a:pt x="107369" y="413847"/>
                  <a:pt x="111106" y="415557"/>
                  <a:pt x="117060" y="413467"/>
                </a:cubicBezTo>
                <a:cubicBezTo>
                  <a:pt x="112753" y="412200"/>
                  <a:pt x="110536" y="411377"/>
                  <a:pt x="108192" y="410870"/>
                </a:cubicBezTo>
                <a:cubicBezTo>
                  <a:pt x="91976" y="407703"/>
                  <a:pt x="75759" y="404789"/>
                  <a:pt x="59544" y="401432"/>
                </a:cubicBezTo>
                <a:lnTo>
                  <a:pt x="48087" y="397574"/>
                </a:lnTo>
                <a:lnTo>
                  <a:pt x="74114" y="399912"/>
                </a:lnTo>
                <a:cubicBezTo>
                  <a:pt x="84501" y="400736"/>
                  <a:pt x="94762" y="402953"/>
                  <a:pt x="105087" y="404346"/>
                </a:cubicBezTo>
                <a:cubicBezTo>
                  <a:pt x="108636" y="404853"/>
                  <a:pt x="112309" y="405359"/>
                  <a:pt x="115857" y="404980"/>
                </a:cubicBezTo>
                <a:cubicBezTo>
                  <a:pt x="122255" y="404282"/>
                  <a:pt x="128589" y="403269"/>
                  <a:pt x="135113" y="404282"/>
                </a:cubicBezTo>
                <a:cubicBezTo>
                  <a:pt x="135874" y="404409"/>
                  <a:pt x="136887" y="403396"/>
                  <a:pt x="137900" y="402826"/>
                </a:cubicBezTo>
                <a:cubicBezTo>
                  <a:pt x="136634" y="397885"/>
                  <a:pt x="132643" y="396935"/>
                  <a:pt x="128842" y="396175"/>
                </a:cubicBezTo>
                <a:cubicBezTo>
                  <a:pt x="120735" y="394528"/>
                  <a:pt x="112563" y="393260"/>
                  <a:pt x="104392" y="391740"/>
                </a:cubicBezTo>
                <a:cubicBezTo>
                  <a:pt x="84564" y="388067"/>
                  <a:pt x="64738" y="384330"/>
                  <a:pt x="44974" y="380528"/>
                </a:cubicBezTo>
                <a:cubicBezTo>
                  <a:pt x="44025" y="380339"/>
                  <a:pt x="43202" y="379643"/>
                  <a:pt x="42125" y="379072"/>
                </a:cubicBezTo>
                <a:cubicBezTo>
                  <a:pt x="44595" y="376601"/>
                  <a:pt x="47065" y="378058"/>
                  <a:pt x="49346" y="378375"/>
                </a:cubicBezTo>
                <a:cubicBezTo>
                  <a:pt x="68602" y="381163"/>
                  <a:pt x="87858" y="383759"/>
                  <a:pt x="106989" y="387116"/>
                </a:cubicBezTo>
                <a:cubicBezTo>
                  <a:pt x="117441" y="388953"/>
                  <a:pt x="127766" y="387053"/>
                  <a:pt x="138154" y="387433"/>
                </a:cubicBezTo>
                <a:cubicBezTo>
                  <a:pt x="139737" y="387497"/>
                  <a:pt x="141384" y="386292"/>
                  <a:pt x="142651" y="385786"/>
                </a:cubicBezTo>
                <a:cubicBezTo>
                  <a:pt x="143411" y="382998"/>
                  <a:pt x="142081" y="381669"/>
                  <a:pt x="140434" y="380908"/>
                </a:cubicBezTo>
                <a:cubicBezTo>
                  <a:pt x="129222" y="376094"/>
                  <a:pt x="117884" y="371534"/>
                  <a:pt x="105785" y="369190"/>
                </a:cubicBezTo>
                <a:cubicBezTo>
                  <a:pt x="100464" y="368177"/>
                  <a:pt x="95207" y="367100"/>
                  <a:pt x="89886" y="366087"/>
                </a:cubicBezTo>
                <a:lnTo>
                  <a:pt x="68573" y="356899"/>
                </a:lnTo>
                <a:lnTo>
                  <a:pt x="87479" y="356712"/>
                </a:lnTo>
                <a:cubicBezTo>
                  <a:pt x="96347" y="356838"/>
                  <a:pt x="105278" y="358485"/>
                  <a:pt x="114020" y="355128"/>
                </a:cubicBezTo>
                <a:cubicBezTo>
                  <a:pt x="116173" y="354304"/>
                  <a:pt x="118961" y="354874"/>
                  <a:pt x="121431" y="355001"/>
                </a:cubicBezTo>
                <a:cubicBezTo>
                  <a:pt x="129919" y="355444"/>
                  <a:pt x="136443" y="351137"/>
                  <a:pt x="142587" y="346007"/>
                </a:cubicBezTo>
                <a:cubicBezTo>
                  <a:pt x="143538" y="345246"/>
                  <a:pt x="144362" y="343408"/>
                  <a:pt x="144044" y="342332"/>
                </a:cubicBezTo>
                <a:cubicBezTo>
                  <a:pt x="142968" y="337962"/>
                  <a:pt x="145438" y="336377"/>
                  <a:pt x="148859" y="335491"/>
                </a:cubicBezTo>
                <a:cubicBezTo>
                  <a:pt x="151266" y="334857"/>
                  <a:pt x="153799" y="334730"/>
                  <a:pt x="156586" y="334287"/>
                </a:cubicBezTo>
                <a:lnTo>
                  <a:pt x="156958" y="326365"/>
                </a:lnTo>
                <a:lnTo>
                  <a:pt x="149938" y="321808"/>
                </a:lnTo>
                <a:lnTo>
                  <a:pt x="173183" y="321619"/>
                </a:lnTo>
                <a:cubicBezTo>
                  <a:pt x="177490" y="322379"/>
                  <a:pt x="181671" y="322506"/>
                  <a:pt x="186738" y="321429"/>
                </a:cubicBezTo>
                <a:cubicBezTo>
                  <a:pt x="186041" y="319782"/>
                  <a:pt x="185914" y="318071"/>
                  <a:pt x="185091" y="317565"/>
                </a:cubicBezTo>
                <a:cubicBezTo>
                  <a:pt x="181291" y="315284"/>
                  <a:pt x="179833" y="311864"/>
                  <a:pt x="179707" y="307494"/>
                </a:cubicBezTo>
                <a:cubicBezTo>
                  <a:pt x="180974" y="306417"/>
                  <a:pt x="182241" y="305277"/>
                  <a:pt x="183508" y="304200"/>
                </a:cubicBezTo>
                <a:cubicBezTo>
                  <a:pt x="183001" y="302489"/>
                  <a:pt x="182558" y="300906"/>
                  <a:pt x="181987" y="299004"/>
                </a:cubicBezTo>
                <a:cubicBezTo>
                  <a:pt x="186295" y="296535"/>
                  <a:pt x="190602" y="297866"/>
                  <a:pt x="194847" y="297928"/>
                </a:cubicBezTo>
                <a:cubicBezTo>
                  <a:pt x="198773" y="298055"/>
                  <a:pt x="200801" y="296092"/>
                  <a:pt x="201371" y="292355"/>
                </a:cubicBezTo>
                <a:cubicBezTo>
                  <a:pt x="198837" y="288110"/>
                  <a:pt x="192503" y="292100"/>
                  <a:pt x="190095" y="286527"/>
                </a:cubicBezTo>
                <a:cubicBezTo>
                  <a:pt x="192503" y="285324"/>
                  <a:pt x="194910" y="284119"/>
                  <a:pt x="197253" y="282980"/>
                </a:cubicBezTo>
                <a:cubicBezTo>
                  <a:pt x="196936" y="282093"/>
                  <a:pt x="196810" y="281079"/>
                  <a:pt x="196430" y="280952"/>
                </a:cubicBezTo>
                <a:cubicBezTo>
                  <a:pt x="190476" y="279685"/>
                  <a:pt x="184585" y="278165"/>
                  <a:pt x="178567" y="277405"/>
                </a:cubicBezTo>
                <a:lnTo>
                  <a:pt x="167796" y="273979"/>
                </a:lnTo>
                <a:lnTo>
                  <a:pt x="178124" y="273794"/>
                </a:lnTo>
                <a:cubicBezTo>
                  <a:pt x="182811" y="273921"/>
                  <a:pt x="187118" y="274174"/>
                  <a:pt x="191489" y="271261"/>
                </a:cubicBezTo>
                <a:cubicBezTo>
                  <a:pt x="193833" y="269741"/>
                  <a:pt x="197696" y="270057"/>
                  <a:pt x="200801" y="270310"/>
                </a:cubicBezTo>
                <a:lnTo>
                  <a:pt x="213018" y="269883"/>
                </a:lnTo>
                <a:lnTo>
                  <a:pt x="199534" y="264673"/>
                </a:lnTo>
                <a:cubicBezTo>
                  <a:pt x="184204" y="262520"/>
                  <a:pt x="168939" y="260112"/>
                  <a:pt x="153673" y="258022"/>
                </a:cubicBezTo>
                <a:cubicBezTo>
                  <a:pt x="148353" y="257325"/>
                  <a:pt x="142905" y="257388"/>
                  <a:pt x="137519" y="256882"/>
                </a:cubicBezTo>
                <a:cubicBezTo>
                  <a:pt x="133212" y="256502"/>
                  <a:pt x="128968" y="255932"/>
                  <a:pt x="124725" y="255109"/>
                </a:cubicBezTo>
                <a:cubicBezTo>
                  <a:pt x="123711" y="254918"/>
                  <a:pt x="122888" y="253398"/>
                  <a:pt x="121114" y="251624"/>
                </a:cubicBezTo>
                <a:cubicBezTo>
                  <a:pt x="127448" y="249913"/>
                  <a:pt x="132580" y="249344"/>
                  <a:pt x="137900" y="249344"/>
                </a:cubicBezTo>
                <a:cubicBezTo>
                  <a:pt x="142905" y="249344"/>
                  <a:pt x="147971" y="249280"/>
                  <a:pt x="152976" y="248647"/>
                </a:cubicBezTo>
                <a:lnTo>
                  <a:pt x="159463" y="245744"/>
                </a:lnTo>
                <a:lnTo>
                  <a:pt x="146072" y="242630"/>
                </a:lnTo>
                <a:cubicBezTo>
                  <a:pt x="118137" y="240286"/>
                  <a:pt x="90455" y="235724"/>
                  <a:pt x="62521" y="233064"/>
                </a:cubicBezTo>
                <a:cubicBezTo>
                  <a:pt x="52956" y="232114"/>
                  <a:pt x="43327" y="231354"/>
                  <a:pt x="33890" y="230467"/>
                </a:cubicBezTo>
                <a:cubicBezTo>
                  <a:pt x="33383" y="226540"/>
                  <a:pt x="35790" y="226223"/>
                  <a:pt x="37880" y="226287"/>
                </a:cubicBezTo>
                <a:cubicBezTo>
                  <a:pt x="47572" y="226414"/>
                  <a:pt x="57328" y="226414"/>
                  <a:pt x="67019" y="226983"/>
                </a:cubicBezTo>
                <a:cubicBezTo>
                  <a:pt x="77406" y="227553"/>
                  <a:pt x="87795" y="228693"/>
                  <a:pt x="98183" y="229517"/>
                </a:cubicBezTo>
                <a:cubicBezTo>
                  <a:pt x="101414" y="229770"/>
                  <a:pt x="104645" y="229707"/>
                  <a:pt x="107875" y="229897"/>
                </a:cubicBezTo>
                <a:lnTo>
                  <a:pt x="117657" y="226678"/>
                </a:lnTo>
                <a:lnTo>
                  <a:pt x="98887" y="217078"/>
                </a:lnTo>
                <a:lnTo>
                  <a:pt x="110219" y="216215"/>
                </a:lnTo>
                <a:cubicBezTo>
                  <a:pt x="118137" y="216596"/>
                  <a:pt x="126055" y="216848"/>
                  <a:pt x="133973" y="217355"/>
                </a:cubicBezTo>
                <a:cubicBezTo>
                  <a:pt x="137583" y="217545"/>
                  <a:pt x="141131" y="218305"/>
                  <a:pt x="144677" y="218495"/>
                </a:cubicBezTo>
                <a:cubicBezTo>
                  <a:pt x="147529" y="218622"/>
                  <a:pt x="151202" y="219383"/>
                  <a:pt x="153103" y="217925"/>
                </a:cubicBezTo>
                <a:cubicBezTo>
                  <a:pt x="157157" y="214885"/>
                  <a:pt x="161211" y="215645"/>
                  <a:pt x="165391" y="216025"/>
                </a:cubicBezTo>
                <a:cubicBezTo>
                  <a:pt x="172232" y="216596"/>
                  <a:pt x="179010" y="217228"/>
                  <a:pt x="185851" y="217798"/>
                </a:cubicBezTo>
                <a:cubicBezTo>
                  <a:pt x="192249" y="218305"/>
                  <a:pt x="198711" y="219002"/>
                  <a:pt x="204602" y="215328"/>
                </a:cubicBezTo>
                <a:cubicBezTo>
                  <a:pt x="203778" y="214061"/>
                  <a:pt x="203144" y="212984"/>
                  <a:pt x="201878" y="210958"/>
                </a:cubicBezTo>
                <a:cubicBezTo>
                  <a:pt x="210936" y="211148"/>
                  <a:pt x="219107" y="211148"/>
                  <a:pt x="227342" y="211464"/>
                </a:cubicBezTo>
                <a:cubicBezTo>
                  <a:pt x="235956" y="211782"/>
                  <a:pt x="244571" y="212288"/>
                  <a:pt x="253186" y="212921"/>
                </a:cubicBezTo>
                <a:cubicBezTo>
                  <a:pt x="255973" y="213111"/>
                  <a:pt x="258063" y="212288"/>
                  <a:pt x="260344" y="209501"/>
                </a:cubicBezTo>
                <a:cubicBezTo>
                  <a:pt x="258887" y="208677"/>
                  <a:pt x="257873" y="207917"/>
                  <a:pt x="256670" y="207537"/>
                </a:cubicBezTo>
                <a:cubicBezTo>
                  <a:pt x="254960" y="206904"/>
                  <a:pt x="252870" y="207030"/>
                  <a:pt x="251538" y="206017"/>
                </a:cubicBezTo>
                <a:cubicBezTo>
                  <a:pt x="243368" y="199556"/>
                  <a:pt x="233485" y="199428"/>
                  <a:pt x="223921" y="198352"/>
                </a:cubicBezTo>
                <a:cubicBezTo>
                  <a:pt x="218917" y="197781"/>
                  <a:pt x="213976" y="197149"/>
                  <a:pt x="209098" y="196579"/>
                </a:cubicBezTo>
                <a:cubicBezTo>
                  <a:pt x="208719" y="193475"/>
                  <a:pt x="210683" y="194172"/>
                  <a:pt x="211822" y="194172"/>
                </a:cubicBezTo>
                <a:cubicBezTo>
                  <a:pt x="214673" y="194172"/>
                  <a:pt x="217523" y="194426"/>
                  <a:pt x="221007" y="194614"/>
                </a:cubicBezTo>
                <a:cubicBezTo>
                  <a:pt x="221704" y="192144"/>
                  <a:pt x="222401" y="189864"/>
                  <a:pt x="223160" y="187204"/>
                </a:cubicBezTo>
                <a:cubicBezTo>
                  <a:pt x="218030" y="184733"/>
                  <a:pt x="213153" y="182517"/>
                  <a:pt x="208402" y="180109"/>
                </a:cubicBezTo>
                <a:cubicBezTo>
                  <a:pt x="204158" y="177892"/>
                  <a:pt x="198141" y="178969"/>
                  <a:pt x="195480" y="172762"/>
                </a:cubicBezTo>
                <a:cubicBezTo>
                  <a:pt x="200864" y="167440"/>
                  <a:pt x="206374" y="163514"/>
                  <a:pt x="214482" y="166174"/>
                </a:cubicBezTo>
                <a:cubicBezTo>
                  <a:pt x="216129" y="166681"/>
                  <a:pt x="218030" y="166554"/>
                  <a:pt x="219804" y="166554"/>
                </a:cubicBezTo>
                <a:cubicBezTo>
                  <a:pt x="220437" y="166554"/>
                  <a:pt x="221007" y="165920"/>
                  <a:pt x="221767" y="165477"/>
                </a:cubicBezTo>
                <a:cubicBezTo>
                  <a:pt x="222908" y="161296"/>
                  <a:pt x="221640" y="157939"/>
                  <a:pt x="218221" y="155088"/>
                </a:cubicBezTo>
                <a:cubicBezTo>
                  <a:pt x="215306" y="152618"/>
                  <a:pt x="211379" y="151034"/>
                  <a:pt x="209922" y="146664"/>
                </a:cubicBezTo>
                <a:cubicBezTo>
                  <a:pt x="213343" y="143052"/>
                  <a:pt x="217397" y="141026"/>
                  <a:pt x="221894" y="140139"/>
                </a:cubicBezTo>
                <a:cubicBezTo>
                  <a:pt x="221640" y="137225"/>
                  <a:pt x="221513" y="134819"/>
                  <a:pt x="221261" y="131652"/>
                </a:cubicBezTo>
                <a:cubicBezTo>
                  <a:pt x="225314" y="131588"/>
                  <a:pt x="228735" y="131525"/>
                  <a:pt x="232156" y="131461"/>
                </a:cubicBezTo>
                <a:cubicBezTo>
                  <a:pt x="234373" y="128104"/>
                  <a:pt x="228862" y="126774"/>
                  <a:pt x="230509" y="123290"/>
                </a:cubicBezTo>
                <a:cubicBezTo>
                  <a:pt x="238617" y="118539"/>
                  <a:pt x="247929" y="122340"/>
                  <a:pt x="257177" y="121833"/>
                </a:cubicBezTo>
                <a:cubicBezTo>
                  <a:pt x="254896" y="117462"/>
                  <a:pt x="254896" y="117462"/>
                  <a:pt x="247802" y="112838"/>
                </a:cubicBezTo>
                <a:cubicBezTo>
                  <a:pt x="250209" y="109228"/>
                  <a:pt x="253820" y="113345"/>
                  <a:pt x="256670" y="111318"/>
                </a:cubicBezTo>
                <a:cubicBezTo>
                  <a:pt x="253629" y="109418"/>
                  <a:pt x="250715" y="107644"/>
                  <a:pt x="247929" y="105617"/>
                </a:cubicBezTo>
                <a:cubicBezTo>
                  <a:pt x="247422" y="105237"/>
                  <a:pt x="247547" y="103653"/>
                  <a:pt x="247738" y="102703"/>
                </a:cubicBezTo>
                <a:cubicBezTo>
                  <a:pt x="247865" y="102260"/>
                  <a:pt x="248879" y="101879"/>
                  <a:pt x="249512" y="101753"/>
                </a:cubicBezTo>
                <a:cubicBezTo>
                  <a:pt x="250209" y="101626"/>
                  <a:pt x="250969" y="101626"/>
                  <a:pt x="251602" y="101879"/>
                </a:cubicBezTo>
                <a:cubicBezTo>
                  <a:pt x="261991" y="106377"/>
                  <a:pt x="273139" y="107517"/>
                  <a:pt x="284161" y="109228"/>
                </a:cubicBezTo>
                <a:cubicBezTo>
                  <a:pt x="293029" y="110621"/>
                  <a:pt x="301961" y="112204"/>
                  <a:pt x="310639" y="114612"/>
                </a:cubicBezTo>
                <a:cubicBezTo>
                  <a:pt x="318367" y="116765"/>
                  <a:pt x="326157" y="117336"/>
                  <a:pt x="334076" y="117272"/>
                </a:cubicBezTo>
                <a:cubicBezTo>
                  <a:pt x="335217" y="115055"/>
                  <a:pt x="333379" y="114675"/>
                  <a:pt x="332176" y="114421"/>
                </a:cubicBezTo>
                <a:cubicBezTo>
                  <a:pt x="326221" y="113155"/>
                  <a:pt x="320203" y="111318"/>
                  <a:pt x="314185" y="111002"/>
                </a:cubicBezTo>
                <a:cubicBezTo>
                  <a:pt x="305128" y="110557"/>
                  <a:pt x="297274" y="107011"/>
                  <a:pt x="289989" y="102576"/>
                </a:cubicBezTo>
                <a:cubicBezTo>
                  <a:pt x="282577" y="98079"/>
                  <a:pt x="275103" y="93835"/>
                  <a:pt x="267438" y="89908"/>
                </a:cubicBezTo>
                <a:cubicBezTo>
                  <a:pt x="266235" y="89275"/>
                  <a:pt x="265221" y="88325"/>
                  <a:pt x="262941" y="86678"/>
                </a:cubicBezTo>
                <a:cubicBezTo>
                  <a:pt x="265348" y="86044"/>
                  <a:pt x="266614" y="85347"/>
                  <a:pt x="267691" y="85537"/>
                </a:cubicBezTo>
                <a:cubicBezTo>
                  <a:pt x="270479" y="86044"/>
                  <a:pt x="273266" y="86994"/>
                  <a:pt x="275990" y="87754"/>
                </a:cubicBezTo>
                <a:cubicBezTo>
                  <a:pt x="279727" y="88831"/>
                  <a:pt x="283527" y="89971"/>
                  <a:pt x="287455" y="91111"/>
                </a:cubicBezTo>
                <a:cubicBezTo>
                  <a:pt x="288151" y="88007"/>
                  <a:pt x="285871" y="88007"/>
                  <a:pt x="284668" y="87248"/>
                </a:cubicBezTo>
                <a:cubicBezTo>
                  <a:pt x="283464" y="86487"/>
                  <a:pt x="282071" y="85981"/>
                  <a:pt x="280741" y="85410"/>
                </a:cubicBezTo>
                <a:cubicBezTo>
                  <a:pt x="277953" y="84270"/>
                  <a:pt x="275673" y="82496"/>
                  <a:pt x="274722" y="79583"/>
                </a:cubicBezTo>
                <a:cubicBezTo>
                  <a:pt x="273646" y="76162"/>
                  <a:pt x="272759" y="72552"/>
                  <a:pt x="276116" y="68815"/>
                </a:cubicBezTo>
                <a:cubicBezTo>
                  <a:pt x="279220" y="69258"/>
                  <a:pt x="282641" y="69828"/>
                  <a:pt x="286631" y="70398"/>
                </a:cubicBezTo>
                <a:cubicBezTo>
                  <a:pt x="288911" y="67357"/>
                  <a:pt x="287328" y="63683"/>
                  <a:pt x="287835" y="60326"/>
                </a:cubicBezTo>
                <a:cubicBezTo>
                  <a:pt x="288214" y="57793"/>
                  <a:pt x="289861" y="56273"/>
                  <a:pt x="292206" y="56399"/>
                </a:cubicBezTo>
                <a:cubicBezTo>
                  <a:pt x="295056" y="56525"/>
                  <a:pt x="297907" y="57096"/>
                  <a:pt x="300630" y="57856"/>
                </a:cubicBezTo>
                <a:cubicBezTo>
                  <a:pt x="305825" y="59376"/>
                  <a:pt x="311082" y="60199"/>
                  <a:pt x="316213" y="60453"/>
                </a:cubicBezTo>
                <a:cubicBezTo>
                  <a:pt x="318937" y="55449"/>
                  <a:pt x="314185" y="54689"/>
                  <a:pt x="312602" y="52282"/>
                </a:cubicBezTo>
                <a:cubicBezTo>
                  <a:pt x="313109" y="49367"/>
                  <a:pt x="315643" y="46391"/>
                  <a:pt x="312032" y="43033"/>
                </a:cubicBezTo>
                <a:lnTo>
                  <a:pt x="316709" y="40634"/>
                </a:lnTo>
                <a:lnTo>
                  <a:pt x="313996" y="38283"/>
                </a:lnTo>
                <a:cubicBezTo>
                  <a:pt x="319380" y="35305"/>
                  <a:pt x="325461" y="39739"/>
                  <a:pt x="331225" y="35559"/>
                </a:cubicBezTo>
                <a:cubicBezTo>
                  <a:pt x="325081" y="31885"/>
                  <a:pt x="316656" y="32772"/>
                  <a:pt x="314630" y="24157"/>
                </a:cubicBezTo>
                <a:cubicBezTo>
                  <a:pt x="317924" y="23396"/>
                  <a:pt x="321407" y="22320"/>
                  <a:pt x="324891" y="21813"/>
                </a:cubicBezTo>
                <a:cubicBezTo>
                  <a:pt x="328692" y="21306"/>
                  <a:pt x="332682" y="20736"/>
                  <a:pt x="336482" y="21243"/>
                </a:cubicBezTo>
                <a:cubicBezTo>
                  <a:pt x="340283" y="21749"/>
                  <a:pt x="343895" y="23460"/>
                  <a:pt x="347632" y="24664"/>
                </a:cubicBezTo>
                <a:lnTo>
                  <a:pt x="347632" y="24537"/>
                </a:lnTo>
                <a:cubicBezTo>
                  <a:pt x="348328" y="26311"/>
                  <a:pt x="349659" y="27071"/>
                  <a:pt x="351496" y="27008"/>
                </a:cubicBezTo>
                <a:lnTo>
                  <a:pt x="351369" y="27071"/>
                </a:lnTo>
                <a:cubicBezTo>
                  <a:pt x="361440" y="29921"/>
                  <a:pt x="371449" y="32772"/>
                  <a:pt x="382280" y="35812"/>
                </a:cubicBezTo>
                <a:lnTo>
                  <a:pt x="389636" y="31012"/>
                </a:lnTo>
                <a:lnTo>
                  <a:pt x="355993" y="17062"/>
                </a:lnTo>
                <a:cubicBezTo>
                  <a:pt x="353396" y="15795"/>
                  <a:pt x="350799" y="14592"/>
                  <a:pt x="348075" y="13705"/>
                </a:cubicBezTo>
                <a:cubicBezTo>
                  <a:pt x="344781" y="12628"/>
                  <a:pt x="342374" y="10601"/>
                  <a:pt x="340854" y="7625"/>
                </a:cubicBezTo>
                <a:cubicBezTo>
                  <a:pt x="340473" y="6864"/>
                  <a:pt x="340854" y="5661"/>
                  <a:pt x="340917" y="4838"/>
                </a:cubicBezTo>
                <a:cubicBezTo>
                  <a:pt x="344274" y="2810"/>
                  <a:pt x="345351" y="6928"/>
                  <a:pt x="348265" y="6928"/>
                </a:cubicBezTo>
                <a:cubicBezTo>
                  <a:pt x="349785" y="4964"/>
                  <a:pt x="351432" y="2747"/>
                  <a:pt x="353079" y="594"/>
                </a:cubicBezTo>
                <a:cubicBezTo>
                  <a:pt x="354409" y="403"/>
                  <a:pt x="355549" y="-230"/>
                  <a:pt x="356436" y="86"/>
                </a:cubicBezTo>
                <a:close/>
              </a:path>
            </a:pathLst>
          </a:custGeom>
          <a:solidFill>
            <a:srgbClr val="FFED00"/>
          </a:solidFill>
          <a:ln w="6246" cap="flat">
            <a:noFill/>
            <a:prstDash val="solid"/>
            <a:miter/>
          </a:ln>
        </p:spPr>
        <p:txBody>
          <a:bodyPr wrap="square" rtlCol="0" anchor="ctr">
            <a:noAutofit/>
          </a:bodyPr>
          <a:lstStyle/>
          <a:p>
            <a:endParaRPr lang="fr-FR" sz="2400"/>
          </a:p>
        </p:txBody>
      </p:sp>
      <p:grpSp>
        <p:nvGrpSpPr>
          <p:cNvPr id="17" name="Graphic 1">
            <a:extLst>
              <a:ext uri="{FF2B5EF4-FFF2-40B4-BE49-F238E27FC236}">
                <a16:creationId xmlns:a16="http://schemas.microsoft.com/office/drawing/2014/main" id="{965CC939-1B09-4CAA-9E19-9DA32AA0C200}"/>
              </a:ext>
            </a:extLst>
          </p:cNvPr>
          <p:cNvGrpSpPr/>
          <p:nvPr/>
        </p:nvGrpSpPr>
        <p:grpSpPr>
          <a:xfrm>
            <a:off x="1153604" y="537155"/>
            <a:ext cx="456075" cy="380063"/>
            <a:chOff x="1087576" y="395968"/>
            <a:chExt cx="337288" cy="281073"/>
          </a:xfrm>
          <a:solidFill>
            <a:schemeClr val="tx2"/>
          </a:solidFill>
        </p:grpSpPr>
        <p:sp>
          <p:nvSpPr>
            <p:cNvPr id="19" name="Freeform: Shape 18">
              <a:extLst>
                <a:ext uri="{FF2B5EF4-FFF2-40B4-BE49-F238E27FC236}">
                  <a16:creationId xmlns:a16="http://schemas.microsoft.com/office/drawing/2014/main" id="{650C9D6F-BCA0-482A-B8E9-D6527F22965F}"/>
                </a:ext>
              </a:extLst>
            </p:cNvPr>
            <p:cNvSpPr/>
            <p:nvPr/>
          </p:nvSpPr>
          <p:spPr>
            <a:xfrm>
              <a:off x="1370594" y="425883"/>
              <a:ext cx="49969" cy="99937"/>
            </a:xfrm>
            <a:custGeom>
              <a:avLst/>
              <a:gdLst>
                <a:gd name="connsiteX0" fmla="*/ 41047 w 49968"/>
                <a:gd name="connsiteY0" fmla="*/ 46631 h 99937"/>
                <a:gd name="connsiteX1" fmla="*/ 41110 w 49968"/>
                <a:gd name="connsiteY1" fmla="*/ 47568 h 99937"/>
                <a:gd name="connsiteX2" fmla="*/ 43296 w 49968"/>
                <a:gd name="connsiteY2" fmla="*/ 52377 h 99937"/>
                <a:gd name="connsiteX3" fmla="*/ 43296 w 49968"/>
                <a:gd name="connsiteY3" fmla="*/ 52377 h 99937"/>
                <a:gd name="connsiteX4" fmla="*/ 48605 w 49968"/>
                <a:gd name="connsiteY4" fmla="*/ 69741 h 99937"/>
                <a:gd name="connsiteX5" fmla="*/ 51103 w 49968"/>
                <a:gd name="connsiteY5" fmla="*/ 88229 h 99937"/>
                <a:gd name="connsiteX6" fmla="*/ 51915 w 49968"/>
                <a:gd name="connsiteY6" fmla="*/ 93976 h 99937"/>
                <a:gd name="connsiteX7" fmla="*/ 50604 w 49968"/>
                <a:gd name="connsiteY7" fmla="*/ 101971 h 99937"/>
                <a:gd name="connsiteX8" fmla="*/ 47231 w 49968"/>
                <a:gd name="connsiteY8" fmla="*/ 98411 h 99937"/>
                <a:gd name="connsiteX9" fmla="*/ 40423 w 49968"/>
                <a:gd name="connsiteY9" fmla="*/ 70053 h 99937"/>
                <a:gd name="connsiteX10" fmla="*/ 39861 w 49968"/>
                <a:gd name="connsiteY10" fmla="*/ 67243 h 99937"/>
                <a:gd name="connsiteX11" fmla="*/ 38736 w 49968"/>
                <a:gd name="connsiteY11" fmla="*/ 61684 h 99937"/>
                <a:gd name="connsiteX12" fmla="*/ 34864 w 49968"/>
                <a:gd name="connsiteY12" fmla="*/ 52127 h 99937"/>
                <a:gd name="connsiteX13" fmla="*/ 33240 w 49968"/>
                <a:gd name="connsiteY13" fmla="*/ 49129 h 99937"/>
                <a:gd name="connsiteX14" fmla="*/ 23933 w 49968"/>
                <a:gd name="connsiteY14" fmla="*/ 33202 h 99937"/>
                <a:gd name="connsiteX15" fmla="*/ 19124 w 49968"/>
                <a:gd name="connsiteY15" fmla="*/ 27892 h 99937"/>
                <a:gd name="connsiteX16" fmla="*/ 17000 w 49968"/>
                <a:gd name="connsiteY16" fmla="*/ 26831 h 99937"/>
                <a:gd name="connsiteX17" fmla="*/ 15751 w 49968"/>
                <a:gd name="connsiteY17" fmla="*/ 26268 h 99937"/>
                <a:gd name="connsiteX18" fmla="*/ 13564 w 49968"/>
                <a:gd name="connsiteY18" fmla="*/ 22021 h 99937"/>
                <a:gd name="connsiteX19" fmla="*/ 4883 w 49968"/>
                <a:gd name="connsiteY19" fmla="*/ 7718 h 99937"/>
                <a:gd name="connsiteX20" fmla="*/ 135 w 49968"/>
                <a:gd name="connsiteY20" fmla="*/ 410 h 99937"/>
                <a:gd name="connsiteX21" fmla="*/ 2884 w 49968"/>
                <a:gd name="connsiteY21" fmla="*/ 472 h 99937"/>
                <a:gd name="connsiteX22" fmla="*/ 8318 w 49968"/>
                <a:gd name="connsiteY22" fmla="*/ 3533 h 99937"/>
                <a:gd name="connsiteX23" fmla="*/ 14876 w 49968"/>
                <a:gd name="connsiteY23" fmla="*/ 9404 h 99937"/>
                <a:gd name="connsiteX24" fmla="*/ 16313 w 49968"/>
                <a:gd name="connsiteY24" fmla="*/ 11590 h 99937"/>
                <a:gd name="connsiteX25" fmla="*/ 18686 w 49968"/>
                <a:gd name="connsiteY25" fmla="*/ 14588 h 99937"/>
                <a:gd name="connsiteX26" fmla="*/ 25994 w 49968"/>
                <a:gd name="connsiteY26" fmla="*/ 22771 h 99937"/>
                <a:gd name="connsiteX27" fmla="*/ 29367 w 49968"/>
                <a:gd name="connsiteY27" fmla="*/ 27018 h 99937"/>
                <a:gd name="connsiteX28" fmla="*/ 31678 w 49968"/>
                <a:gd name="connsiteY28" fmla="*/ 31140 h 99937"/>
                <a:gd name="connsiteX29" fmla="*/ 39298 w 49968"/>
                <a:gd name="connsiteY29" fmla="*/ 43320 h 99937"/>
                <a:gd name="connsiteX30" fmla="*/ 41047 w 49968"/>
                <a:gd name="connsiteY30" fmla="*/ 46631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968" h="99937">
                  <a:moveTo>
                    <a:pt x="41047" y="46631"/>
                  </a:moveTo>
                  <a:cubicBezTo>
                    <a:pt x="41110" y="46943"/>
                    <a:pt x="41172" y="47255"/>
                    <a:pt x="41110" y="47568"/>
                  </a:cubicBezTo>
                  <a:cubicBezTo>
                    <a:pt x="41922" y="49129"/>
                    <a:pt x="40735" y="51440"/>
                    <a:pt x="43296" y="52377"/>
                  </a:cubicBezTo>
                  <a:lnTo>
                    <a:pt x="43296" y="52377"/>
                  </a:lnTo>
                  <a:cubicBezTo>
                    <a:pt x="43796" y="58498"/>
                    <a:pt x="47668" y="63745"/>
                    <a:pt x="48605" y="69741"/>
                  </a:cubicBezTo>
                  <a:cubicBezTo>
                    <a:pt x="48168" y="76050"/>
                    <a:pt x="50666" y="81983"/>
                    <a:pt x="51103" y="88229"/>
                  </a:cubicBezTo>
                  <a:cubicBezTo>
                    <a:pt x="51228" y="90166"/>
                    <a:pt x="51103" y="92164"/>
                    <a:pt x="51915" y="93976"/>
                  </a:cubicBezTo>
                  <a:cubicBezTo>
                    <a:pt x="52478" y="96787"/>
                    <a:pt x="53290" y="99597"/>
                    <a:pt x="50604" y="101971"/>
                  </a:cubicBezTo>
                  <a:cubicBezTo>
                    <a:pt x="48043" y="101846"/>
                    <a:pt x="47293" y="100222"/>
                    <a:pt x="47231" y="98411"/>
                  </a:cubicBezTo>
                  <a:cubicBezTo>
                    <a:pt x="46794" y="88604"/>
                    <a:pt x="43546" y="79360"/>
                    <a:pt x="40423" y="70053"/>
                  </a:cubicBezTo>
                  <a:cubicBezTo>
                    <a:pt x="40110" y="69116"/>
                    <a:pt x="39985" y="68180"/>
                    <a:pt x="39861" y="67243"/>
                  </a:cubicBezTo>
                  <a:cubicBezTo>
                    <a:pt x="39611" y="65369"/>
                    <a:pt x="39673" y="63433"/>
                    <a:pt x="38736" y="61684"/>
                  </a:cubicBezTo>
                  <a:cubicBezTo>
                    <a:pt x="37550" y="58436"/>
                    <a:pt x="36113" y="55313"/>
                    <a:pt x="34864" y="52127"/>
                  </a:cubicBezTo>
                  <a:cubicBezTo>
                    <a:pt x="34364" y="51128"/>
                    <a:pt x="33864" y="50128"/>
                    <a:pt x="33240" y="49129"/>
                  </a:cubicBezTo>
                  <a:cubicBezTo>
                    <a:pt x="30117" y="43820"/>
                    <a:pt x="27681" y="38261"/>
                    <a:pt x="23933" y="33202"/>
                  </a:cubicBezTo>
                  <a:cubicBezTo>
                    <a:pt x="22809" y="31078"/>
                    <a:pt x="20623" y="29704"/>
                    <a:pt x="19124" y="27892"/>
                  </a:cubicBezTo>
                  <a:cubicBezTo>
                    <a:pt x="18561" y="27268"/>
                    <a:pt x="17874" y="26893"/>
                    <a:pt x="17000" y="26831"/>
                  </a:cubicBezTo>
                  <a:cubicBezTo>
                    <a:pt x="16563" y="26706"/>
                    <a:pt x="16125" y="26518"/>
                    <a:pt x="15751" y="26268"/>
                  </a:cubicBezTo>
                  <a:cubicBezTo>
                    <a:pt x="14502" y="25082"/>
                    <a:pt x="13315" y="23645"/>
                    <a:pt x="13564" y="22021"/>
                  </a:cubicBezTo>
                  <a:cubicBezTo>
                    <a:pt x="14502" y="15275"/>
                    <a:pt x="9942" y="11465"/>
                    <a:pt x="4883" y="7718"/>
                  </a:cubicBezTo>
                  <a:cubicBezTo>
                    <a:pt x="2322" y="5844"/>
                    <a:pt x="-677" y="4095"/>
                    <a:pt x="135" y="410"/>
                  </a:cubicBezTo>
                  <a:cubicBezTo>
                    <a:pt x="1072" y="-340"/>
                    <a:pt x="1947" y="97"/>
                    <a:pt x="2884" y="472"/>
                  </a:cubicBezTo>
                  <a:cubicBezTo>
                    <a:pt x="4570" y="1659"/>
                    <a:pt x="6444" y="2596"/>
                    <a:pt x="8318" y="3533"/>
                  </a:cubicBezTo>
                  <a:cubicBezTo>
                    <a:pt x="10754" y="5282"/>
                    <a:pt x="12877" y="7280"/>
                    <a:pt x="14876" y="9404"/>
                  </a:cubicBezTo>
                  <a:cubicBezTo>
                    <a:pt x="15438" y="10091"/>
                    <a:pt x="15813" y="10841"/>
                    <a:pt x="16313" y="11590"/>
                  </a:cubicBezTo>
                  <a:cubicBezTo>
                    <a:pt x="16937" y="12715"/>
                    <a:pt x="17812" y="13651"/>
                    <a:pt x="18686" y="14588"/>
                  </a:cubicBezTo>
                  <a:cubicBezTo>
                    <a:pt x="20748" y="17586"/>
                    <a:pt x="23871" y="19835"/>
                    <a:pt x="25994" y="22771"/>
                  </a:cubicBezTo>
                  <a:cubicBezTo>
                    <a:pt x="27181" y="24145"/>
                    <a:pt x="28180" y="25644"/>
                    <a:pt x="29367" y="27018"/>
                  </a:cubicBezTo>
                  <a:cubicBezTo>
                    <a:pt x="30366" y="28267"/>
                    <a:pt x="31178" y="29641"/>
                    <a:pt x="31678" y="31140"/>
                  </a:cubicBezTo>
                  <a:cubicBezTo>
                    <a:pt x="33802" y="35450"/>
                    <a:pt x="35363" y="39947"/>
                    <a:pt x="39298" y="43320"/>
                  </a:cubicBezTo>
                  <a:cubicBezTo>
                    <a:pt x="40485" y="44070"/>
                    <a:pt x="40548" y="45444"/>
                    <a:pt x="41047" y="46631"/>
                  </a:cubicBezTo>
                  <a:close/>
                </a:path>
              </a:pathLst>
            </a:custGeom>
            <a:grpFill/>
            <a:ln w="6246" cap="flat">
              <a:noFill/>
              <a:prstDash val="solid"/>
              <a:miter/>
            </a:ln>
          </p:spPr>
          <p:txBody>
            <a:bodyPr rtlCol="0" anchor="ctr"/>
            <a:lstStyle/>
            <a:p>
              <a:endParaRPr lang="fr-FR" sz="2400"/>
            </a:p>
          </p:txBody>
        </p:sp>
        <p:sp>
          <p:nvSpPr>
            <p:cNvPr id="20" name="Freeform: Shape 19">
              <a:extLst>
                <a:ext uri="{FF2B5EF4-FFF2-40B4-BE49-F238E27FC236}">
                  <a16:creationId xmlns:a16="http://schemas.microsoft.com/office/drawing/2014/main" id="{13F12B3F-A79A-4C75-B3B7-6720D16E2D47}"/>
                </a:ext>
              </a:extLst>
            </p:cNvPr>
            <p:cNvSpPr/>
            <p:nvPr/>
          </p:nvSpPr>
          <p:spPr>
            <a:xfrm>
              <a:off x="1219887" y="658289"/>
              <a:ext cx="93691" cy="12492"/>
            </a:xfrm>
            <a:custGeom>
              <a:avLst/>
              <a:gdLst>
                <a:gd name="connsiteX0" fmla="*/ 65521 w 93690"/>
                <a:gd name="connsiteY0" fmla="*/ 15223 h 12492"/>
                <a:gd name="connsiteX1" fmla="*/ 64459 w 93690"/>
                <a:gd name="connsiteY1" fmla="*/ 15411 h 12492"/>
                <a:gd name="connsiteX2" fmla="*/ 47408 w 93690"/>
                <a:gd name="connsiteY2" fmla="*/ 17222 h 12492"/>
                <a:gd name="connsiteX3" fmla="*/ 24235 w 93690"/>
                <a:gd name="connsiteY3" fmla="*/ 18409 h 12492"/>
                <a:gd name="connsiteX4" fmla="*/ 18051 w 93690"/>
                <a:gd name="connsiteY4" fmla="*/ 17722 h 12492"/>
                <a:gd name="connsiteX5" fmla="*/ 10618 w 93690"/>
                <a:gd name="connsiteY5" fmla="*/ 17722 h 12492"/>
                <a:gd name="connsiteX6" fmla="*/ 4247 w 93690"/>
                <a:gd name="connsiteY6" fmla="*/ 17659 h 12492"/>
                <a:gd name="connsiteX7" fmla="*/ 0 w 93690"/>
                <a:gd name="connsiteY7" fmla="*/ 14349 h 12492"/>
                <a:gd name="connsiteX8" fmla="*/ 6433 w 93690"/>
                <a:gd name="connsiteY8" fmla="*/ 13037 h 12492"/>
                <a:gd name="connsiteX9" fmla="*/ 38975 w 93690"/>
                <a:gd name="connsiteY9" fmla="*/ 11101 h 12492"/>
                <a:gd name="connsiteX10" fmla="*/ 46283 w 93690"/>
                <a:gd name="connsiteY10" fmla="*/ 10414 h 12492"/>
                <a:gd name="connsiteX11" fmla="*/ 73391 w 93690"/>
                <a:gd name="connsiteY11" fmla="*/ 7291 h 12492"/>
                <a:gd name="connsiteX12" fmla="*/ 90568 w 93690"/>
                <a:gd name="connsiteY12" fmla="*/ 1107 h 12492"/>
                <a:gd name="connsiteX13" fmla="*/ 96189 w 93690"/>
                <a:gd name="connsiteY13" fmla="*/ 170 h 12492"/>
                <a:gd name="connsiteX14" fmla="*/ 99000 w 93690"/>
                <a:gd name="connsiteY14" fmla="*/ 2919 h 12492"/>
                <a:gd name="connsiteX15" fmla="*/ 95065 w 93690"/>
                <a:gd name="connsiteY15" fmla="*/ 6229 h 12492"/>
                <a:gd name="connsiteX16" fmla="*/ 65521 w 93690"/>
                <a:gd name="connsiteY16" fmla="*/ 1522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2492">
                  <a:moveTo>
                    <a:pt x="65521" y="15223"/>
                  </a:moveTo>
                  <a:cubicBezTo>
                    <a:pt x="65147" y="15286"/>
                    <a:pt x="64772" y="15348"/>
                    <a:pt x="64459" y="15411"/>
                  </a:cubicBezTo>
                  <a:cubicBezTo>
                    <a:pt x="58588" y="14661"/>
                    <a:pt x="53154" y="17160"/>
                    <a:pt x="47408" y="17222"/>
                  </a:cubicBezTo>
                  <a:cubicBezTo>
                    <a:pt x="39663" y="17347"/>
                    <a:pt x="32042" y="19158"/>
                    <a:pt x="24235" y="18409"/>
                  </a:cubicBezTo>
                  <a:cubicBezTo>
                    <a:pt x="22236" y="17784"/>
                    <a:pt x="20175" y="17597"/>
                    <a:pt x="18051" y="17722"/>
                  </a:cubicBezTo>
                  <a:cubicBezTo>
                    <a:pt x="15553" y="17784"/>
                    <a:pt x="13117" y="17722"/>
                    <a:pt x="10618" y="17722"/>
                  </a:cubicBezTo>
                  <a:cubicBezTo>
                    <a:pt x="8495" y="17659"/>
                    <a:pt x="6371" y="17909"/>
                    <a:pt x="4247" y="17659"/>
                  </a:cubicBezTo>
                  <a:cubicBezTo>
                    <a:pt x="2061" y="17409"/>
                    <a:pt x="0" y="16910"/>
                    <a:pt x="0" y="14349"/>
                  </a:cubicBezTo>
                  <a:cubicBezTo>
                    <a:pt x="1811" y="12662"/>
                    <a:pt x="4185" y="12725"/>
                    <a:pt x="6433" y="13037"/>
                  </a:cubicBezTo>
                  <a:cubicBezTo>
                    <a:pt x="17489" y="14661"/>
                    <a:pt x="28232" y="13225"/>
                    <a:pt x="38975" y="11101"/>
                  </a:cubicBezTo>
                  <a:cubicBezTo>
                    <a:pt x="41411" y="10601"/>
                    <a:pt x="43785" y="10102"/>
                    <a:pt x="46283" y="10414"/>
                  </a:cubicBezTo>
                  <a:cubicBezTo>
                    <a:pt x="55902" y="13662"/>
                    <a:pt x="64522" y="9352"/>
                    <a:pt x="73391" y="7291"/>
                  </a:cubicBezTo>
                  <a:cubicBezTo>
                    <a:pt x="79325" y="5917"/>
                    <a:pt x="85009" y="3543"/>
                    <a:pt x="90568" y="1107"/>
                  </a:cubicBezTo>
                  <a:cubicBezTo>
                    <a:pt x="92317" y="358"/>
                    <a:pt x="94128" y="-329"/>
                    <a:pt x="96189" y="170"/>
                  </a:cubicBezTo>
                  <a:cubicBezTo>
                    <a:pt x="97626" y="670"/>
                    <a:pt x="98625" y="1544"/>
                    <a:pt x="99000" y="2919"/>
                  </a:cubicBezTo>
                  <a:cubicBezTo>
                    <a:pt x="98813" y="5105"/>
                    <a:pt x="97064" y="5542"/>
                    <a:pt x="95065" y="6229"/>
                  </a:cubicBezTo>
                  <a:cubicBezTo>
                    <a:pt x="85384" y="9414"/>
                    <a:pt x="75203" y="11663"/>
                    <a:pt x="65521" y="15223"/>
                  </a:cubicBezTo>
                  <a:close/>
                </a:path>
              </a:pathLst>
            </a:custGeom>
            <a:grpFill/>
            <a:ln w="6246" cap="flat">
              <a:noFill/>
              <a:prstDash val="solid"/>
              <a:miter/>
            </a:ln>
          </p:spPr>
          <p:txBody>
            <a:bodyPr rtlCol="0" anchor="ctr"/>
            <a:lstStyle/>
            <a:p>
              <a:endParaRPr lang="fr-FR" sz="2400"/>
            </a:p>
          </p:txBody>
        </p:sp>
        <p:sp>
          <p:nvSpPr>
            <p:cNvPr id="21" name="Freeform: Shape 20">
              <a:extLst>
                <a:ext uri="{FF2B5EF4-FFF2-40B4-BE49-F238E27FC236}">
                  <a16:creationId xmlns:a16="http://schemas.microsoft.com/office/drawing/2014/main" id="{94BF8427-B8B0-4057-A0AA-D0FA453A54A0}"/>
                </a:ext>
              </a:extLst>
            </p:cNvPr>
            <p:cNvSpPr/>
            <p:nvPr/>
          </p:nvSpPr>
          <p:spPr>
            <a:xfrm>
              <a:off x="1285408" y="645990"/>
              <a:ext cx="62461" cy="24984"/>
            </a:xfrm>
            <a:custGeom>
              <a:avLst/>
              <a:gdLst>
                <a:gd name="connsiteX0" fmla="*/ 0 w 62460"/>
                <a:gd name="connsiteY0" fmla="*/ 27523 h 24984"/>
                <a:gd name="connsiteX1" fmla="*/ 10743 w 62460"/>
                <a:gd name="connsiteY1" fmla="*/ 22776 h 24984"/>
                <a:gd name="connsiteX2" fmla="*/ 29481 w 62460"/>
                <a:gd name="connsiteY2" fmla="*/ 17529 h 24984"/>
                <a:gd name="connsiteX3" fmla="*/ 33166 w 62460"/>
                <a:gd name="connsiteY3" fmla="*/ 14968 h 24984"/>
                <a:gd name="connsiteX4" fmla="*/ 36477 w 62460"/>
                <a:gd name="connsiteY4" fmla="*/ 12157 h 24984"/>
                <a:gd name="connsiteX5" fmla="*/ 63585 w 62460"/>
                <a:gd name="connsiteY5" fmla="*/ 415 h 24984"/>
                <a:gd name="connsiteX6" fmla="*/ 67520 w 62460"/>
                <a:gd name="connsiteY6" fmla="*/ 290 h 24984"/>
                <a:gd name="connsiteX7" fmla="*/ 67957 w 62460"/>
                <a:gd name="connsiteY7" fmla="*/ 1664 h 24984"/>
                <a:gd name="connsiteX8" fmla="*/ 54466 w 62460"/>
                <a:gd name="connsiteY8" fmla="*/ 10159 h 24984"/>
                <a:gd name="connsiteX9" fmla="*/ 48345 w 62460"/>
                <a:gd name="connsiteY9" fmla="*/ 12844 h 24984"/>
                <a:gd name="connsiteX10" fmla="*/ 33541 w 62460"/>
                <a:gd name="connsiteY10" fmla="*/ 18528 h 24984"/>
                <a:gd name="connsiteX11" fmla="*/ 29856 w 62460"/>
                <a:gd name="connsiteY11" fmla="*/ 19153 h 24984"/>
                <a:gd name="connsiteX12" fmla="*/ 18488 w 62460"/>
                <a:gd name="connsiteY12" fmla="*/ 22838 h 24984"/>
                <a:gd name="connsiteX13" fmla="*/ 8495 w 62460"/>
                <a:gd name="connsiteY13" fmla="*/ 25649 h 24984"/>
                <a:gd name="connsiteX14" fmla="*/ 0 w 62460"/>
                <a:gd name="connsiteY14" fmla="*/ 2752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60" h="24984">
                  <a:moveTo>
                    <a:pt x="0" y="27523"/>
                  </a:moveTo>
                  <a:cubicBezTo>
                    <a:pt x="2748" y="24400"/>
                    <a:pt x="6996" y="23962"/>
                    <a:pt x="10743" y="22776"/>
                  </a:cubicBezTo>
                  <a:cubicBezTo>
                    <a:pt x="16927" y="20902"/>
                    <a:pt x="23235" y="19340"/>
                    <a:pt x="29481" y="17529"/>
                  </a:cubicBezTo>
                  <a:cubicBezTo>
                    <a:pt x="30981" y="17092"/>
                    <a:pt x="32480" y="16467"/>
                    <a:pt x="33166" y="14968"/>
                  </a:cubicBezTo>
                  <a:cubicBezTo>
                    <a:pt x="33541" y="13344"/>
                    <a:pt x="34978" y="12657"/>
                    <a:pt x="36477" y="12157"/>
                  </a:cubicBezTo>
                  <a:cubicBezTo>
                    <a:pt x="45971" y="9097"/>
                    <a:pt x="54715" y="4662"/>
                    <a:pt x="63585" y="415"/>
                  </a:cubicBezTo>
                  <a:cubicBezTo>
                    <a:pt x="64897" y="102"/>
                    <a:pt x="66208" y="-272"/>
                    <a:pt x="67520" y="290"/>
                  </a:cubicBezTo>
                  <a:cubicBezTo>
                    <a:pt x="67832" y="727"/>
                    <a:pt x="67957" y="1164"/>
                    <a:pt x="67957" y="1664"/>
                  </a:cubicBezTo>
                  <a:cubicBezTo>
                    <a:pt x="65209" y="6723"/>
                    <a:pt x="58963" y="7285"/>
                    <a:pt x="54466" y="10159"/>
                  </a:cubicBezTo>
                  <a:cubicBezTo>
                    <a:pt x="52654" y="11345"/>
                    <a:pt x="50343" y="11845"/>
                    <a:pt x="48345" y="12844"/>
                  </a:cubicBezTo>
                  <a:cubicBezTo>
                    <a:pt x="43410" y="14718"/>
                    <a:pt x="38288" y="16280"/>
                    <a:pt x="33541" y="18528"/>
                  </a:cubicBezTo>
                  <a:cubicBezTo>
                    <a:pt x="32417" y="19153"/>
                    <a:pt x="31230" y="19590"/>
                    <a:pt x="29856" y="19153"/>
                  </a:cubicBezTo>
                  <a:cubicBezTo>
                    <a:pt x="26296" y="20964"/>
                    <a:pt x="22361" y="21901"/>
                    <a:pt x="18488" y="22838"/>
                  </a:cubicBezTo>
                  <a:cubicBezTo>
                    <a:pt x="15115" y="23650"/>
                    <a:pt x="11805" y="24712"/>
                    <a:pt x="8495" y="25649"/>
                  </a:cubicBezTo>
                  <a:cubicBezTo>
                    <a:pt x="5934" y="27210"/>
                    <a:pt x="2998" y="27398"/>
                    <a:pt x="0" y="27523"/>
                  </a:cubicBezTo>
                  <a:close/>
                </a:path>
              </a:pathLst>
            </a:custGeom>
            <a:grpFill/>
            <a:ln w="6246" cap="flat">
              <a:noFill/>
              <a:prstDash val="solid"/>
              <a:miter/>
            </a:ln>
          </p:spPr>
          <p:txBody>
            <a:bodyPr rtlCol="0" anchor="ctr"/>
            <a:lstStyle/>
            <a:p>
              <a:endParaRPr lang="fr-FR" sz="2400"/>
            </a:p>
          </p:txBody>
        </p:sp>
        <p:sp>
          <p:nvSpPr>
            <p:cNvPr id="22" name="Freeform: Shape 21">
              <a:extLst>
                <a:ext uri="{FF2B5EF4-FFF2-40B4-BE49-F238E27FC236}">
                  <a16:creationId xmlns:a16="http://schemas.microsoft.com/office/drawing/2014/main" id="{934749CE-E177-46C3-B5F7-46C70D14FA43}"/>
                </a:ext>
              </a:extLst>
            </p:cNvPr>
            <p:cNvSpPr/>
            <p:nvPr/>
          </p:nvSpPr>
          <p:spPr>
            <a:xfrm>
              <a:off x="1228076" y="671712"/>
              <a:ext cx="56215" cy="6246"/>
            </a:xfrm>
            <a:custGeom>
              <a:avLst/>
              <a:gdLst>
                <a:gd name="connsiteX0" fmla="*/ 2803 w 56214"/>
                <a:gd name="connsiteY0" fmla="*/ 2862 h 6246"/>
                <a:gd name="connsiteX1" fmla="*/ 10299 w 56214"/>
                <a:gd name="connsiteY1" fmla="*/ 2862 h 6246"/>
                <a:gd name="connsiteX2" fmla="*/ 15670 w 56214"/>
                <a:gd name="connsiteY2" fmla="*/ 3799 h 6246"/>
                <a:gd name="connsiteX3" fmla="*/ 52335 w 56214"/>
                <a:gd name="connsiteY3" fmla="*/ 301 h 6246"/>
                <a:gd name="connsiteX4" fmla="*/ 56332 w 56214"/>
                <a:gd name="connsiteY4" fmla="*/ 1988 h 6246"/>
                <a:gd name="connsiteX5" fmla="*/ 40467 w 56214"/>
                <a:gd name="connsiteY5" fmla="*/ 4923 h 6246"/>
                <a:gd name="connsiteX6" fmla="*/ 17981 w 56214"/>
                <a:gd name="connsiteY6" fmla="*/ 6610 h 6246"/>
                <a:gd name="connsiteX7" fmla="*/ 3865 w 56214"/>
                <a:gd name="connsiteY7" fmla="*/ 7297 h 6246"/>
                <a:gd name="connsiteX8" fmla="*/ 2116 w 56214"/>
                <a:gd name="connsiteY8" fmla="*/ 7297 h 6246"/>
                <a:gd name="connsiteX9" fmla="*/ 180 w 56214"/>
                <a:gd name="connsiteY9" fmla="*/ 5860 h 6246"/>
                <a:gd name="connsiteX10" fmla="*/ 2803 w 56214"/>
                <a:gd name="connsiteY10" fmla="*/ 2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2803" y="2862"/>
                  </a:moveTo>
                  <a:cubicBezTo>
                    <a:pt x="5302" y="2862"/>
                    <a:pt x="7800" y="2862"/>
                    <a:pt x="10299" y="2862"/>
                  </a:cubicBezTo>
                  <a:cubicBezTo>
                    <a:pt x="11923" y="4049"/>
                    <a:pt x="14046" y="2675"/>
                    <a:pt x="15670" y="3799"/>
                  </a:cubicBezTo>
                  <a:cubicBezTo>
                    <a:pt x="27975" y="3299"/>
                    <a:pt x="40280" y="2987"/>
                    <a:pt x="52335" y="301"/>
                  </a:cubicBezTo>
                  <a:cubicBezTo>
                    <a:pt x="54208" y="-136"/>
                    <a:pt x="55895" y="-448"/>
                    <a:pt x="56332" y="1988"/>
                  </a:cubicBezTo>
                  <a:cubicBezTo>
                    <a:pt x="51210" y="3737"/>
                    <a:pt x="45901" y="4549"/>
                    <a:pt x="40467" y="4923"/>
                  </a:cubicBezTo>
                  <a:cubicBezTo>
                    <a:pt x="33034" y="5923"/>
                    <a:pt x="25477" y="5985"/>
                    <a:pt x="17981" y="6610"/>
                  </a:cubicBezTo>
                  <a:cubicBezTo>
                    <a:pt x="13297" y="7547"/>
                    <a:pt x="8550" y="7047"/>
                    <a:pt x="3865" y="7297"/>
                  </a:cubicBezTo>
                  <a:cubicBezTo>
                    <a:pt x="3303" y="7422"/>
                    <a:pt x="2741" y="7422"/>
                    <a:pt x="2116" y="7297"/>
                  </a:cubicBezTo>
                  <a:cubicBezTo>
                    <a:pt x="1242" y="7047"/>
                    <a:pt x="617" y="6547"/>
                    <a:pt x="180" y="5860"/>
                  </a:cubicBezTo>
                  <a:cubicBezTo>
                    <a:pt x="-632" y="3737"/>
                    <a:pt x="1492" y="3549"/>
                    <a:pt x="2803" y="2862"/>
                  </a:cubicBezTo>
                  <a:close/>
                </a:path>
              </a:pathLst>
            </a:custGeom>
            <a:grpFill/>
            <a:ln w="6246" cap="flat">
              <a:noFill/>
              <a:prstDash val="solid"/>
              <a:miter/>
            </a:ln>
          </p:spPr>
          <p:txBody>
            <a:bodyPr rtlCol="0" anchor="ctr"/>
            <a:lstStyle/>
            <a:p>
              <a:endParaRPr lang="fr-FR" sz="2400"/>
            </a:p>
          </p:txBody>
        </p:sp>
        <p:sp>
          <p:nvSpPr>
            <p:cNvPr id="23" name="Freeform: Shape 22">
              <a:extLst>
                <a:ext uri="{FF2B5EF4-FFF2-40B4-BE49-F238E27FC236}">
                  <a16:creationId xmlns:a16="http://schemas.microsoft.com/office/drawing/2014/main" id="{B5B934DB-3E8E-4B1E-A862-69E01C5BC165}"/>
                </a:ext>
              </a:extLst>
            </p:cNvPr>
            <p:cNvSpPr/>
            <p:nvPr/>
          </p:nvSpPr>
          <p:spPr>
            <a:xfrm>
              <a:off x="1413429" y="478198"/>
              <a:ext cx="6246" cy="37476"/>
            </a:xfrm>
            <a:custGeom>
              <a:avLst/>
              <a:gdLst>
                <a:gd name="connsiteX0" fmla="*/ 4708 w 6246"/>
                <a:gd name="connsiteY0" fmla="*/ 17489 h 37476"/>
                <a:gd name="connsiteX1" fmla="*/ 274 w 6246"/>
                <a:gd name="connsiteY1" fmla="*/ 5497 h 37476"/>
                <a:gd name="connsiteX2" fmla="*/ 523 w 6246"/>
                <a:gd name="connsiteY2" fmla="*/ 0 h 37476"/>
                <a:gd name="connsiteX3" fmla="*/ 9955 w 6246"/>
                <a:gd name="connsiteY3" fmla="*/ 28295 h 37476"/>
                <a:gd name="connsiteX4" fmla="*/ 10954 w 6246"/>
                <a:gd name="connsiteY4" fmla="*/ 36852 h 37476"/>
                <a:gd name="connsiteX5" fmla="*/ 10580 w 6246"/>
                <a:gd name="connsiteY5" fmla="*/ 40912 h 37476"/>
                <a:gd name="connsiteX6" fmla="*/ 7894 w 6246"/>
                <a:gd name="connsiteY6" fmla="*/ 41724 h 37476"/>
                <a:gd name="connsiteX7" fmla="*/ 6894 w 6246"/>
                <a:gd name="connsiteY7" fmla="*/ 35852 h 37476"/>
                <a:gd name="connsiteX8" fmla="*/ 6145 w 6246"/>
                <a:gd name="connsiteY8" fmla="*/ 25859 h 37476"/>
                <a:gd name="connsiteX9" fmla="*/ 4708 w 6246"/>
                <a:gd name="connsiteY9" fmla="*/ 17489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7476">
                  <a:moveTo>
                    <a:pt x="4708" y="17489"/>
                  </a:moveTo>
                  <a:cubicBezTo>
                    <a:pt x="4396" y="13179"/>
                    <a:pt x="961" y="9806"/>
                    <a:pt x="274" y="5497"/>
                  </a:cubicBezTo>
                  <a:cubicBezTo>
                    <a:pt x="-39" y="3560"/>
                    <a:pt x="-226" y="1811"/>
                    <a:pt x="523" y="0"/>
                  </a:cubicBezTo>
                  <a:cubicBezTo>
                    <a:pt x="6020" y="8807"/>
                    <a:pt x="7831" y="18613"/>
                    <a:pt x="9955" y="28295"/>
                  </a:cubicBezTo>
                  <a:cubicBezTo>
                    <a:pt x="10580" y="31043"/>
                    <a:pt x="11704" y="33916"/>
                    <a:pt x="10954" y="36852"/>
                  </a:cubicBezTo>
                  <a:cubicBezTo>
                    <a:pt x="11079" y="38226"/>
                    <a:pt x="11329" y="39600"/>
                    <a:pt x="10580" y="40912"/>
                  </a:cubicBezTo>
                  <a:cubicBezTo>
                    <a:pt x="9830" y="41661"/>
                    <a:pt x="9081" y="42223"/>
                    <a:pt x="7894" y="41724"/>
                  </a:cubicBezTo>
                  <a:cubicBezTo>
                    <a:pt x="6082" y="39975"/>
                    <a:pt x="7144" y="37851"/>
                    <a:pt x="6894" y="35852"/>
                  </a:cubicBezTo>
                  <a:cubicBezTo>
                    <a:pt x="8643" y="32417"/>
                    <a:pt x="6707" y="29107"/>
                    <a:pt x="6145" y="25859"/>
                  </a:cubicBezTo>
                  <a:cubicBezTo>
                    <a:pt x="5583" y="23110"/>
                    <a:pt x="4708" y="20362"/>
                    <a:pt x="4708" y="17489"/>
                  </a:cubicBezTo>
                  <a:close/>
                </a:path>
              </a:pathLst>
            </a:custGeom>
            <a:grpFill/>
            <a:ln w="6246" cap="flat">
              <a:noFill/>
              <a:prstDash val="solid"/>
              <a:miter/>
            </a:ln>
          </p:spPr>
          <p:txBody>
            <a:bodyPr rtlCol="0" anchor="ctr"/>
            <a:lstStyle/>
            <a:p>
              <a:endParaRPr lang="fr-FR" sz="2400"/>
            </a:p>
          </p:txBody>
        </p:sp>
        <p:sp>
          <p:nvSpPr>
            <p:cNvPr id="24" name="Freeform: Shape 23">
              <a:extLst>
                <a:ext uri="{FF2B5EF4-FFF2-40B4-BE49-F238E27FC236}">
                  <a16:creationId xmlns:a16="http://schemas.microsoft.com/office/drawing/2014/main" id="{51E2E4B7-0F6A-4B88-9B2B-201CE651977F}"/>
                </a:ext>
              </a:extLst>
            </p:cNvPr>
            <p:cNvSpPr/>
            <p:nvPr/>
          </p:nvSpPr>
          <p:spPr>
            <a:xfrm>
              <a:off x="1330254" y="641773"/>
              <a:ext cx="31230" cy="18738"/>
            </a:xfrm>
            <a:custGeom>
              <a:avLst/>
              <a:gdLst>
                <a:gd name="connsiteX0" fmla="*/ 3312 w 31230"/>
                <a:gd name="connsiteY0" fmla="*/ 16374 h 18738"/>
                <a:gd name="connsiteX1" fmla="*/ 22674 w 31230"/>
                <a:gd name="connsiteY1" fmla="*/ 6006 h 18738"/>
                <a:gd name="connsiteX2" fmla="*/ 34667 w 31230"/>
                <a:gd name="connsiteY2" fmla="*/ 72 h 18738"/>
                <a:gd name="connsiteX3" fmla="*/ 34292 w 31230"/>
                <a:gd name="connsiteY3" fmla="*/ 2820 h 18738"/>
                <a:gd name="connsiteX4" fmla="*/ 2125 w 31230"/>
                <a:gd name="connsiteY4" fmla="*/ 19060 h 18738"/>
                <a:gd name="connsiteX5" fmla="*/ 1 w 31230"/>
                <a:gd name="connsiteY5" fmla="*/ 19185 h 18738"/>
                <a:gd name="connsiteX6" fmla="*/ 3312 w 31230"/>
                <a:gd name="connsiteY6" fmla="*/ 163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3312" y="16374"/>
                  </a:moveTo>
                  <a:cubicBezTo>
                    <a:pt x="9932" y="13126"/>
                    <a:pt x="16741" y="10191"/>
                    <a:pt x="22674" y="6006"/>
                  </a:cubicBezTo>
                  <a:cubicBezTo>
                    <a:pt x="26047" y="3008"/>
                    <a:pt x="29108" y="-553"/>
                    <a:pt x="34667" y="72"/>
                  </a:cubicBezTo>
                  <a:cubicBezTo>
                    <a:pt x="35291" y="1071"/>
                    <a:pt x="35041" y="2008"/>
                    <a:pt x="34292" y="2820"/>
                  </a:cubicBezTo>
                  <a:cubicBezTo>
                    <a:pt x="24236" y="9316"/>
                    <a:pt x="13055" y="14063"/>
                    <a:pt x="2125" y="19060"/>
                  </a:cubicBezTo>
                  <a:cubicBezTo>
                    <a:pt x="1563" y="19310"/>
                    <a:pt x="751" y="19122"/>
                    <a:pt x="1" y="19185"/>
                  </a:cubicBezTo>
                  <a:cubicBezTo>
                    <a:pt x="-61" y="17124"/>
                    <a:pt x="2437" y="17499"/>
                    <a:pt x="3312" y="16374"/>
                  </a:cubicBezTo>
                  <a:close/>
                </a:path>
              </a:pathLst>
            </a:custGeom>
            <a:grpFill/>
            <a:ln w="6246" cap="flat">
              <a:noFill/>
              <a:prstDash val="solid"/>
              <a:miter/>
            </a:ln>
          </p:spPr>
          <p:txBody>
            <a:bodyPr rtlCol="0" anchor="ctr"/>
            <a:lstStyle/>
            <a:p>
              <a:endParaRPr lang="fr-FR" sz="2400"/>
            </a:p>
          </p:txBody>
        </p:sp>
        <p:sp>
          <p:nvSpPr>
            <p:cNvPr id="25" name="Freeform: Shape 24">
              <a:extLst>
                <a:ext uri="{FF2B5EF4-FFF2-40B4-BE49-F238E27FC236}">
                  <a16:creationId xmlns:a16="http://schemas.microsoft.com/office/drawing/2014/main" id="{F7316AA3-AFF3-49BF-AD9B-3E7304F4D3A3}"/>
                </a:ext>
              </a:extLst>
            </p:cNvPr>
            <p:cNvSpPr/>
            <p:nvPr/>
          </p:nvSpPr>
          <p:spPr>
            <a:xfrm>
              <a:off x="1374658" y="617922"/>
              <a:ext cx="12492" cy="12492"/>
            </a:xfrm>
            <a:custGeom>
              <a:avLst/>
              <a:gdLst>
                <a:gd name="connsiteX0" fmla="*/ 16684 w 12492"/>
                <a:gd name="connsiteY0" fmla="*/ 7245 h 12492"/>
                <a:gd name="connsiteX1" fmla="*/ 3879 w 12492"/>
                <a:gd name="connsiteY1" fmla="*/ 15990 h 12492"/>
                <a:gd name="connsiteX2" fmla="*/ 444 w 12492"/>
                <a:gd name="connsiteY2" fmla="*/ 17052 h 12492"/>
                <a:gd name="connsiteX3" fmla="*/ 819 w 12492"/>
                <a:gd name="connsiteY3" fmla="*/ 13991 h 12492"/>
                <a:gd name="connsiteX4" fmla="*/ 16371 w 12492"/>
                <a:gd name="connsiteY4" fmla="*/ 0 h 12492"/>
                <a:gd name="connsiteX5" fmla="*/ 17870 w 12492"/>
                <a:gd name="connsiteY5" fmla="*/ 312 h 12492"/>
                <a:gd name="connsiteX6" fmla="*/ 17995 w 12492"/>
                <a:gd name="connsiteY6" fmla="*/ 3435 h 12492"/>
                <a:gd name="connsiteX7" fmla="*/ 17371 w 12492"/>
                <a:gd name="connsiteY7" fmla="*/ 6309 h 12492"/>
                <a:gd name="connsiteX8" fmla="*/ 16684 w 12492"/>
                <a:gd name="connsiteY8" fmla="*/ 724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6684" y="7245"/>
                  </a:moveTo>
                  <a:cubicBezTo>
                    <a:pt x="12436" y="10181"/>
                    <a:pt x="8126" y="13117"/>
                    <a:pt x="3879" y="15990"/>
                  </a:cubicBezTo>
                  <a:cubicBezTo>
                    <a:pt x="2880" y="16802"/>
                    <a:pt x="1943" y="17676"/>
                    <a:pt x="444" y="17052"/>
                  </a:cubicBezTo>
                  <a:cubicBezTo>
                    <a:pt x="-306" y="15927"/>
                    <a:pt x="-56" y="14803"/>
                    <a:pt x="819" y="13991"/>
                  </a:cubicBezTo>
                  <a:cubicBezTo>
                    <a:pt x="5878" y="9182"/>
                    <a:pt x="10500" y="3997"/>
                    <a:pt x="16371" y="0"/>
                  </a:cubicBezTo>
                  <a:cubicBezTo>
                    <a:pt x="16871" y="0"/>
                    <a:pt x="17371" y="62"/>
                    <a:pt x="17870" y="312"/>
                  </a:cubicBezTo>
                  <a:cubicBezTo>
                    <a:pt x="18807" y="1312"/>
                    <a:pt x="18495" y="2373"/>
                    <a:pt x="17995" y="3435"/>
                  </a:cubicBezTo>
                  <a:cubicBezTo>
                    <a:pt x="17495" y="4310"/>
                    <a:pt x="17246" y="5309"/>
                    <a:pt x="17371" y="6309"/>
                  </a:cubicBezTo>
                  <a:cubicBezTo>
                    <a:pt x="17246" y="6683"/>
                    <a:pt x="16996" y="6996"/>
                    <a:pt x="16684" y="7245"/>
                  </a:cubicBezTo>
                  <a:close/>
                </a:path>
              </a:pathLst>
            </a:custGeom>
            <a:grpFill/>
            <a:ln w="6246" cap="flat">
              <a:noFill/>
              <a:prstDash val="solid"/>
              <a:miter/>
            </a:ln>
          </p:spPr>
          <p:txBody>
            <a:bodyPr rtlCol="0" anchor="ctr"/>
            <a:lstStyle/>
            <a:p>
              <a:endParaRPr lang="fr-FR" sz="2400"/>
            </a:p>
          </p:txBody>
        </p:sp>
        <p:sp>
          <p:nvSpPr>
            <p:cNvPr id="26" name="Freeform: Shape 25">
              <a:extLst>
                <a:ext uri="{FF2B5EF4-FFF2-40B4-BE49-F238E27FC236}">
                  <a16:creationId xmlns:a16="http://schemas.microsoft.com/office/drawing/2014/main" id="{728A60FF-3965-4DDF-885F-2EDFC5ACB707}"/>
                </a:ext>
              </a:extLst>
            </p:cNvPr>
            <p:cNvSpPr/>
            <p:nvPr/>
          </p:nvSpPr>
          <p:spPr>
            <a:xfrm>
              <a:off x="1230342" y="676945"/>
              <a:ext cx="24984" cy="6246"/>
            </a:xfrm>
            <a:custGeom>
              <a:avLst/>
              <a:gdLst>
                <a:gd name="connsiteX0" fmla="*/ 538 w 24984"/>
                <a:gd name="connsiteY0" fmla="*/ 1439 h 0"/>
                <a:gd name="connsiteX1" fmla="*/ 15529 w 24984"/>
                <a:gd name="connsiteY1" fmla="*/ 502 h 0"/>
                <a:gd name="connsiteX2" fmla="*/ 25460 w 24984"/>
                <a:gd name="connsiteY2" fmla="*/ 1626 h 0"/>
                <a:gd name="connsiteX3" fmla="*/ 2662 w 24984"/>
                <a:gd name="connsiteY3" fmla="*/ 3500 h 0"/>
                <a:gd name="connsiteX4" fmla="*/ 538 w 24984"/>
                <a:gd name="connsiteY4" fmla="*/ 143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538" y="1439"/>
                  </a:moveTo>
                  <a:cubicBezTo>
                    <a:pt x="5410" y="-373"/>
                    <a:pt x="10532" y="1064"/>
                    <a:pt x="15529" y="502"/>
                  </a:cubicBezTo>
                  <a:cubicBezTo>
                    <a:pt x="19026" y="-435"/>
                    <a:pt x="22337" y="-60"/>
                    <a:pt x="25460" y="1626"/>
                  </a:cubicBezTo>
                  <a:cubicBezTo>
                    <a:pt x="17965" y="3000"/>
                    <a:pt x="10282" y="2938"/>
                    <a:pt x="2662" y="3500"/>
                  </a:cubicBezTo>
                  <a:cubicBezTo>
                    <a:pt x="1163" y="3500"/>
                    <a:pt x="-1023" y="4062"/>
                    <a:pt x="538" y="1439"/>
                  </a:cubicBezTo>
                  <a:close/>
                </a:path>
              </a:pathLst>
            </a:custGeom>
            <a:grpFill/>
            <a:ln w="6246" cap="flat">
              <a:noFill/>
              <a:prstDash val="solid"/>
              <a:miter/>
            </a:ln>
          </p:spPr>
          <p:txBody>
            <a:bodyPr rtlCol="0" anchor="ctr"/>
            <a:lstStyle/>
            <a:p>
              <a:endParaRPr lang="fr-FR" sz="2400"/>
            </a:p>
          </p:txBody>
        </p:sp>
        <p:sp>
          <p:nvSpPr>
            <p:cNvPr id="27" name="Freeform: Shape 26">
              <a:extLst>
                <a:ext uri="{FF2B5EF4-FFF2-40B4-BE49-F238E27FC236}">
                  <a16:creationId xmlns:a16="http://schemas.microsoft.com/office/drawing/2014/main" id="{D2B0BE69-A461-4ECC-8688-750B4F33E46E}"/>
                </a:ext>
              </a:extLst>
            </p:cNvPr>
            <p:cNvSpPr/>
            <p:nvPr/>
          </p:nvSpPr>
          <p:spPr>
            <a:xfrm>
              <a:off x="1394795" y="600765"/>
              <a:ext cx="6246" cy="12492"/>
            </a:xfrm>
            <a:custGeom>
              <a:avLst/>
              <a:gdLst>
                <a:gd name="connsiteX0" fmla="*/ 9413 w 6246"/>
                <a:gd name="connsiteY0" fmla="*/ 6102 h 12492"/>
                <a:gd name="connsiteX1" fmla="*/ 3105 w 6246"/>
                <a:gd name="connsiteY1" fmla="*/ 15846 h 12492"/>
                <a:gd name="connsiteX2" fmla="*/ 919 w 6246"/>
                <a:gd name="connsiteY2" fmla="*/ 16095 h 12492"/>
                <a:gd name="connsiteX3" fmla="*/ 1169 w 6246"/>
                <a:gd name="connsiteY3" fmla="*/ 11286 h 12492"/>
                <a:gd name="connsiteX4" fmla="*/ 4229 w 6246"/>
                <a:gd name="connsiteY4" fmla="*/ 3353 h 12492"/>
                <a:gd name="connsiteX5" fmla="*/ 7102 w 6246"/>
                <a:gd name="connsiteY5" fmla="*/ 43 h 12492"/>
                <a:gd name="connsiteX6" fmla="*/ 9726 w 6246"/>
                <a:gd name="connsiteY6" fmla="*/ 1105 h 12492"/>
                <a:gd name="connsiteX7" fmla="*/ 9413 w 6246"/>
                <a:gd name="connsiteY7" fmla="*/ 610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9413" y="6102"/>
                  </a:moveTo>
                  <a:cubicBezTo>
                    <a:pt x="6041" y="8663"/>
                    <a:pt x="7352" y="13722"/>
                    <a:pt x="3105" y="15846"/>
                  </a:cubicBezTo>
                  <a:cubicBezTo>
                    <a:pt x="2418" y="16345"/>
                    <a:pt x="1731" y="16408"/>
                    <a:pt x="919" y="16095"/>
                  </a:cubicBezTo>
                  <a:cubicBezTo>
                    <a:pt x="-518" y="14409"/>
                    <a:pt x="-143" y="12535"/>
                    <a:pt x="1169" y="11286"/>
                  </a:cubicBezTo>
                  <a:cubicBezTo>
                    <a:pt x="3542" y="8975"/>
                    <a:pt x="3542" y="6102"/>
                    <a:pt x="4229" y="3353"/>
                  </a:cubicBezTo>
                  <a:cubicBezTo>
                    <a:pt x="4791" y="1979"/>
                    <a:pt x="5541" y="730"/>
                    <a:pt x="7102" y="43"/>
                  </a:cubicBezTo>
                  <a:cubicBezTo>
                    <a:pt x="8289" y="-144"/>
                    <a:pt x="9101" y="293"/>
                    <a:pt x="9726" y="1105"/>
                  </a:cubicBezTo>
                  <a:cubicBezTo>
                    <a:pt x="10288" y="2791"/>
                    <a:pt x="10600" y="4478"/>
                    <a:pt x="9413" y="6102"/>
                  </a:cubicBezTo>
                  <a:close/>
                </a:path>
              </a:pathLst>
            </a:custGeom>
            <a:grpFill/>
            <a:ln w="6246" cap="flat">
              <a:noFill/>
              <a:prstDash val="solid"/>
              <a:miter/>
            </a:ln>
          </p:spPr>
          <p:txBody>
            <a:bodyPr rtlCol="0" anchor="ctr"/>
            <a:lstStyle/>
            <a:p>
              <a:endParaRPr lang="fr-FR" sz="2400"/>
            </a:p>
          </p:txBody>
        </p:sp>
        <p:sp>
          <p:nvSpPr>
            <p:cNvPr id="28" name="Freeform: Shape 27">
              <a:extLst>
                <a:ext uri="{FF2B5EF4-FFF2-40B4-BE49-F238E27FC236}">
                  <a16:creationId xmlns:a16="http://schemas.microsoft.com/office/drawing/2014/main" id="{8BE5754C-7388-4D78-AC08-DAACA0797407}"/>
                </a:ext>
              </a:extLst>
            </p:cNvPr>
            <p:cNvSpPr/>
            <p:nvPr/>
          </p:nvSpPr>
          <p:spPr>
            <a:xfrm>
              <a:off x="1193403" y="673512"/>
              <a:ext cx="24984" cy="6246"/>
            </a:xfrm>
            <a:custGeom>
              <a:avLst/>
              <a:gdLst>
                <a:gd name="connsiteX0" fmla="*/ 13929 w 24984"/>
                <a:gd name="connsiteY0" fmla="*/ 5934 h 6246"/>
                <a:gd name="connsiteX1" fmla="*/ 0 w 24984"/>
                <a:gd name="connsiteY1" fmla="*/ 1999 h 6246"/>
                <a:gd name="connsiteX2" fmla="*/ 3435 w 24984"/>
                <a:gd name="connsiteY2" fmla="*/ 0 h 6246"/>
                <a:gd name="connsiteX3" fmla="*/ 25546 w 24984"/>
                <a:gd name="connsiteY3" fmla="*/ 3685 h 6246"/>
                <a:gd name="connsiteX4" fmla="*/ 20300 w 24984"/>
                <a:gd name="connsiteY4" fmla="*/ 5934 h 6246"/>
                <a:gd name="connsiteX5" fmla="*/ 13929 w 24984"/>
                <a:gd name="connsiteY5"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13929" y="5934"/>
                  </a:moveTo>
                  <a:cubicBezTo>
                    <a:pt x="9307" y="4622"/>
                    <a:pt x="4622" y="3310"/>
                    <a:pt x="0" y="1999"/>
                  </a:cubicBezTo>
                  <a:cubicBezTo>
                    <a:pt x="187" y="-62"/>
                    <a:pt x="1936" y="125"/>
                    <a:pt x="3435" y="0"/>
                  </a:cubicBezTo>
                  <a:cubicBezTo>
                    <a:pt x="10743" y="1437"/>
                    <a:pt x="18301" y="1936"/>
                    <a:pt x="25546" y="3685"/>
                  </a:cubicBezTo>
                  <a:cubicBezTo>
                    <a:pt x="25172" y="7058"/>
                    <a:pt x="22611" y="6246"/>
                    <a:pt x="20300" y="5934"/>
                  </a:cubicBezTo>
                  <a:cubicBezTo>
                    <a:pt x="18176" y="5871"/>
                    <a:pt x="16052" y="5871"/>
                    <a:pt x="13929" y="5934"/>
                  </a:cubicBezTo>
                  <a:close/>
                </a:path>
              </a:pathLst>
            </a:custGeom>
            <a:grpFill/>
            <a:ln w="6246" cap="flat">
              <a:noFill/>
              <a:prstDash val="solid"/>
              <a:miter/>
            </a:ln>
          </p:spPr>
          <p:txBody>
            <a:bodyPr rtlCol="0" anchor="ctr"/>
            <a:lstStyle/>
            <a:p>
              <a:endParaRPr lang="fr-FR" sz="2400"/>
            </a:p>
          </p:txBody>
        </p:sp>
        <p:sp>
          <p:nvSpPr>
            <p:cNvPr id="29" name="Freeform: Shape 28">
              <a:extLst>
                <a:ext uri="{FF2B5EF4-FFF2-40B4-BE49-F238E27FC236}">
                  <a16:creationId xmlns:a16="http://schemas.microsoft.com/office/drawing/2014/main" id="{83582192-3669-4B2F-862B-3A9B9D21F374}"/>
                </a:ext>
              </a:extLst>
            </p:cNvPr>
            <p:cNvSpPr/>
            <p:nvPr/>
          </p:nvSpPr>
          <p:spPr>
            <a:xfrm>
              <a:off x="1422846" y="520796"/>
              <a:ext cx="6246" cy="18738"/>
            </a:xfrm>
            <a:custGeom>
              <a:avLst/>
              <a:gdLst>
                <a:gd name="connsiteX0" fmla="*/ 1912 w 0"/>
                <a:gd name="connsiteY0" fmla="*/ 0 h 18738"/>
                <a:gd name="connsiteX1" fmla="*/ 4160 w 0"/>
                <a:gd name="connsiteY1" fmla="*/ 4747 h 18738"/>
                <a:gd name="connsiteX2" fmla="*/ 3723 w 0"/>
                <a:gd name="connsiteY2" fmla="*/ 17489 h 18738"/>
                <a:gd name="connsiteX3" fmla="*/ 1100 w 0"/>
                <a:gd name="connsiteY3" fmla="*/ 20987 h 18738"/>
                <a:gd name="connsiteX4" fmla="*/ 288 w 0"/>
                <a:gd name="connsiteY4" fmla="*/ 3123 h 18738"/>
                <a:gd name="connsiteX5" fmla="*/ 1100 w 0"/>
                <a:gd name="connsiteY5" fmla="*/ 187 h 18738"/>
                <a:gd name="connsiteX6" fmla="*/ 1912 w 0"/>
                <a:gd name="connsiteY6"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1912" y="0"/>
                  </a:moveTo>
                  <a:cubicBezTo>
                    <a:pt x="4660" y="812"/>
                    <a:pt x="4098" y="3123"/>
                    <a:pt x="4160" y="4747"/>
                  </a:cubicBezTo>
                  <a:cubicBezTo>
                    <a:pt x="4285" y="8994"/>
                    <a:pt x="3910" y="13242"/>
                    <a:pt x="3723" y="17489"/>
                  </a:cubicBezTo>
                  <a:cubicBezTo>
                    <a:pt x="2224" y="18301"/>
                    <a:pt x="4972" y="21674"/>
                    <a:pt x="1100" y="20987"/>
                  </a:cubicBezTo>
                  <a:cubicBezTo>
                    <a:pt x="-899" y="15116"/>
                    <a:pt x="475" y="9119"/>
                    <a:pt x="288" y="3123"/>
                  </a:cubicBezTo>
                  <a:cubicBezTo>
                    <a:pt x="225" y="2061"/>
                    <a:pt x="-87" y="999"/>
                    <a:pt x="1100" y="187"/>
                  </a:cubicBezTo>
                  <a:cubicBezTo>
                    <a:pt x="1350" y="125"/>
                    <a:pt x="1662" y="62"/>
                    <a:pt x="1912" y="0"/>
                  </a:cubicBezTo>
                  <a:close/>
                </a:path>
              </a:pathLst>
            </a:custGeom>
            <a:grpFill/>
            <a:ln w="6246" cap="flat">
              <a:noFill/>
              <a:prstDash val="solid"/>
              <a:miter/>
            </a:ln>
          </p:spPr>
          <p:txBody>
            <a:bodyPr rtlCol="0" anchor="ctr"/>
            <a:lstStyle/>
            <a:p>
              <a:endParaRPr lang="fr-FR" sz="2400"/>
            </a:p>
          </p:txBody>
        </p:sp>
        <p:sp>
          <p:nvSpPr>
            <p:cNvPr id="30" name="Freeform: Shape 29">
              <a:extLst>
                <a:ext uri="{FF2B5EF4-FFF2-40B4-BE49-F238E27FC236}">
                  <a16:creationId xmlns:a16="http://schemas.microsoft.com/office/drawing/2014/main" id="{4A7ED45B-A1D3-414F-B278-1968C920DE47}"/>
                </a:ext>
              </a:extLst>
            </p:cNvPr>
            <p:cNvSpPr/>
            <p:nvPr/>
          </p:nvSpPr>
          <p:spPr>
            <a:xfrm>
              <a:off x="1404534" y="596061"/>
              <a:ext cx="6246" cy="6246"/>
            </a:xfrm>
            <a:custGeom>
              <a:avLst/>
              <a:gdLst>
                <a:gd name="connsiteX0" fmla="*/ 8231 w 6246"/>
                <a:gd name="connsiteY0" fmla="*/ 5996 h 6246"/>
                <a:gd name="connsiteX1" fmla="*/ 1798 w 6246"/>
                <a:gd name="connsiteY1" fmla="*/ 9869 h 6246"/>
                <a:gd name="connsiteX2" fmla="*/ 237 w 6246"/>
                <a:gd name="connsiteY2" fmla="*/ 6933 h 6246"/>
                <a:gd name="connsiteX3" fmla="*/ 49 w 6246"/>
                <a:gd name="connsiteY3" fmla="*/ 2998 h 6246"/>
                <a:gd name="connsiteX4" fmla="*/ 2548 w 6246"/>
                <a:gd name="connsiteY4" fmla="*/ 0 h 6246"/>
                <a:gd name="connsiteX5" fmla="*/ 6170 w 6246"/>
                <a:gd name="connsiteY5" fmla="*/ 1187 h 6246"/>
                <a:gd name="connsiteX6" fmla="*/ 6170 w 6246"/>
                <a:gd name="connsiteY6" fmla="*/ 1187 h 6246"/>
                <a:gd name="connsiteX7" fmla="*/ 7232 w 6246"/>
                <a:gd name="connsiteY7" fmla="*/ 2124 h 6246"/>
                <a:gd name="connsiteX8" fmla="*/ 7232 w 6246"/>
                <a:gd name="connsiteY8" fmla="*/ 3061 h 6246"/>
                <a:gd name="connsiteX9" fmla="*/ 8231 w 6246"/>
                <a:gd name="connsiteY9" fmla="*/ 59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8231" y="5996"/>
                  </a:moveTo>
                  <a:cubicBezTo>
                    <a:pt x="6108" y="7308"/>
                    <a:pt x="3922" y="8557"/>
                    <a:pt x="1798" y="9869"/>
                  </a:cubicBezTo>
                  <a:cubicBezTo>
                    <a:pt x="-950" y="9869"/>
                    <a:pt x="424" y="7995"/>
                    <a:pt x="237" y="6933"/>
                  </a:cubicBezTo>
                  <a:cubicBezTo>
                    <a:pt x="1611" y="5559"/>
                    <a:pt x="-326" y="4310"/>
                    <a:pt x="49" y="2998"/>
                  </a:cubicBezTo>
                  <a:cubicBezTo>
                    <a:pt x="424" y="1686"/>
                    <a:pt x="799" y="375"/>
                    <a:pt x="2548" y="0"/>
                  </a:cubicBezTo>
                  <a:cubicBezTo>
                    <a:pt x="3859" y="125"/>
                    <a:pt x="4359" y="2186"/>
                    <a:pt x="6170" y="1187"/>
                  </a:cubicBezTo>
                  <a:lnTo>
                    <a:pt x="6170" y="1187"/>
                  </a:lnTo>
                  <a:cubicBezTo>
                    <a:pt x="7107" y="999"/>
                    <a:pt x="7544" y="1249"/>
                    <a:pt x="7232" y="2124"/>
                  </a:cubicBezTo>
                  <a:cubicBezTo>
                    <a:pt x="7232" y="2436"/>
                    <a:pt x="7232" y="2748"/>
                    <a:pt x="7232" y="3061"/>
                  </a:cubicBezTo>
                  <a:cubicBezTo>
                    <a:pt x="8294" y="3810"/>
                    <a:pt x="9356" y="4560"/>
                    <a:pt x="8231" y="5996"/>
                  </a:cubicBezTo>
                  <a:close/>
                </a:path>
              </a:pathLst>
            </a:custGeom>
            <a:grpFill/>
            <a:ln w="6246" cap="flat">
              <a:noFill/>
              <a:prstDash val="solid"/>
              <a:miter/>
            </a:ln>
          </p:spPr>
          <p:txBody>
            <a:bodyPr rtlCol="0" anchor="ctr"/>
            <a:lstStyle/>
            <a:p>
              <a:endParaRPr lang="fr-FR" sz="2400"/>
            </a:p>
          </p:txBody>
        </p:sp>
        <p:sp>
          <p:nvSpPr>
            <p:cNvPr id="31" name="Freeform: Shape 30">
              <a:extLst>
                <a:ext uri="{FF2B5EF4-FFF2-40B4-BE49-F238E27FC236}">
                  <a16:creationId xmlns:a16="http://schemas.microsoft.com/office/drawing/2014/main" id="{C84FD117-AB8E-44D7-8151-1AC726E7A727}"/>
                </a:ext>
              </a:extLst>
            </p:cNvPr>
            <p:cNvSpPr/>
            <p:nvPr/>
          </p:nvSpPr>
          <p:spPr>
            <a:xfrm>
              <a:off x="1418886" y="547654"/>
              <a:ext cx="6246" cy="18738"/>
            </a:xfrm>
            <a:custGeom>
              <a:avLst/>
              <a:gdLst>
                <a:gd name="connsiteX0" fmla="*/ 5746 w 0"/>
                <a:gd name="connsiteY0" fmla="*/ 3186 h 18738"/>
                <a:gd name="connsiteX1" fmla="*/ 4560 w 0"/>
                <a:gd name="connsiteY1" fmla="*/ 10868 h 18738"/>
                <a:gd name="connsiteX2" fmla="*/ 3997 w 0"/>
                <a:gd name="connsiteY2" fmla="*/ 15927 h 18738"/>
                <a:gd name="connsiteX3" fmla="*/ 1249 w 0"/>
                <a:gd name="connsiteY3" fmla="*/ 19738 h 18738"/>
                <a:gd name="connsiteX4" fmla="*/ 0 w 0"/>
                <a:gd name="connsiteY4" fmla="*/ 16802 h 18738"/>
                <a:gd name="connsiteX5" fmla="*/ 1936 w 0"/>
                <a:gd name="connsiteY5" fmla="*/ 4497 h 18738"/>
                <a:gd name="connsiteX6" fmla="*/ 2186 w 0"/>
                <a:gd name="connsiteY6" fmla="*/ 2186 h 18738"/>
                <a:gd name="connsiteX7" fmla="*/ 4247 w 0"/>
                <a:gd name="connsiteY7" fmla="*/ 0 h 18738"/>
                <a:gd name="connsiteX8" fmla="*/ 5746 w 0"/>
                <a:gd name="connsiteY8" fmla="*/ 318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18738">
                  <a:moveTo>
                    <a:pt x="5746" y="3186"/>
                  </a:moveTo>
                  <a:cubicBezTo>
                    <a:pt x="5372" y="5746"/>
                    <a:pt x="4934" y="8307"/>
                    <a:pt x="4560" y="10868"/>
                  </a:cubicBezTo>
                  <a:cubicBezTo>
                    <a:pt x="3498" y="12492"/>
                    <a:pt x="4310" y="14241"/>
                    <a:pt x="3997" y="15927"/>
                  </a:cubicBezTo>
                  <a:cubicBezTo>
                    <a:pt x="3685" y="17551"/>
                    <a:pt x="3997" y="19550"/>
                    <a:pt x="1249" y="19738"/>
                  </a:cubicBezTo>
                  <a:cubicBezTo>
                    <a:pt x="312" y="18926"/>
                    <a:pt x="62" y="17926"/>
                    <a:pt x="0" y="16802"/>
                  </a:cubicBezTo>
                  <a:cubicBezTo>
                    <a:pt x="999" y="12742"/>
                    <a:pt x="812" y="8557"/>
                    <a:pt x="1936" y="4497"/>
                  </a:cubicBezTo>
                  <a:cubicBezTo>
                    <a:pt x="1936" y="3748"/>
                    <a:pt x="1999" y="2936"/>
                    <a:pt x="2186" y="2186"/>
                  </a:cubicBezTo>
                  <a:cubicBezTo>
                    <a:pt x="2498" y="1187"/>
                    <a:pt x="2935" y="250"/>
                    <a:pt x="4247" y="0"/>
                  </a:cubicBezTo>
                  <a:cubicBezTo>
                    <a:pt x="5746" y="687"/>
                    <a:pt x="5934" y="1874"/>
                    <a:pt x="5746" y="3186"/>
                  </a:cubicBezTo>
                  <a:close/>
                </a:path>
              </a:pathLst>
            </a:custGeom>
            <a:grpFill/>
            <a:ln w="6246" cap="flat">
              <a:noFill/>
              <a:prstDash val="solid"/>
              <a:miter/>
            </a:ln>
          </p:spPr>
          <p:txBody>
            <a:bodyPr rtlCol="0" anchor="ctr"/>
            <a:lstStyle/>
            <a:p>
              <a:endParaRPr lang="fr-FR" sz="2400"/>
            </a:p>
          </p:txBody>
        </p:sp>
        <p:sp>
          <p:nvSpPr>
            <p:cNvPr id="32" name="Freeform: Shape 31">
              <a:extLst>
                <a:ext uri="{FF2B5EF4-FFF2-40B4-BE49-F238E27FC236}">
                  <a16:creationId xmlns:a16="http://schemas.microsoft.com/office/drawing/2014/main" id="{11FC508D-6A68-4A31-847E-00E1F37B0C95}"/>
                </a:ext>
              </a:extLst>
            </p:cNvPr>
            <p:cNvSpPr/>
            <p:nvPr/>
          </p:nvSpPr>
          <p:spPr>
            <a:xfrm>
              <a:off x="1245808" y="676510"/>
              <a:ext cx="18738" cy="6246"/>
            </a:xfrm>
            <a:custGeom>
              <a:avLst/>
              <a:gdLst>
                <a:gd name="connsiteX0" fmla="*/ 9931 w 18738"/>
                <a:gd name="connsiteY0" fmla="*/ 2061 h 0"/>
                <a:gd name="connsiteX1" fmla="*/ 0 w 18738"/>
                <a:gd name="connsiteY1" fmla="*/ 937 h 0"/>
                <a:gd name="connsiteX2" fmla="*/ 2873 w 18738"/>
                <a:gd name="connsiteY2" fmla="*/ 0 h 0"/>
                <a:gd name="connsiteX3" fmla="*/ 22673 w 18738"/>
                <a:gd name="connsiteY3" fmla="*/ 62 h 0"/>
                <a:gd name="connsiteX4" fmla="*/ 9931 w 18738"/>
                <a:gd name="connsiteY4" fmla="*/ 206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9931" y="2061"/>
                  </a:moveTo>
                  <a:cubicBezTo>
                    <a:pt x="6621" y="1686"/>
                    <a:pt x="3311" y="1312"/>
                    <a:pt x="0" y="937"/>
                  </a:cubicBezTo>
                  <a:cubicBezTo>
                    <a:pt x="750" y="125"/>
                    <a:pt x="1811" y="0"/>
                    <a:pt x="2873" y="0"/>
                  </a:cubicBezTo>
                  <a:cubicBezTo>
                    <a:pt x="9494" y="0"/>
                    <a:pt x="16052" y="62"/>
                    <a:pt x="22673" y="62"/>
                  </a:cubicBezTo>
                  <a:cubicBezTo>
                    <a:pt x="18426" y="750"/>
                    <a:pt x="14179" y="1437"/>
                    <a:pt x="9931" y="2061"/>
                  </a:cubicBezTo>
                  <a:close/>
                </a:path>
              </a:pathLst>
            </a:custGeom>
            <a:grpFill/>
            <a:ln w="6246" cap="flat">
              <a:noFill/>
              <a:prstDash val="solid"/>
              <a:miter/>
            </a:ln>
          </p:spPr>
          <p:txBody>
            <a:bodyPr rtlCol="0" anchor="ctr"/>
            <a:lstStyle/>
            <a:p>
              <a:endParaRPr lang="fr-FR" sz="2400"/>
            </a:p>
          </p:txBody>
        </p:sp>
        <p:sp>
          <p:nvSpPr>
            <p:cNvPr id="33" name="Freeform: Shape 32">
              <a:extLst>
                <a:ext uri="{FF2B5EF4-FFF2-40B4-BE49-F238E27FC236}">
                  <a16:creationId xmlns:a16="http://schemas.microsoft.com/office/drawing/2014/main" id="{D0C50655-0CBB-40BD-884B-265E0FDF70A7}"/>
                </a:ext>
              </a:extLst>
            </p:cNvPr>
            <p:cNvSpPr/>
            <p:nvPr/>
          </p:nvSpPr>
          <p:spPr>
            <a:xfrm>
              <a:off x="1364608" y="636490"/>
              <a:ext cx="6246" cy="6246"/>
            </a:xfrm>
            <a:custGeom>
              <a:avLst/>
              <a:gdLst>
                <a:gd name="connsiteX0" fmla="*/ 0 w 6246"/>
                <a:gd name="connsiteY0" fmla="*/ 8103 h 6246"/>
                <a:gd name="connsiteX1" fmla="*/ 0 w 6246"/>
                <a:gd name="connsiteY1" fmla="*/ 5168 h 6246"/>
                <a:gd name="connsiteX2" fmla="*/ 8495 w 6246"/>
                <a:gd name="connsiteY2" fmla="*/ 108 h 6246"/>
                <a:gd name="connsiteX3" fmla="*/ 6433 w 6246"/>
                <a:gd name="connsiteY3" fmla="*/ 4293 h 6246"/>
                <a:gd name="connsiteX4" fmla="*/ 0 w 6246"/>
                <a:gd name="connsiteY4" fmla="*/ 810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8103"/>
                  </a:moveTo>
                  <a:cubicBezTo>
                    <a:pt x="0" y="7104"/>
                    <a:pt x="0" y="6167"/>
                    <a:pt x="0" y="5168"/>
                  </a:cubicBezTo>
                  <a:cubicBezTo>
                    <a:pt x="1436" y="1608"/>
                    <a:pt x="3997" y="-516"/>
                    <a:pt x="8495" y="108"/>
                  </a:cubicBezTo>
                  <a:cubicBezTo>
                    <a:pt x="9681" y="2295"/>
                    <a:pt x="7870" y="3169"/>
                    <a:pt x="6433" y="4293"/>
                  </a:cubicBezTo>
                  <a:cubicBezTo>
                    <a:pt x="4247" y="5543"/>
                    <a:pt x="2124" y="6792"/>
                    <a:pt x="0" y="8103"/>
                  </a:cubicBezTo>
                  <a:close/>
                </a:path>
              </a:pathLst>
            </a:custGeom>
            <a:grpFill/>
            <a:ln w="6246" cap="flat">
              <a:noFill/>
              <a:prstDash val="solid"/>
              <a:miter/>
            </a:ln>
          </p:spPr>
          <p:txBody>
            <a:bodyPr rtlCol="0" anchor="ctr"/>
            <a:lstStyle/>
            <a:p>
              <a:endParaRPr lang="fr-FR" sz="2400"/>
            </a:p>
          </p:txBody>
        </p:sp>
        <p:sp>
          <p:nvSpPr>
            <p:cNvPr id="34" name="Freeform: Shape 33">
              <a:extLst>
                <a:ext uri="{FF2B5EF4-FFF2-40B4-BE49-F238E27FC236}">
                  <a16:creationId xmlns:a16="http://schemas.microsoft.com/office/drawing/2014/main" id="{A7B9A2A3-4704-41D3-B710-0811C6370C70}"/>
                </a:ext>
              </a:extLst>
            </p:cNvPr>
            <p:cNvSpPr/>
            <p:nvPr/>
          </p:nvSpPr>
          <p:spPr>
            <a:xfrm>
              <a:off x="1391341" y="616423"/>
              <a:ext cx="6246" cy="6246"/>
            </a:xfrm>
            <a:custGeom>
              <a:avLst/>
              <a:gdLst>
                <a:gd name="connsiteX0" fmla="*/ 4185 w 6246"/>
                <a:gd name="connsiteY0" fmla="*/ 63 h 6246"/>
                <a:gd name="connsiteX1" fmla="*/ 6558 w 6246"/>
                <a:gd name="connsiteY1" fmla="*/ 188 h 6246"/>
                <a:gd name="connsiteX2" fmla="*/ 0 w 6246"/>
                <a:gd name="connsiteY2" fmla="*/ 8745 h 6246"/>
                <a:gd name="connsiteX3" fmla="*/ 0 w 6246"/>
                <a:gd name="connsiteY3" fmla="*/ 7870 h 6246"/>
                <a:gd name="connsiteX4" fmla="*/ 62 w 6246"/>
                <a:gd name="connsiteY4" fmla="*/ 4935 h 6246"/>
                <a:gd name="connsiteX5" fmla="*/ 1249 w 6246"/>
                <a:gd name="connsiteY5" fmla="*/ 2249 h 6246"/>
                <a:gd name="connsiteX6" fmla="*/ 4185 w 6246"/>
                <a:gd name="connsiteY6" fmla="*/ 6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185" y="63"/>
                  </a:moveTo>
                  <a:cubicBezTo>
                    <a:pt x="4997" y="125"/>
                    <a:pt x="5746" y="125"/>
                    <a:pt x="6558" y="188"/>
                  </a:cubicBezTo>
                  <a:cubicBezTo>
                    <a:pt x="3997" y="2811"/>
                    <a:pt x="4497" y="7371"/>
                    <a:pt x="0" y="8745"/>
                  </a:cubicBezTo>
                  <a:cubicBezTo>
                    <a:pt x="0" y="8432"/>
                    <a:pt x="0" y="8183"/>
                    <a:pt x="0" y="7870"/>
                  </a:cubicBezTo>
                  <a:cubicBezTo>
                    <a:pt x="1749" y="6933"/>
                    <a:pt x="62" y="5934"/>
                    <a:pt x="62" y="4935"/>
                  </a:cubicBezTo>
                  <a:cubicBezTo>
                    <a:pt x="437" y="4060"/>
                    <a:pt x="874" y="3123"/>
                    <a:pt x="1249" y="2249"/>
                  </a:cubicBezTo>
                  <a:cubicBezTo>
                    <a:pt x="1374" y="625"/>
                    <a:pt x="2248" y="-250"/>
                    <a:pt x="4185" y="63"/>
                  </a:cubicBezTo>
                  <a:close/>
                </a:path>
              </a:pathLst>
            </a:custGeom>
            <a:grpFill/>
            <a:ln w="6246" cap="flat">
              <a:noFill/>
              <a:prstDash val="solid"/>
              <a:miter/>
            </a:ln>
          </p:spPr>
          <p:txBody>
            <a:bodyPr rtlCol="0" anchor="ctr"/>
            <a:lstStyle/>
            <a:p>
              <a:endParaRPr lang="fr-FR" sz="2400"/>
            </a:p>
          </p:txBody>
        </p:sp>
        <p:sp>
          <p:nvSpPr>
            <p:cNvPr id="35" name="Freeform: Shape 34">
              <a:extLst>
                <a:ext uri="{FF2B5EF4-FFF2-40B4-BE49-F238E27FC236}">
                  <a16:creationId xmlns:a16="http://schemas.microsoft.com/office/drawing/2014/main" id="{CD7817E9-1AB3-4110-AAC5-78D3196739A5}"/>
                </a:ext>
              </a:extLst>
            </p:cNvPr>
            <p:cNvSpPr/>
            <p:nvPr/>
          </p:nvSpPr>
          <p:spPr>
            <a:xfrm>
              <a:off x="1404645" y="459715"/>
              <a:ext cx="6246" cy="12492"/>
            </a:xfrm>
            <a:custGeom>
              <a:avLst/>
              <a:gdLst>
                <a:gd name="connsiteX0" fmla="*/ 6996 w 6246"/>
                <a:gd name="connsiteY0" fmla="*/ 12799 h 12492"/>
                <a:gd name="connsiteX1" fmla="*/ 4810 w 6246"/>
                <a:gd name="connsiteY1" fmla="*/ 9988 h 12492"/>
                <a:gd name="connsiteX2" fmla="*/ 0 w 6246"/>
                <a:gd name="connsiteY2" fmla="*/ 1056 h 12492"/>
                <a:gd name="connsiteX3" fmla="*/ 1749 w 6246"/>
                <a:gd name="connsiteY3" fmla="*/ 119 h 12492"/>
                <a:gd name="connsiteX4" fmla="*/ 6996 w 6246"/>
                <a:gd name="connsiteY4" fmla="*/ 1279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6996" y="12799"/>
                  </a:moveTo>
                  <a:cubicBezTo>
                    <a:pt x="6246" y="11862"/>
                    <a:pt x="5559" y="10925"/>
                    <a:pt x="4810" y="9988"/>
                  </a:cubicBezTo>
                  <a:cubicBezTo>
                    <a:pt x="2311" y="7427"/>
                    <a:pt x="750" y="4429"/>
                    <a:pt x="0" y="1056"/>
                  </a:cubicBezTo>
                  <a:cubicBezTo>
                    <a:pt x="312" y="307"/>
                    <a:pt x="750" y="-255"/>
                    <a:pt x="1749" y="119"/>
                  </a:cubicBezTo>
                  <a:cubicBezTo>
                    <a:pt x="4685" y="3992"/>
                    <a:pt x="7121" y="7927"/>
                    <a:pt x="6996" y="12799"/>
                  </a:cubicBezTo>
                  <a:close/>
                </a:path>
              </a:pathLst>
            </a:custGeom>
            <a:grpFill/>
            <a:ln w="6246" cap="flat">
              <a:noFill/>
              <a:prstDash val="solid"/>
              <a:miter/>
            </a:ln>
          </p:spPr>
          <p:txBody>
            <a:bodyPr rtlCol="0" anchor="ctr"/>
            <a:lstStyle/>
            <a:p>
              <a:endParaRPr lang="fr-FR" sz="2400"/>
            </a:p>
          </p:txBody>
        </p:sp>
        <p:sp>
          <p:nvSpPr>
            <p:cNvPr id="36" name="Freeform: Shape 35">
              <a:extLst>
                <a:ext uri="{FF2B5EF4-FFF2-40B4-BE49-F238E27FC236}">
                  <a16:creationId xmlns:a16="http://schemas.microsoft.com/office/drawing/2014/main" id="{EE08327C-B2AE-4E8A-959E-9E0498CAAEBF}"/>
                </a:ext>
              </a:extLst>
            </p:cNvPr>
            <p:cNvSpPr/>
            <p:nvPr/>
          </p:nvSpPr>
          <p:spPr>
            <a:xfrm>
              <a:off x="1318699" y="658147"/>
              <a:ext cx="12492" cy="6246"/>
            </a:xfrm>
            <a:custGeom>
              <a:avLst/>
              <a:gdLst>
                <a:gd name="connsiteX0" fmla="*/ 14866 w 12492"/>
                <a:gd name="connsiteY0" fmla="*/ 0 h 6246"/>
                <a:gd name="connsiteX1" fmla="*/ 11618 w 12492"/>
                <a:gd name="connsiteY1" fmla="*/ 2873 h 6246"/>
                <a:gd name="connsiteX2" fmla="*/ 3185 w 12492"/>
                <a:gd name="connsiteY2" fmla="*/ 5871 h 6246"/>
                <a:gd name="connsiteX3" fmla="*/ 0 w 12492"/>
                <a:gd name="connsiteY3" fmla="*/ 5871 h 6246"/>
                <a:gd name="connsiteX4" fmla="*/ 1486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4866" y="0"/>
                  </a:moveTo>
                  <a:cubicBezTo>
                    <a:pt x="14428" y="1562"/>
                    <a:pt x="12492" y="1686"/>
                    <a:pt x="11618" y="2873"/>
                  </a:cubicBezTo>
                  <a:cubicBezTo>
                    <a:pt x="8807" y="3873"/>
                    <a:pt x="5996" y="4872"/>
                    <a:pt x="3185" y="5871"/>
                  </a:cubicBezTo>
                  <a:cubicBezTo>
                    <a:pt x="2124" y="6371"/>
                    <a:pt x="1062" y="6558"/>
                    <a:pt x="0" y="5871"/>
                  </a:cubicBezTo>
                  <a:cubicBezTo>
                    <a:pt x="4934" y="3873"/>
                    <a:pt x="9931" y="1936"/>
                    <a:pt x="14866" y="0"/>
                  </a:cubicBezTo>
                  <a:close/>
                </a:path>
              </a:pathLst>
            </a:custGeom>
            <a:grpFill/>
            <a:ln w="6246" cap="flat">
              <a:noFill/>
              <a:prstDash val="solid"/>
              <a:miter/>
            </a:ln>
          </p:spPr>
          <p:txBody>
            <a:bodyPr rtlCol="0" anchor="ctr"/>
            <a:lstStyle/>
            <a:p>
              <a:endParaRPr lang="fr-FR" sz="2400"/>
            </a:p>
          </p:txBody>
        </p:sp>
        <p:sp>
          <p:nvSpPr>
            <p:cNvPr id="37" name="Freeform: Shape 36">
              <a:extLst>
                <a:ext uri="{FF2B5EF4-FFF2-40B4-BE49-F238E27FC236}">
                  <a16:creationId xmlns:a16="http://schemas.microsoft.com/office/drawing/2014/main" id="{1BA073E9-5E86-4076-8977-F9119D2A37DE}"/>
                </a:ext>
              </a:extLst>
            </p:cNvPr>
            <p:cNvSpPr/>
            <p:nvPr/>
          </p:nvSpPr>
          <p:spPr>
            <a:xfrm>
              <a:off x="1213703" y="676948"/>
              <a:ext cx="6246" cy="6246"/>
            </a:xfrm>
            <a:custGeom>
              <a:avLst/>
              <a:gdLst>
                <a:gd name="connsiteX0" fmla="*/ 0 w 6246"/>
                <a:gd name="connsiteY0" fmla="*/ 2436 h 0"/>
                <a:gd name="connsiteX1" fmla="*/ 5372 w 6246"/>
                <a:gd name="connsiteY1" fmla="*/ 687 h 0"/>
                <a:gd name="connsiteX2" fmla="*/ 6808 w 6246"/>
                <a:gd name="connsiteY2" fmla="*/ 0 h 0"/>
                <a:gd name="connsiteX3" fmla="*/ 12242 w 6246"/>
                <a:gd name="connsiteY3" fmla="*/ 1499 h 0"/>
                <a:gd name="connsiteX4" fmla="*/ 11805 w 6246"/>
                <a:gd name="connsiteY4" fmla="*/ 3560 h 0"/>
                <a:gd name="connsiteX5" fmla="*/ 0 w 6246"/>
                <a:gd name="connsiteY5" fmla="*/ 24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436"/>
                  </a:moveTo>
                  <a:cubicBezTo>
                    <a:pt x="1811" y="1874"/>
                    <a:pt x="3560" y="1249"/>
                    <a:pt x="5372" y="687"/>
                  </a:cubicBezTo>
                  <a:cubicBezTo>
                    <a:pt x="5746" y="250"/>
                    <a:pt x="6184" y="62"/>
                    <a:pt x="6808" y="0"/>
                  </a:cubicBezTo>
                  <a:cubicBezTo>
                    <a:pt x="8745" y="187"/>
                    <a:pt x="10743" y="-62"/>
                    <a:pt x="12242" y="1499"/>
                  </a:cubicBezTo>
                  <a:cubicBezTo>
                    <a:pt x="12555" y="2249"/>
                    <a:pt x="12492" y="2998"/>
                    <a:pt x="11805" y="3560"/>
                  </a:cubicBezTo>
                  <a:cubicBezTo>
                    <a:pt x="7870" y="2748"/>
                    <a:pt x="3685" y="4560"/>
                    <a:pt x="0" y="2436"/>
                  </a:cubicBezTo>
                  <a:close/>
                </a:path>
              </a:pathLst>
            </a:custGeom>
            <a:grpFill/>
            <a:ln w="6246" cap="flat">
              <a:noFill/>
              <a:prstDash val="solid"/>
              <a:miter/>
            </a:ln>
          </p:spPr>
          <p:txBody>
            <a:bodyPr rtlCol="0" anchor="ctr"/>
            <a:lstStyle/>
            <a:p>
              <a:endParaRPr lang="fr-FR" sz="2400"/>
            </a:p>
          </p:txBody>
        </p:sp>
        <p:sp>
          <p:nvSpPr>
            <p:cNvPr id="38" name="Freeform: Shape 37">
              <a:extLst>
                <a:ext uri="{FF2B5EF4-FFF2-40B4-BE49-F238E27FC236}">
                  <a16:creationId xmlns:a16="http://schemas.microsoft.com/office/drawing/2014/main" id="{B02F1917-EF39-4100-8344-82E48CB70D5A}"/>
                </a:ext>
              </a:extLst>
            </p:cNvPr>
            <p:cNvSpPr/>
            <p:nvPr/>
          </p:nvSpPr>
          <p:spPr>
            <a:xfrm>
              <a:off x="1225446" y="677685"/>
              <a:ext cx="6246" cy="6246"/>
            </a:xfrm>
            <a:custGeom>
              <a:avLst/>
              <a:gdLst>
                <a:gd name="connsiteX0" fmla="*/ 0 w 6246"/>
                <a:gd name="connsiteY0" fmla="*/ 2885 h 0"/>
                <a:gd name="connsiteX1" fmla="*/ 62 w 6246"/>
                <a:gd name="connsiteY1" fmla="*/ 1011 h 0"/>
                <a:gd name="connsiteX2" fmla="*/ 4372 w 6246"/>
                <a:gd name="connsiteY2" fmla="*/ 636 h 0"/>
                <a:gd name="connsiteX3" fmla="*/ 5372 w 6246"/>
                <a:gd name="connsiteY3" fmla="*/ 699 h 0"/>
                <a:gd name="connsiteX4" fmla="*/ 7495 w 6246"/>
                <a:gd name="connsiteY4" fmla="*/ 2760 h 0"/>
                <a:gd name="connsiteX5" fmla="*/ 0 w 6246"/>
                <a:gd name="connsiteY5" fmla="*/ 28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885"/>
                  </a:moveTo>
                  <a:cubicBezTo>
                    <a:pt x="0" y="2260"/>
                    <a:pt x="62" y="1636"/>
                    <a:pt x="62" y="1011"/>
                  </a:cubicBezTo>
                  <a:cubicBezTo>
                    <a:pt x="1374" y="-613"/>
                    <a:pt x="2873" y="74"/>
                    <a:pt x="4372" y="636"/>
                  </a:cubicBezTo>
                  <a:cubicBezTo>
                    <a:pt x="4685" y="699"/>
                    <a:pt x="5059" y="699"/>
                    <a:pt x="5372" y="699"/>
                  </a:cubicBezTo>
                  <a:cubicBezTo>
                    <a:pt x="4872" y="2448"/>
                    <a:pt x="7058" y="1823"/>
                    <a:pt x="7495" y="2760"/>
                  </a:cubicBezTo>
                  <a:cubicBezTo>
                    <a:pt x="5059" y="4009"/>
                    <a:pt x="2561" y="3760"/>
                    <a:pt x="0" y="2885"/>
                  </a:cubicBezTo>
                  <a:close/>
                </a:path>
              </a:pathLst>
            </a:custGeom>
            <a:grpFill/>
            <a:ln w="6246" cap="flat">
              <a:noFill/>
              <a:prstDash val="solid"/>
              <a:miter/>
            </a:ln>
          </p:spPr>
          <p:txBody>
            <a:bodyPr rtlCol="0" anchor="ctr"/>
            <a:lstStyle/>
            <a:p>
              <a:endParaRPr lang="fr-FR" sz="2400"/>
            </a:p>
          </p:txBody>
        </p:sp>
        <p:sp>
          <p:nvSpPr>
            <p:cNvPr id="39" name="Freeform: Shape 38">
              <a:extLst>
                <a:ext uri="{FF2B5EF4-FFF2-40B4-BE49-F238E27FC236}">
                  <a16:creationId xmlns:a16="http://schemas.microsoft.com/office/drawing/2014/main" id="{006F3878-8F65-4BBE-BBD7-A8D126D8A7F5}"/>
                </a:ext>
              </a:extLst>
            </p:cNvPr>
            <p:cNvSpPr/>
            <p:nvPr/>
          </p:nvSpPr>
          <p:spPr>
            <a:xfrm>
              <a:off x="1401418" y="454068"/>
              <a:ext cx="6246" cy="6246"/>
            </a:xfrm>
            <a:custGeom>
              <a:avLst/>
              <a:gdLst>
                <a:gd name="connsiteX0" fmla="*/ 5039 w 0"/>
                <a:gd name="connsiteY0" fmla="*/ 5829 h 6246"/>
                <a:gd name="connsiteX1" fmla="*/ 3852 w 0"/>
                <a:gd name="connsiteY1" fmla="*/ 6828 h 6246"/>
                <a:gd name="connsiteX2" fmla="*/ 167 w 0"/>
                <a:gd name="connsiteY2" fmla="*/ 2830 h 6246"/>
                <a:gd name="connsiteX3" fmla="*/ 729 w 0"/>
                <a:gd name="connsiteY3" fmla="*/ 207 h 6246"/>
                <a:gd name="connsiteX4" fmla="*/ 2790 w 0"/>
                <a:gd name="connsiteY4" fmla="*/ 1019 h 6246"/>
                <a:gd name="connsiteX5" fmla="*/ 3227 w 0"/>
                <a:gd name="connsiteY5" fmla="*/ 2018 h 6246"/>
                <a:gd name="connsiteX6" fmla="*/ 5039 w 0"/>
                <a:gd name="connsiteY6" fmla="*/ 58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5039" y="5829"/>
                  </a:moveTo>
                  <a:cubicBezTo>
                    <a:pt x="4664" y="6141"/>
                    <a:pt x="4227" y="6516"/>
                    <a:pt x="3852" y="6828"/>
                  </a:cubicBezTo>
                  <a:cubicBezTo>
                    <a:pt x="916" y="6828"/>
                    <a:pt x="729" y="4642"/>
                    <a:pt x="167" y="2830"/>
                  </a:cubicBezTo>
                  <a:cubicBezTo>
                    <a:pt x="42" y="1894"/>
                    <a:pt x="-333" y="832"/>
                    <a:pt x="729" y="207"/>
                  </a:cubicBezTo>
                  <a:cubicBezTo>
                    <a:pt x="1666" y="-355"/>
                    <a:pt x="2290" y="332"/>
                    <a:pt x="2790" y="1019"/>
                  </a:cubicBezTo>
                  <a:cubicBezTo>
                    <a:pt x="2915" y="1331"/>
                    <a:pt x="3102" y="1644"/>
                    <a:pt x="3227" y="2018"/>
                  </a:cubicBezTo>
                  <a:cubicBezTo>
                    <a:pt x="2478" y="3767"/>
                    <a:pt x="4664" y="4454"/>
                    <a:pt x="5039" y="5829"/>
                  </a:cubicBezTo>
                  <a:close/>
                </a:path>
              </a:pathLst>
            </a:custGeom>
            <a:grpFill/>
            <a:ln w="6246" cap="flat">
              <a:noFill/>
              <a:prstDash val="solid"/>
              <a:miter/>
            </a:ln>
          </p:spPr>
          <p:txBody>
            <a:bodyPr rtlCol="0" anchor="ctr"/>
            <a:lstStyle/>
            <a:p>
              <a:endParaRPr lang="fr-FR" sz="2400"/>
            </a:p>
          </p:txBody>
        </p:sp>
        <p:sp>
          <p:nvSpPr>
            <p:cNvPr id="40" name="Freeform: Shape 39">
              <a:extLst>
                <a:ext uri="{FF2B5EF4-FFF2-40B4-BE49-F238E27FC236}">
                  <a16:creationId xmlns:a16="http://schemas.microsoft.com/office/drawing/2014/main" id="{6714725C-F904-40C1-A0A8-E03B9AEEA666}"/>
                </a:ext>
              </a:extLst>
            </p:cNvPr>
            <p:cNvSpPr/>
            <p:nvPr/>
          </p:nvSpPr>
          <p:spPr>
            <a:xfrm>
              <a:off x="1293965" y="668888"/>
              <a:ext cx="6246" cy="6246"/>
            </a:xfrm>
            <a:custGeom>
              <a:avLst/>
              <a:gdLst>
                <a:gd name="connsiteX0" fmla="*/ 0 w 6246"/>
                <a:gd name="connsiteY0" fmla="*/ 2813 h 0"/>
                <a:gd name="connsiteX1" fmla="*/ 9994 w 6246"/>
                <a:gd name="connsiteY1" fmla="*/ 2 h 0"/>
                <a:gd name="connsiteX2" fmla="*/ 0 w 6246"/>
                <a:gd name="connsiteY2" fmla="*/ 2813 h 0"/>
              </a:gdLst>
              <a:ahLst/>
              <a:cxnLst>
                <a:cxn ang="0">
                  <a:pos x="connsiteX0" y="connsiteY0"/>
                </a:cxn>
                <a:cxn ang="0">
                  <a:pos x="connsiteX1" y="connsiteY1"/>
                </a:cxn>
                <a:cxn ang="0">
                  <a:pos x="connsiteX2" y="connsiteY2"/>
                </a:cxn>
              </a:cxnLst>
              <a:rect l="l" t="t" r="r" b="b"/>
              <a:pathLst>
                <a:path w="6246">
                  <a:moveTo>
                    <a:pt x="0" y="2813"/>
                  </a:moveTo>
                  <a:cubicBezTo>
                    <a:pt x="3061" y="1064"/>
                    <a:pt x="6308" y="-60"/>
                    <a:pt x="9994" y="2"/>
                  </a:cubicBezTo>
                  <a:cubicBezTo>
                    <a:pt x="6996" y="1876"/>
                    <a:pt x="3623" y="2751"/>
                    <a:pt x="0" y="2813"/>
                  </a:cubicBezTo>
                  <a:close/>
                </a:path>
              </a:pathLst>
            </a:custGeom>
            <a:grpFill/>
            <a:ln w="6246" cap="flat">
              <a:noFill/>
              <a:prstDash val="solid"/>
              <a:miter/>
            </a:ln>
          </p:spPr>
          <p:txBody>
            <a:bodyPr rtlCol="0" anchor="ctr"/>
            <a:lstStyle/>
            <a:p>
              <a:endParaRPr lang="fr-FR" sz="2400"/>
            </a:p>
          </p:txBody>
        </p:sp>
        <p:sp>
          <p:nvSpPr>
            <p:cNvPr id="41" name="Freeform: Shape 40">
              <a:extLst>
                <a:ext uri="{FF2B5EF4-FFF2-40B4-BE49-F238E27FC236}">
                  <a16:creationId xmlns:a16="http://schemas.microsoft.com/office/drawing/2014/main" id="{29D3CAAF-8F4B-44C0-80DA-50D1D71F69AC}"/>
                </a:ext>
              </a:extLst>
            </p:cNvPr>
            <p:cNvSpPr/>
            <p:nvPr/>
          </p:nvSpPr>
          <p:spPr>
            <a:xfrm>
              <a:off x="1422657" y="538285"/>
              <a:ext cx="6246" cy="6246"/>
            </a:xfrm>
            <a:custGeom>
              <a:avLst/>
              <a:gdLst>
                <a:gd name="connsiteX0" fmla="*/ 1664 w 0"/>
                <a:gd name="connsiteY0" fmla="*/ 3748 h 6246"/>
                <a:gd name="connsiteX1" fmla="*/ 3912 w 0"/>
                <a:gd name="connsiteY1" fmla="*/ 0 h 6246"/>
                <a:gd name="connsiteX2" fmla="*/ 1851 w 0"/>
                <a:gd name="connsiteY2" fmla="*/ 7745 h 6246"/>
                <a:gd name="connsiteX3" fmla="*/ 102 w 0"/>
                <a:gd name="connsiteY3" fmla="*/ 5809 h 6246"/>
                <a:gd name="connsiteX4" fmla="*/ 352 w 0"/>
                <a:gd name="connsiteY4" fmla="*/ 3935 h 6246"/>
                <a:gd name="connsiteX5" fmla="*/ 1664 w 0"/>
                <a:gd name="connsiteY5" fmla="*/ 37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664" y="3748"/>
                  </a:moveTo>
                  <a:cubicBezTo>
                    <a:pt x="3538" y="3061"/>
                    <a:pt x="2351" y="812"/>
                    <a:pt x="3912" y="0"/>
                  </a:cubicBezTo>
                  <a:cubicBezTo>
                    <a:pt x="4162" y="2811"/>
                    <a:pt x="3912" y="5497"/>
                    <a:pt x="1851" y="7745"/>
                  </a:cubicBezTo>
                  <a:cubicBezTo>
                    <a:pt x="914" y="7370"/>
                    <a:pt x="415" y="6621"/>
                    <a:pt x="102" y="5809"/>
                  </a:cubicBezTo>
                  <a:cubicBezTo>
                    <a:pt x="-85" y="5122"/>
                    <a:pt x="-23" y="4497"/>
                    <a:pt x="352" y="3935"/>
                  </a:cubicBezTo>
                  <a:cubicBezTo>
                    <a:pt x="789" y="3623"/>
                    <a:pt x="1227" y="3560"/>
                    <a:pt x="1664" y="3748"/>
                  </a:cubicBezTo>
                  <a:close/>
                </a:path>
              </a:pathLst>
            </a:custGeom>
            <a:grpFill/>
            <a:ln w="6246" cap="flat">
              <a:noFill/>
              <a:prstDash val="solid"/>
              <a:miter/>
            </a:ln>
          </p:spPr>
          <p:txBody>
            <a:bodyPr rtlCol="0" anchor="ctr"/>
            <a:lstStyle/>
            <a:p>
              <a:endParaRPr lang="fr-FR" sz="2400"/>
            </a:p>
          </p:txBody>
        </p:sp>
        <p:sp>
          <p:nvSpPr>
            <p:cNvPr id="42" name="Freeform: Shape 41">
              <a:extLst>
                <a:ext uri="{FF2B5EF4-FFF2-40B4-BE49-F238E27FC236}">
                  <a16:creationId xmlns:a16="http://schemas.microsoft.com/office/drawing/2014/main" id="{8F2439D1-1709-4695-9AB6-6FD21CC765BE}"/>
                </a:ext>
              </a:extLst>
            </p:cNvPr>
            <p:cNvSpPr/>
            <p:nvPr/>
          </p:nvSpPr>
          <p:spPr>
            <a:xfrm>
              <a:off x="1422975" y="515050"/>
              <a:ext cx="6246" cy="6246"/>
            </a:xfrm>
            <a:custGeom>
              <a:avLst/>
              <a:gdLst>
                <a:gd name="connsiteX0" fmla="*/ 283 w 0"/>
                <a:gd name="connsiteY0" fmla="*/ 3935 h 0"/>
                <a:gd name="connsiteX1" fmla="*/ 1345 w 0"/>
                <a:gd name="connsiteY1" fmla="*/ 0 h 0"/>
                <a:gd name="connsiteX2" fmla="*/ 1782 w 0"/>
                <a:gd name="connsiteY2" fmla="*/ 5746 h 0"/>
                <a:gd name="connsiteX3" fmla="*/ 1283 w 0"/>
                <a:gd name="connsiteY3" fmla="*/ 5871 h 0"/>
                <a:gd name="connsiteX4" fmla="*/ 283 w 0"/>
                <a:gd name="connsiteY4" fmla="*/ 39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83" y="3935"/>
                  </a:moveTo>
                  <a:cubicBezTo>
                    <a:pt x="721" y="2623"/>
                    <a:pt x="-91" y="1062"/>
                    <a:pt x="1345" y="0"/>
                  </a:cubicBezTo>
                  <a:cubicBezTo>
                    <a:pt x="3844" y="1749"/>
                    <a:pt x="2345" y="3748"/>
                    <a:pt x="1782" y="5746"/>
                  </a:cubicBezTo>
                  <a:cubicBezTo>
                    <a:pt x="1782" y="5746"/>
                    <a:pt x="1283" y="5871"/>
                    <a:pt x="1283" y="5871"/>
                  </a:cubicBezTo>
                  <a:cubicBezTo>
                    <a:pt x="-154" y="5684"/>
                    <a:pt x="-216" y="4934"/>
                    <a:pt x="283" y="3935"/>
                  </a:cubicBezTo>
                  <a:close/>
                </a:path>
              </a:pathLst>
            </a:custGeom>
            <a:grpFill/>
            <a:ln w="6246" cap="flat">
              <a:noFill/>
              <a:prstDash val="solid"/>
              <a:miter/>
            </a:ln>
          </p:spPr>
          <p:txBody>
            <a:bodyPr rtlCol="0" anchor="ctr"/>
            <a:lstStyle/>
            <a:p>
              <a:endParaRPr lang="fr-FR" sz="2400"/>
            </a:p>
          </p:txBody>
        </p:sp>
        <p:sp>
          <p:nvSpPr>
            <p:cNvPr id="43" name="Freeform: Shape 42">
              <a:extLst>
                <a:ext uri="{FF2B5EF4-FFF2-40B4-BE49-F238E27FC236}">
                  <a16:creationId xmlns:a16="http://schemas.microsoft.com/office/drawing/2014/main" id="{947120A3-9982-44CF-9460-286D83746698}"/>
                </a:ext>
              </a:extLst>
            </p:cNvPr>
            <p:cNvSpPr/>
            <p:nvPr/>
          </p:nvSpPr>
          <p:spPr>
            <a:xfrm>
              <a:off x="1371042" y="635724"/>
              <a:ext cx="6246" cy="6246"/>
            </a:xfrm>
            <a:custGeom>
              <a:avLst/>
              <a:gdLst>
                <a:gd name="connsiteX0" fmla="*/ 0 w 0"/>
                <a:gd name="connsiteY0" fmla="*/ 4997 h 0"/>
                <a:gd name="connsiteX1" fmla="*/ 1936 w 0"/>
                <a:gd name="connsiteY1" fmla="*/ 750 h 0"/>
                <a:gd name="connsiteX2" fmla="*/ 2748 w 0"/>
                <a:gd name="connsiteY2" fmla="*/ 0 h 0"/>
                <a:gd name="connsiteX3" fmla="*/ 3310 w 0"/>
                <a:gd name="connsiteY3" fmla="*/ 312 h 0"/>
                <a:gd name="connsiteX4" fmla="*/ 0 w 0"/>
                <a:gd name="connsiteY4" fmla="*/ 49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997"/>
                  </a:moveTo>
                  <a:cubicBezTo>
                    <a:pt x="624" y="3560"/>
                    <a:pt x="1312" y="2186"/>
                    <a:pt x="1936" y="750"/>
                  </a:cubicBezTo>
                  <a:cubicBezTo>
                    <a:pt x="2061" y="375"/>
                    <a:pt x="2311" y="125"/>
                    <a:pt x="2748" y="0"/>
                  </a:cubicBezTo>
                  <a:cubicBezTo>
                    <a:pt x="2936" y="125"/>
                    <a:pt x="3123" y="187"/>
                    <a:pt x="3310" y="312"/>
                  </a:cubicBezTo>
                  <a:cubicBezTo>
                    <a:pt x="4934" y="3435"/>
                    <a:pt x="2748" y="4372"/>
                    <a:pt x="0" y="4997"/>
                  </a:cubicBezTo>
                  <a:close/>
                </a:path>
              </a:pathLst>
            </a:custGeom>
            <a:grpFill/>
            <a:ln w="6246" cap="flat">
              <a:noFill/>
              <a:prstDash val="solid"/>
              <a:miter/>
            </a:ln>
          </p:spPr>
          <p:txBody>
            <a:bodyPr rtlCol="0" anchor="ctr"/>
            <a:lstStyle/>
            <a:p>
              <a:endParaRPr lang="fr-FR" sz="2400"/>
            </a:p>
          </p:txBody>
        </p:sp>
        <p:sp>
          <p:nvSpPr>
            <p:cNvPr id="44" name="Freeform: Shape 43">
              <a:extLst>
                <a:ext uri="{FF2B5EF4-FFF2-40B4-BE49-F238E27FC236}">
                  <a16:creationId xmlns:a16="http://schemas.microsoft.com/office/drawing/2014/main" id="{A0DD1554-6A3A-4BC6-9D1D-BCBF281A3B43}"/>
                </a:ext>
              </a:extLst>
            </p:cNvPr>
            <p:cNvSpPr/>
            <p:nvPr/>
          </p:nvSpPr>
          <p:spPr>
            <a:xfrm>
              <a:off x="1380847" y="642282"/>
              <a:ext cx="6246" cy="6246"/>
            </a:xfrm>
            <a:custGeom>
              <a:avLst/>
              <a:gdLst>
                <a:gd name="connsiteX0" fmla="*/ 1437 w 0"/>
                <a:gd name="connsiteY0" fmla="*/ 0 h 0"/>
                <a:gd name="connsiteX1" fmla="*/ 1749 w 0"/>
                <a:gd name="connsiteY1" fmla="*/ 5059 h 0"/>
                <a:gd name="connsiteX2" fmla="*/ 1437 w 0"/>
                <a:gd name="connsiteY2" fmla="*/ 0 h 0"/>
              </a:gdLst>
              <a:ahLst/>
              <a:cxnLst>
                <a:cxn ang="0">
                  <a:pos x="connsiteX0" y="connsiteY0"/>
                </a:cxn>
                <a:cxn ang="0">
                  <a:pos x="connsiteX1" y="connsiteY1"/>
                </a:cxn>
                <a:cxn ang="0">
                  <a:pos x="connsiteX2" y="connsiteY2"/>
                </a:cxn>
              </a:cxnLst>
              <a:rect l="l" t="t" r="r" b="b"/>
              <a:pathLst>
                <a:path>
                  <a:moveTo>
                    <a:pt x="1437" y="0"/>
                  </a:moveTo>
                  <a:cubicBezTo>
                    <a:pt x="1562" y="1437"/>
                    <a:pt x="1624" y="2873"/>
                    <a:pt x="1749" y="5059"/>
                  </a:cubicBezTo>
                  <a:cubicBezTo>
                    <a:pt x="-749" y="3061"/>
                    <a:pt x="-312" y="1499"/>
                    <a:pt x="1437" y="0"/>
                  </a:cubicBezTo>
                  <a:close/>
                </a:path>
              </a:pathLst>
            </a:custGeom>
            <a:grpFill/>
            <a:ln w="6246" cap="flat">
              <a:noFill/>
              <a:prstDash val="solid"/>
              <a:miter/>
            </a:ln>
          </p:spPr>
          <p:txBody>
            <a:bodyPr rtlCol="0" anchor="ctr"/>
            <a:lstStyle/>
            <a:p>
              <a:endParaRPr lang="fr-FR" sz="2400"/>
            </a:p>
          </p:txBody>
        </p:sp>
        <p:sp>
          <p:nvSpPr>
            <p:cNvPr id="45" name="Freeform: Shape 44">
              <a:extLst>
                <a:ext uri="{FF2B5EF4-FFF2-40B4-BE49-F238E27FC236}">
                  <a16:creationId xmlns:a16="http://schemas.microsoft.com/office/drawing/2014/main" id="{2CE1CE69-E972-401D-B30A-69C39D1CF181}"/>
                </a:ext>
              </a:extLst>
            </p:cNvPr>
            <p:cNvSpPr/>
            <p:nvPr/>
          </p:nvSpPr>
          <p:spPr>
            <a:xfrm>
              <a:off x="1422473" y="544094"/>
              <a:ext cx="6246" cy="6246"/>
            </a:xfrm>
            <a:custGeom>
              <a:avLst/>
              <a:gdLst>
                <a:gd name="connsiteX0" fmla="*/ 1098 w 0"/>
                <a:gd name="connsiteY0" fmla="*/ 0 h 6246"/>
                <a:gd name="connsiteX1" fmla="*/ 2098 w 0"/>
                <a:gd name="connsiteY1" fmla="*/ 1999 h 6246"/>
                <a:gd name="connsiteX2" fmla="*/ 2160 w 0"/>
                <a:gd name="connsiteY2" fmla="*/ 6746 h 6246"/>
                <a:gd name="connsiteX3" fmla="*/ 786 w 0"/>
                <a:gd name="connsiteY3" fmla="*/ 3810 h 6246"/>
                <a:gd name="connsiteX4" fmla="*/ 1098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098" y="0"/>
                  </a:moveTo>
                  <a:cubicBezTo>
                    <a:pt x="1411" y="687"/>
                    <a:pt x="1785" y="1312"/>
                    <a:pt x="2098" y="1999"/>
                  </a:cubicBezTo>
                  <a:cubicBezTo>
                    <a:pt x="2910" y="3560"/>
                    <a:pt x="3972" y="5122"/>
                    <a:pt x="2160" y="6746"/>
                  </a:cubicBezTo>
                  <a:cubicBezTo>
                    <a:pt x="1723" y="5746"/>
                    <a:pt x="1286" y="4747"/>
                    <a:pt x="786" y="3810"/>
                  </a:cubicBezTo>
                  <a:cubicBezTo>
                    <a:pt x="-338" y="2436"/>
                    <a:pt x="-276" y="1187"/>
                    <a:pt x="1098" y="0"/>
                  </a:cubicBezTo>
                  <a:close/>
                </a:path>
              </a:pathLst>
            </a:custGeom>
            <a:grpFill/>
            <a:ln w="6246" cap="flat">
              <a:noFill/>
              <a:prstDash val="solid"/>
              <a:miter/>
            </a:ln>
          </p:spPr>
          <p:txBody>
            <a:bodyPr rtlCol="0" anchor="ctr"/>
            <a:lstStyle/>
            <a:p>
              <a:endParaRPr lang="fr-FR" sz="2400"/>
            </a:p>
          </p:txBody>
        </p:sp>
        <p:sp>
          <p:nvSpPr>
            <p:cNvPr id="46" name="Freeform: Shape 45">
              <a:extLst>
                <a:ext uri="{FF2B5EF4-FFF2-40B4-BE49-F238E27FC236}">
                  <a16:creationId xmlns:a16="http://schemas.microsoft.com/office/drawing/2014/main" id="{4100500E-275E-43A4-86FC-BD564BA42CD2}"/>
                </a:ext>
              </a:extLst>
            </p:cNvPr>
            <p:cNvSpPr/>
            <p:nvPr/>
          </p:nvSpPr>
          <p:spPr>
            <a:xfrm>
              <a:off x="1410973" y="473388"/>
              <a:ext cx="6246" cy="6246"/>
            </a:xfrm>
            <a:custGeom>
              <a:avLst/>
              <a:gdLst>
                <a:gd name="connsiteX0" fmla="*/ 2917 w 0"/>
                <a:gd name="connsiteY0" fmla="*/ 4809 h 0"/>
                <a:gd name="connsiteX1" fmla="*/ 731 w 0"/>
                <a:gd name="connsiteY1" fmla="*/ 0 h 0"/>
                <a:gd name="connsiteX2" fmla="*/ 2917 w 0"/>
                <a:gd name="connsiteY2" fmla="*/ 4809 h 0"/>
              </a:gdLst>
              <a:ahLst/>
              <a:cxnLst>
                <a:cxn ang="0">
                  <a:pos x="connsiteX0" y="connsiteY0"/>
                </a:cxn>
                <a:cxn ang="0">
                  <a:pos x="connsiteX1" y="connsiteY1"/>
                </a:cxn>
                <a:cxn ang="0">
                  <a:pos x="connsiteX2" y="connsiteY2"/>
                </a:cxn>
              </a:cxnLst>
              <a:rect l="l" t="t" r="r" b="b"/>
              <a:pathLst>
                <a:path>
                  <a:moveTo>
                    <a:pt x="2917" y="4809"/>
                  </a:moveTo>
                  <a:cubicBezTo>
                    <a:pt x="-394" y="4560"/>
                    <a:pt x="-519" y="4372"/>
                    <a:pt x="731" y="0"/>
                  </a:cubicBezTo>
                  <a:cubicBezTo>
                    <a:pt x="2042" y="1437"/>
                    <a:pt x="2604" y="3123"/>
                    <a:pt x="2917" y="4809"/>
                  </a:cubicBezTo>
                  <a:close/>
                </a:path>
              </a:pathLst>
            </a:custGeom>
            <a:grpFill/>
            <a:ln w="6246" cap="flat">
              <a:noFill/>
              <a:prstDash val="solid"/>
              <a:miter/>
            </a:ln>
          </p:spPr>
          <p:txBody>
            <a:bodyPr rtlCol="0" anchor="ctr"/>
            <a:lstStyle/>
            <a:p>
              <a:endParaRPr lang="fr-FR" sz="2400"/>
            </a:p>
          </p:txBody>
        </p:sp>
        <p:sp>
          <p:nvSpPr>
            <p:cNvPr id="47" name="Freeform: Shape 46">
              <a:extLst>
                <a:ext uri="{FF2B5EF4-FFF2-40B4-BE49-F238E27FC236}">
                  <a16:creationId xmlns:a16="http://schemas.microsoft.com/office/drawing/2014/main" id="{F9A40CD3-BCE0-4630-945D-871C41C7FD68}"/>
                </a:ext>
              </a:extLst>
            </p:cNvPr>
            <p:cNvSpPr/>
            <p:nvPr/>
          </p:nvSpPr>
          <p:spPr>
            <a:xfrm>
              <a:off x="1315327" y="663956"/>
              <a:ext cx="6246" cy="6246"/>
            </a:xfrm>
            <a:custGeom>
              <a:avLst/>
              <a:gdLst>
                <a:gd name="connsiteX0" fmla="*/ 3373 w 6246"/>
                <a:gd name="connsiteY0" fmla="*/ 0 h 0"/>
                <a:gd name="connsiteX1" fmla="*/ 6558 w 6246"/>
                <a:gd name="connsiteY1" fmla="*/ 0 h 0"/>
                <a:gd name="connsiteX2" fmla="*/ 4310 w 6246"/>
                <a:gd name="connsiteY2" fmla="*/ 1874 h 0"/>
                <a:gd name="connsiteX3" fmla="*/ 4310 w 6246"/>
                <a:gd name="connsiteY3" fmla="*/ 1874 h 0"/>
                <a:gd name="connsiteX4" fmla="*/ 0 w 6246"/>
                <a:gd name="connsiteY4" fmla="*/ 1249 h 0"/>
                <a:gd name="connsiteX5" fmla="*/ 3373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73" y="0"/>
                  </a:moveTo>
                  <a:cubicBezTo>
                    <a:pt x="4435" y="0"/>
                    <a:pt x="5497" y="0"/>
                    <a:pt x="6558" y="0"/>
                  </a:cubicBezTo>
                  <a:cubicBezTo>
                    <a:pt x="5809" y="625"/>
                    <a:pt x="5059" y="1249"/>
                    <a:pt x="4310" y="1874"/>
                  </a:cubicBezTo>
                  <a:cubicBezTo>
                    <a:pt x="4310" y="1874"/>
                    <a:pt x="4310" y="1874"/>
                    <a:pt x="4310" y="1874"/>
                  </a:cubicBezTo>
                  <a:cubicBezTo>
                    <a:pt x="2811" y="1874"/>
                    <a:pt x="1124" y="3248"/>
                    <a:pt x="0" y="1249"/>
                  </a:cubicBezTo>
                  <a:cubicBezTo>
                    <a:pt x="1124" y="812"/>
                    <a:pt x="2249" y="437"/>
                    <a:pt x="3373" y="0"/>
                  </a:cubicBezTo>
                  <a:close/>
                </a:path>
              </a:pathLst>
            </a:custGeom>
            <a:grpFill/>
            <a:ln w="6246" cap="flat">
              <a:noFill/>
              <a:prstDash val="solid"/>
              <a:miter/>
            </a:ln>
          </p:spPr>
          <p:txBody>
            <a:bodyPr rtlCol="0" anchor="ctr"/>
            <a:lstStyle/>
            <a:p>
              <a:endParaRPr lang="fr-FR" sz="2400"/>
            </a:p>
          </p:txBody>
        </p:sp>
        <p:sp>
          <p:nvSpPr>
            <p:cNvPr id="48" name="Freeform: Shape 47">
              <a:extLst>
                <a:ext uri="{FF2B5EF4-FFF2-40B4-BE49-F238E27FC236}">
                  <a16:creationId xmlns:a16="http://schemas.microsoft.com/office/drawing/2014/main" id="{3D04B233-F762-4D2C-BF2B-1E8DBD8CB403}"/>
                </a:ext>
              </a:extLst>
            </p:cNvPr>
            <p:cNvSpPr/>
            <p:nvPr/>
          </p:nvSpPr>
          <p:spPr>
            <a:xfrm>
              <a:off x="1374040" y="633975"/>
              <a:ext cx="6246" cy="6246"/>
            </a:xfrm>
            <a:custGeom>
              <a:avLst/>
              <a:gdLst>
                <a:gd name="connsiteX0" fmla="*/ 1187 w 0"/>
                <a:gd name="connsiteY0" fmla="*/ 874 h 0"/>
                <a:gd name="connsiteX1" fmla="*/ 4497 w 0"/>
                <a:gd name="connsiteY1" fmla="*/ 0 h 0"/>
                <a:gd name="connsiteX2" fmla="*/ 312 w 0"/>
                <a:gd name="connsiteY2" fmla="*/ 2061 h 0"/>
                <a:gd name="connsiteX3" fmla="*/ 0 w 0"/>
                <a:gd name="connsiteY3" fmla="*/ 1749 h 0"/>
                <a:gd name="connsiteX4" fmla="*/ 1187 w 0"/>
                <a:gd name="connsiteY4" fmla="*/ 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87" y="874"/>
                  </a:moveTo>
                  <a:cubicBezTo>
                    <a:pt x="2311" y="562"/>
                    <a:pt x="3373" y="312"/>
                    <a:pt x="4497" y="0"/>
                  </a:cubicBezTo>
                  <a:cubicBezTo>
                    <a:pt x="4435" y="2936"/>
                    <a:pt x="2249" y="2249"/>
                    <a:pt x="312" y="2061"/>
                  </a:cubicBezTo>
                  <a:cubicBezTo>
                    <a:pt x="312" y="2061"/>
                    <a:pt x="0" y="1749"/>
                    <a:pt x="0" y="1749"/>
                  </a:cubicBezTo>
                  <a:cubicBezTo>
                    <a:pt x="63" y="1062"/>
                    <a:pt x="375" y="687"/>
                    <a:pt x="1187" y="874"/>
                  </a:cubicBezTo>
                  <a:close/>
                </a:path>
              </a:pathLst>
            </a:custGeom>
            <a:grpFill/>
            <a:ln w="6246" cap="flat">
              <a:noFill/>
              <a:prstDash val="solid"/>
              <a:miter/>
            </a:ln>
          </p:spPr>
          <p:txBody>
            <a:bodyPr rtlCol="0" anchor="ctr"/>
            <a:lstStyle/>
            <a:p>
              <a:endParaRPr lang="fr-FR" sz="2400"/>
            </a:p>
          </p:txBody>
        </p:sp>
        <p:sp>
          <p:nvSpPr>
            <p:cNvPr id="49" name="Freeform: Shape 48">
              <a:extLst>
                <a:ext uri="{FF2B5EF4-FFF2-40B4-BE49-F238E27FC236}">
                  <a16:creationId xmlns:a16="http://schemas.microsoft.com/office/drawing/2014/main" id="{5B87F90E-54A8-433A-8213-9ABB6C35D058}"/>
                </a:ext>
              </a:extLst>
            </p:cNvPr>
            <p:cNvSpPr/>
            <p:nvPr/>
          </p:nvSpPr>
          <p:spPr>
            <a:xfrm>
              <a:off x="1403833" y="601745"/>
              <a:ext cx="6246" cy="6246"/>
            </a:xfrm>
            <a:custGeom>
              <a:avLst/>
              <a:gdLst>
                <a:gd name="connsiteX0" fmla="*/ 1499 w 0"/>
                <a:gd name="connsiteY0" fmla="*/ 312 h 0"/>
                <a:gd name="connsiteX1" fmla="*/ 2498 w 0"/>
                <a:gd name="connsiteY1" fmla="*/ 4185 h 0"/>
                <a:gd name="connsiteX2" fmla="*/ 375 w 0"/>
                <a:gd name="connsiteY2" fmla="*/ 5122 h 0"/>
                <a:gd name="connsiteX3" fmla="*/ 375 w 0"/>
                <a:gd name="connsiteY3" fmla="*/ 312 h 0"/>
                <a:gd name="connsiteX4" fmla="*/ 937 w 0"/>
                <a:gd name="connsiteY4" fmla="*/ 0 h 0"/>
                <a:gd name="connsiteX5" fmla="*/ 1499 w 0"/>
                <a:gd name="connsiteY5" fmla="*/ 31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499" y="312"/>
                  </a:moveTo>
                  <a:cubicBezTo>
                    <a:pt x="1562" y="1624"/>
                    <a:pt x="999" y="3123"/>
                    <a:pt x="2498" y="4185"/>
                  </a:cubicBezTo>
                  <a:cubicBezTo>
                    <a:pt x="1999" y="4872"/>
                    <a:pt x="1249" y="5184"/>
                    <a:pt x="375" y="5122"/>
                  </a:cubicBezTo>
                  <a:cubicBezTo>
                    <a:pt x="-125" y="3498"/>
                    <a:pt x="-125" y="1936"/>
                    <a:pt x="375" y="312"/>
                  </a:cubicBezTo>
                  <a:cubicBezTo>
                    <a:pt x="562" y="187"/>
                    <a:pt x="750" y="125"/>
                    <a:pt x="937" y="0"/>
                  </a:cubicBezTo>
                  <a:cubicBezTo>
                    <a:pt x="1124" y="125"/>
                    <a:pt x="1312" y="250"/>
                    <a:pt x="1499" y="312"/>
                  </a:cubicBezTo>
                  <a:close/>
                </a:path>
              </a:pathLst>
            </a:custGeom>
            <a:grpFill/>
            <a:ln w="6246" cap="flat">
              <a:noFill/>
              <a:prstDash val="solid"/>
              <a:miter/>
            </a:ln>
          </p:spPr>
          <p:txBody>
            <a:bodyPr rtlCol="0" anchor="ctr"/>
            <a:lstStyle/>
            <a:p>
              <a:endParaRPr lang="fr-FR" sz="2400"/>
            </a:p>
          </p:txBody>
        </p:sp>
        <p:sp>
          <p:nvSpPr>
            <p:cNvPr id="50" name="Freeform: Shape 49">
              <a:extLst>
                <a:ext uri="{FF2B5EF4-FFF2-40B4-BE49-F238E27FC236}">
                  <a16:creationId xmlns:a16="http://schemas.microsoft.com/office/drawing/2014/main" id="{1CF2B7DA-57FD-48CB-AEC4-48EA7963C82B}"/>
                </a:ext>
              </a:extLst>
            </p:cNvPr>
            <p:cNvSpPr/>
            <p:nvPr/>
          </p:nvSpPr>
          <p:spPr>
            <a:xfrm>
              <a:off x="1180599" y="407299"/>
              <a:ext cx="6246" cy="6246"/>
            </a:xfrm>
            <a:custGeom>
              <a:avLst/>
              <a:gdLst>
                <a:gd name="connsiteX0" fmla="*/ 5309 w 0"/>
                <a:gd name="connsiteY0" fmla="*/ 443 h 0"/>
                <a:gd name="connsiteX1" fmla="*/ 5309 w 0"/>
                <a:gd name="connsiteY1" fmla="*/ 3378 h 0"/>
                <a:gd name="connsiteX2" fmla="*/ 2124 w 0"/>
                <a:gd name="connsiteY2" fmla="*/ 5315 h 0"/>
                <a:gd name="connsiteX3" fmla="*/ 0 w 0"/>
                <a:gd name="connsiteY3" fmla="*/ 3378 h 0"/>
                <a:gd name="connsiteX4" fmla="*/ 2124 w 0"/>
                <a:gd name="connsiteY4" fmla="*/ 443 h 0"/>
                <a:gd name="connsiteX5" fmla="*/ 5309 w 0"/>
                <a:gd name="connsiteY5" fmla="*/ 4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443"/>
                  </a:moveTo>
                  <a:cubicBezTo>
                    <a:pt x="5309" y="1442"/>
                    <a:pt x="5309" y="2379"/>
                    <a:pt x="5309" y="3378"/>
                  </a:cubicBezTo>
                  <a:cubicBezTo>
                    <a:pt x="4185" y="3941"/>
                    <a:pt x="4185" y="6002"/>
                    <a:pt x="2124" y="5315"/>
                  </a:cubicBezTo>
                  <a:cubicBezTo>
                    <a:pt x="1437" y="4690"/>
                    <a:pt x="687" y="4003"/>
                    <a:pt x="0" y="3378"/>
                  </a:cubicBezTo>
                  <a:cubicBezTo>
                    <a:pt x="250" y="2192"/>
                    <a:pt x="3185" y="3004"/>
                    <a:pt x="2124" y="443"/>
                  </a:cubicBezTo>
                  <a:cubicBezTo>
                    <a:pt x="1624" y="-744"/>
                    <a:pt x="4185" y="880"/>
                    <a:pt x="5309" y="443"/>
                  </a:cubicBezTo>
                  <a:close/>
                </a:path>
              </a:pathLst>
            </a:custGeom>
            <a:grpFill/>
            <a:ln w="6246" cap="flat">
              <a:noFill/>
              <a:prstDash val="solid"/>
              <a:miter/>
            </a:ln>
          </p:spPr>
          <p:txBody>
            <a:bodyPr rtlCol="0" anchor="ctr"/>
            <a:lstStyle/>
            <a:p>
              <a:endParaRPr lang="fr-FR" sz="2400"/>
            </a:p>
          </p:txBody>
        </p:sp>
        <p:sp>
          <p:nvSpPr>
            <p:cNvPr id="51" name="Freeform: Shape 50">
              <a:extLst>
                <a:ext uri="{FF2B5EF4-FFF2-40B4-BE49-F238E27FC236}">
                  <a16:creationId xmlns:a16="http://schemas.microsoft.com/office/drawing/2014/main" id="{2BAA3329-E6E0-4055-A00B-EF547B1A5569}"/>
                </a:ext>
              </a:extLst>
            </p:cNvPr>
            <p:cNvSpPr/>
            <p:nvPr/>
          </p:nvSpPr>
          <p:spPr>
            <a:xfrm>
              <a:off x="1197578" y="398748"/>
              <a:ext cx="6246" cy="6246"/>
            </a:xfrm>
            <a:custGeom>
              <a:avLst/>
              <a:gdLst>
                <a:gd name="connsiteX0" fmla="*/ 4382 w 0"/>
                <a:gd name="connsiteY0" fmla="*/ 250 h 0"/>
                <a:gd name="connsiteX1" fmla="*/ 5444 w 0"/>
                <a:gd name="connsiteY1" fmla="*/ 2186 h 0"/>
                <a:gd name="connsiteX2" fmla="*/ 5444 w 0"/>
                <a:gd name="connsiteY2" fmla="*/ 2186 h 0"/>
                <a:gd name="connsiteX3" fmla="*/ 3320 w 0"/>
                <a:gd name="connsiteY3" fmla="*/ 3123 h 0"/>
                <a:gd name="connsiteX4" fmla="*/ 197 w 0"/>
                <a:gd name="connsiteY4" fmla="*/ 3685 h 0"/>
                <a:gd name="connsiteX5" fmla="*/ 2259 w 0"/>
                <a:gd name="connsiteY5" fmla="*/ 1187 h 0"/>
                <a:gd name="connsiteX6" fmla="*/ 3320 w 0"/>
                <a:gd name="connsiteY6" fmla="*/ 250 h 0"/>
                <a:gd name="connsiteX7" fmla="*/ 3820 w 0"/>
                <a:gd name="connsiteY7" fmla="*/ 0 h 0"/>
                <a:gd name="connsiteX8" fmla="*/ 4382 w 0"/>
                <a:gd name="connsiteY8" fmla="*/ 25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4382" y="250"/>
                  </a:moveTo>
                  <a:cubicBezTo>
                    <a:pt x="4757" y="874"/>
                    <a:pt x="5069" y="1561"/>
                    <a:pt x="5444" y="2186"/>
                  </a:cubicBezTo>
                  <a:lnTo>
                    <a:pt x="5444" y="2186"/>
                  </a:lnTo>
                  <a:cubicBezTo>
                    <a:pt x="4944" y="2936"/>
                    <a:pt x="3883" y="2623"/>
                    <a:pt x="3320" y="3123"/>
                  </a:cubicBezTo>
                  <a:cubicBezTo>
                    <a:pt x="2259" y="3435"/>
                    <a:pt x="822" y="4685"/>
                    <a:pt x="197" y="3685"/>
                  </a:cubicBezTo>
                  <a:cubicBezTo>
                    <a:pt x="-740" y="2249"/>
                    <a:pt x="1946" y="2311"/>
                    <a:pt x="2259" y="1187"/>
                  </a:cubicBezTo>
                  <a:cubicBezTo>
                    <a:pt x="2633" y="874"/>
                    <a:pt x="3008" y="562"/>
                    <a:pt x="3320" y="250"/>
                  </a:cubicBezTo>
                  <a:cubicBezTo>
                    <a:pt x="3508" y="187"/>
                    <a:pt x="3695" y="62"/>
                    <a:pt x="3820" y="0"/>
                  </a:cubicBezTo>
                  <a:cubicBezTo>
                    <a:pt x="4007" y="125"/>
                    <a:pt x="4195" y="187"/>
                    <a:pt x="4382" y="250"/>
                  </a:cubicBezTo>
                  <a:close/>
                </a:path>
              </a:pathLst>
            </a:custGeom>
            <a:grpFill/>
            <a:ln w="6246" cap="flat">
              <a:noFill/>
              <a:prstDash val="solid"/>
              <a:miter/>
            </a:ln>
          </p:spPr>
          <p:txBody>
            <a:bodyPr rtlCol="0" anchor="ctr"/>
            <a:lstStyle/>
            <a:p>
              <a:endParaRPr lang="fr-FR" sz="2400"/>
            </a:p>
          </p:txBody>
        </p:sp>
        <p:sp>
          <p:nvSpPr>
            <p:cNvPr id="52" name="Freeform: Shape 51">
              <a:extLst>
                <a:ext uri="{FF2B5EF4-FFF2-40B4-BE49-F238E27FC236}">
                  <a16:creationId xmlns:a16="http://schemas.microsoft.com/office/drawing/2014/main" id="{D5B7F5D9-21DC-470A-9E7B-E0FF848048F1}"/>
                </a:ext>
              </a:extLst>
            </p:cNvPr>
            <p:cNvSpPr/>
            <p:nvPr/>
          </p:nvSpPr>
          <p:spPr>
            <a:xfrm>
              <a:off x="1163485" y="421234"/>
              <a:ext cx="6246" cy="6246"/>
            </a:xfrm>
            <a:custGeom>
              <a:avLst/>
              <a:gdLst>
                <a:gd name="connsiteX0" fmla="*/ 2124 w 0"/>
                <a:gd name="connsiteY0" fmla="*/ 0 h 0"/>
                <a:gd name="connsiteX1" fmla="*/ 2124 w 0"/>
                <a:gd name="connsiteY1" fmla="*/ 1936 h 0"/>
                <a:gd name="connsiteX2" fmla="*/ 1062 w 0"/>
                <a:gd name="connsiteY2" fmla="*/ 2936 h 0"/>
                <a:gd name="connsiteX3" fmla="*/ 0 w 0"/>
                <a:gd name="connsiteY3" fmla="*/ 1936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3373" y="625"/>
                    <a:pt x="874" y="1312"/>
                    <a:pt x="2124" y="1936"/>
                  </a:cubicBezTo>
                  <a:cubicBezTo>
                    <a:pt x="2374" y="2811"/>
                    <a:pt x="2061" y="3185"/>
                    <a:pt x="1062" y="2936"/>
                  </a:cubicBezTo>
                  <a:cubicBezTo>
                    <a:pt x="687" y="2623"/>
                    <a:pt x="312" y="2311"/>
                    <a:pt x="0" y="1936"/>
                  </a:cubicBezTo>
                  <a:cubicBezTo>
                    <a:pt x="0" y="749"/>
                    <a:pt x="749" y="62"/>
                    <a:pt x="2124" y="0"/>
                  </a:cubicBezTo>
                  <a:close/>
                </a:path>
              </a:pathLst>
            </a:custGeom>
            <a:grpFill/>
            <a:ln w="6246" cap="flat">
              <a:noFill/>
              <a:prstDash val="solid"/>
              <a:miter/>
            </a:ln>
          </p:spPr>
          <p:txBody>
            <a:bodyPr rtlCol="0" anchor="ctr"/>
            <a:lstStyle/>
            <a:p>
              <a:endParaRPr lang="fr-FR" sz="2400"/>
            </a:p>
          </p:txBody>
        </p:sp>
        <p:sp>
          <p:nvSpPr>
            <p:cNvPr id="53" name="Freeform: Shape 52">
              <a:extLst>
                <a:ext uri="{FF2B5EF4-FFF2-40B4-BE49-F238E27FC236}">
                  <a16:creationId xmlns:a16="http://schemas.microsoft.com/office/drawing/2014/main" id="{BB73C4AD-AAC8-4776-A6D8-0BDF55B56C85}"/>
                </a:ext>
              </a:extLst>
            </p:cNvPr>
            <p:cNvSpPr/>
            <p:nvPr/>
          </p:nvSpPr>
          <p:spPr>
            <a:xfrm>
              <a:off x="1321407" y="400684"/>
              <a:ext cx="18738" cy="6246"/>
            </a:xfrm>
            <a:custGeom>
              <a:avLst/>
              <a:gdLst>
                <a:gd name="connsiteX0" fmla="*/ 416 w 18738"/>
                <a:gd name="connsiteY0" fmla="*/ 0 h 6246"/>
                <a:gd name="connsiteX1" fmla="*/ 20653 w 18738"/>
                <a:gd name="connsiteY1" fmla="*/ 5184 h 6246"/>
                <a:gd name="connsiteX2" fmla="*/ 24338 w 18738"/>
                <a:gd name="connsiteY2" fmla="*/ 7183 h 6246"/>
                <a:gd name="connsiteX3" fmla="*/ 21652 w 18738"/>
                <a:gd name="connsiteY3" fmla="*/ 9806 h 6246"/>
                <a:gd name="connsiteX4" fmla="*/ 666 w 18738"/>
                <a:gd name="connsiteY4" fmla="*/ 2936 h 6246"/>
                <a:gd name="connsiteX5" fmla="*/ 416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416" y="0"/>
                  </a:moveTo>
                  <a:cubicBezTo>
                    <a:pt x="7661" y="250"/>
                    <a:pt x="13782" y="3873"/>
                    <a:pt x="20653" y="5184"/>
                  </a:cubicBezTo>
                  <a:cubicBezTo>
                    <a:pt x="21652" y="6184"/>
                    <a:pt x="24213" y="4872"/>
                    <a:pt x="24338" y="7183"/>
                  </a:cubicBezTo>
                  <a:cubicBezTo>
                    <a:pt x="24026" y="8557"/>
                    <a:pt x="23151" y="9432"/>
                    <a:pt x="21652" y="9806"/>
                  </a:cubicBezTo>
                  <a:cubicBezTo>
                    <a:pt x="14344" y="8307"/>
                    <a:pt x="7224" y="6309"/>
                    <a:pt x="666" y="2936"/>
                  </a:cubicBezTo>
                  <a:cubicBezTo>
                    <a:pt x="41" y="1936"/>
                    <a:pt x="-334" y="999"/>
                    <a:pt x="416" y="0"/>
                  </a:cubicBezTo>
                  <a:close/>
                </a:path>
              </a:pathLst>
            </a:custGeom>
            <a:grpFill/>
            <a:ln w="6246" cap="flat">
              <a:noFill/>
              <a:prstDash val="solid"/>
              <a:miter/>
            </a:ln>
          </p:spPr>
          <p:txBody>
            <a:bodyPr rtlCol="0" anchor="ctr"/>
            <a:lstStyle/>
            <a:p>
              <a:endParaRPr lang="fr-FR" sz="2400"/>
            </a:p>
          </p:txBody>
        </p:sp>
        <p:sp>
          <p:nvSpPr>
            <p:cNvPr id="54" name="Freeform: Shape 53">
              <a:extLst>
                <a:ext uri="{FF2B5EF4-FFF2-40B4-BE49-F238E27FC236}">
                  <a16:creationId xmlns:a16="http://schemas.microsoft.com/office/drawing/2014/main" id="{4F7C17A6-4D75-4779-B482-6807EA3EA306}"/>
                </a:ext>
              </a:extLst>
            </p:cNvPr>
            <p:cNvSpPr/>
            <p:nvPr/>
          </p:nvSpPr>
          <p:spPr>
            <a:xfrm>
              <a:off x="1269231" y="395968"/>
              <a:ext cx="31230" cy="6246"/>
            </a:xfrm>
            <a:custGeom>
              <a:avLst/>
              <a:gdLst>
                <a:gd name="connsiteX0" fmla="*/ 0 w 31230"/>
                <a:gd name="connsiteY0" fmla="*/ 1031 h 0"/>
                <a:gd name="connsiteX1" fmla="*/ 28607 w 31230"/>
                <a:gd name="connsiteY1" fmla="*/ 531 h 0"/>
                <a:gd name="connsiteX2" fmla="*/ 33354 w 31230"/>
                <a:gd name="connsiteY2" fmla="*/ 1156 h 0"/>
                <a:gd name="connsiteX3" fmla="*/ 29419 w 31230"/>
                <a:gd name="connsiteY3" fmla="*/ 3342 h 0"/>
                <a:gd name="connsiteX4" fmla="*/ 23111 w 31230"/>
                <a:gd name="connsiteY4" fmla="*/ 3467 h 0"/>
                <a:gd name="connsiteX5" fmla="*/ 2998 w 31230"/>
                <a:gd name="connsiteY5" fmla="*/ 4029 h 0"/>
                <a:gd name="connsiteX6" fmla="*/ 0 w 31230"/>
                <a:gd name="connsiteY6" fmla="*/ 103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a:moveTo>
                    <a:pt x="0" y="1031"/>
                  </a:moveTo>
                  <a:cubicBezTo>
                    <a:pt x="9494" y="-718"/>
                    <a:pt x="19051" y="219"/>
                    <a:pt x="28607" y="531"/>
                  </a:cubicBezTo>
                  <a:cubicBezTo>
                    <a:pt x="30169" y="594"/>
                    <a:pt x="31793" y="969"/>
                    <a:pt x="33354" y="1156"/>
                  </a:cubicBezTo>
                  <a:cubicBezTo>
                    <a:pt x="33167" y="3467"/>
                    <a:pt x="31105" y="3217"/>
                    <a:pt x="29419" y="3342"/>
                  </a:cubicBezTo>
                  <a:cubicBezTo>
                    <a:pt x="27295" y="3529"/>
                    <a:pt x="25234" y="3092"/>
                    <a:pt x="23111" y="3467"/>
                  </a:cubicBezTo>
                  <a:cubicBezTo>
                    <a:pt x="16365" y="3155"/>
                    <a:pt x="9744" y="4841"/>
                    <a:pt x="2998" y="4029"/>
                  </a:cubicBezTo>
                  <a:cubicBezTo>
                    <a:pt x="1437" y="3529"/>
                    <a:pt x="250" y="2593"/>
                    <a:pt x="0" y="1031"/>
                  </a:cubicBezTo>
                  <a:close/>
                </a:path>
              </a:pathLst>
            </a:custGeom>
            <a:grpFill/>
            <a:ln w="6246" cap="flat">
              <a:noFill/>
              <a:prstDash val="solid"/>
              <a:miter/>
            </a:ln>
          </p:spPr>
          <p:txBody>
            <a:bodyPr rtlCol="0" anchor="ctr"/>
            <a:lstStyle/>
            <a:p>
              <a:endParaRPr lang="fr-FR" sz="2400"/>
            </a:p>
          </p:txBody>
        </p:sp>
        <p:sp>
          <p:nvSpPr>
            <p:cNvPr id="55" name="Freeform: Shape 54">
              <a:extLst>
                <a:ext uri="{FF2B5EF4-FFF2-40B4-BE49-F238E27FC236}">
                  <a16:creationId xmlns:a16="http://schemas.microsoft.com/office/drawing/2014/main" id="{037ABCD7-11EA-41D8-B6F4-2BAA23850771}"/>
                </a:ext>
              </a:extLst>
            </p:cNvPr>
            <p:cNvSpPr/>
            <p:nvPr/>
          </p:nvSpPr>
          <p:spPr>
            <a:xfrm>
              <a:off x="1292778" y="397077"/>
              <a:ext cx="24984" cy="6246"/>
            </a:xfrm>
            <a:custGeom>
              <a:avLst/>
              <a:gdLst>
                <a:gd name="connsiteX0" fmla="*/ 0 w 24984"/>
                <a:gd name="connsiteY0" fmla="*/ 1109 h 0"/>
                <a:gd name="connsiteX1" fmla="*/ 9806 w 24984"/>
                <a:gd name="connsiteY1" fmla="*/ 47 h 0"/>
                <a:gd name="connsiteX2" fmla="*/ 10868 w 24984"/>
                <a:gd name="connsiteY2" fmla="*/ 47 h 0"/>
                <a:gd name="connsiteX3" fmla="*/ 16240 w 24984"/>
                <a:gd name="connsiteY3" fmla="*/ 984 h 0"/>
                <a:gd name="connsiteX4" fmla="*/ 29107 w 24984"/>
                <a:gd name="connsiteY4" fmla="*/ 3545 h 0"/>
                <a:gd name="connsiteX5" fmla="*/ 30106 w 24984"/>
                <a:gd name="connsiteY5" fmla="*/ 5981 h 0"/>
                <a:gd name="connsiteX6" fmla="*/ 687 w 24984"/>
                <a:gd name="connsiteY6" fmla="*/ 2358 h 0"/>
                <a:gd name="connsiteX7" fmla="*/ 0 w 24984"/>
                <a:gd name="connsiteY7" fmla="*/ 11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a:moveTo>
                    <a:pt x="0" y="1109"/>
                  </a:moveTo>
                  <a:cubicBezTo>
                    <a:pt x="3123" y="-328"/>
                    <a:pt x="6808" y="2295"/>
                    <a:pt x="9806" y="47"/>
                  </a:cubicBezTo>
                  <a:cubicBezTo>
                    <a:pt x="10181" y="-16"/>
                    <a:pt x="10493" y="-16"/>
                    <a:pt x="10868" y="47"/>
                  </a:cubicBezTo>
                  <a:cubicBezTo>
                    <a:pt x="12492" y="1171"/>
                    <a:pt x="14616" y="-203"/>
                    <a:pt x="16240" y="984"/>
                  </a:cubicBezTo>
                  <a:cubicBezTo>
                    <a:pt x="20550" y="1733"/>
                    <a:pt x="25109" y="1546"/>
                    <a:pt x="29107" y="3545"/>
                  </a:cubicBezTo>
                  <a:cubicBezTo>
                    <a:pt x="29419" y="4357"/>
                    <a:pt x="29794" y="5169"/>
                    <a:pt x="30106" y="5981"/>
                  </a:cubicBezTo>
                  <a:cubicBezTo>
                    <a:pt x="27045" y="6855"/>
                    <a:pt x="3248" y="3919"/>
                    <a:pt x="687" y="2358"/>
                  </a:cubicBezTo>
                  <a:cubicBezTo>
                    <a:pt x="125" y="2046"/>
                    <a:pt x="63" y="1546"/>
                    <a:pt x="0" y="1109"/>
                  </a:cubicBezTo>
                  <a:close/>
                </a:path>
              </a:pathLst>
            </a:custGeom>
            <a:grpFill/>
            <a:ln w="6246" cap="flat">
              <a:noFill/>
              <a:prstDash val="solid"/>
              <a:miter/>
            </a:ln>
          </p:spPr>
          <p:txBody>
            <a:bodyPr rtlCol="0" anchor="ctr"/>
            <a:lstStyle/>
            <a:p>
              <a:endParaRPr lang="fr-FR" sz="2400"/>
            </a:p>
          </p:txBody>
        </p:sp>
        <p:sp>
          <p:nvSpPr>
            <p:cNvPr id="56" name="Freeform: Shape 55">
              <a:extLst>
                <a:ext uri="{FF2B5EF4-FFF2-40B4-BE49-F238E27FC236}">
                  <a16:creationId xmlns:a16="http://schemas.microsoft.com/office/drawing/2014/main" id="{51A34799-4944-4AD2-9029-DC68C7DD0B3A}"/>
                </a:ext>
              </a:extLst>
            </p:cNvPr>
            <p:cNvSpPr/>
            <p:nvPr/>
          </p:nvSpPr>
          <p:spPr>
            <a:xfrm>
              <a:off x="1369110" y="421712"/>
              <a:ext cx="12492" cy="12492"/>
            </a:xfrm>
            <a:custGeom>
              <a:avLst/>
              <a:gdLst>
                <a:gd name="connsiteX0" fmla="*/ 15611 w 12492"/>
                <a:gd name="connsiteY0" fmla="*/ 14262 h 12492"/>
                <a:gd name="connsiteX1" fmla="*/ 9240 w 12492"/>
                <a:gd name="connsiteY1" fmla="*/ 8516 h 12492"/>
                <a:gd name="connsiteX2" fmla="*/ 3806 w 12492"/>
                <a:gd name="connsiteY2" fmla="*/ 5455 h 12492"/>
                <a:gd name="connsiteX3" fmla="*/ 1869 w 12492"/>
                <a:gd name="connsiteY3" fmla="*/ 4643 h 12492"/>
                <a:gd name="connsiteX4" fmla="*/ 58 w 12492"/>
                <a:gd name="connsiteY4" fmla="*/ 3394 h 12492"/>
                <a:gd name="connsiteX5" fmla="*/ 1682 w 12492"/>
                <a:gd name="connsiteY5" fmla="*/ 146 h 12492"/>
                <a:gd name="connsiteX6" fmla="*/ 4055 w 12492"/>
                <a:gd name="connsiteY6" fmla="*/ 396 h 12492"/>
                <a:gd name="connsiteX7" fmla="*/ 11488 w 12492"/>
                <a:gd name="connsiteY7" fmla="*/ 7142 h 12492"/>
                <a:gd name="connsiteX8" fmla="*/ 16860 w 12492"/>
                <a:gd name="connsiteY8" fmla="*/ 12076 h 12492"/>
                <a:gd name="connsiteX9" fmla="*/ 16860 w 12492"/>
                <a:gd name="connsiteY9" fmla="*/ 12076 h 12492"/>
                <a:gd name="connsiteX10" fmla="*/ 15611 w 12492"/>
                <a:gd name="connsiteY10" fmla="*/ 142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5611" y="14262"/>
                  </a:moveTo>
                  <a:cubicBezTo>
                    <a:pt x="13487" y="12326"/>
                    <a:pt x="11363" y="10390"/>
                    <a:pt x="9240" y="8516"/>
                  </a:cubicBezTo>
                  <a:cubicBezTo>
                    <a:pt x="8178" y="6455"/>
                    <a:pt x="5554" y="6580"/>
                    <a:pt x="3806" y="5455"/>
                  </a:cubicBezTo>
                  <a:cubicBezTo>
                    <a:pt x="3181" y="5205"/>
                    <a:pt x="2494" y="4893"/>
                    <a:pt x="1869" y="4643"/>
                  </a:cubicBezTo>
                  <a:cubicBezTo>
                    <a:pt x="870" y="4706"/>
                    <a:pt x="370" y="4144"/>
                    <a:pt x="58" y="3394"/>
                  </a:cubicBezTo>
                  <a:cubicBezTo>
                    <a:pt x="-192" y="1957"/>
                    <a:pt x="370" y="896"/>
                    <a:pt x="1682" y="146"/>
                  </a:cubicBezTo>
                  <a:cubicBezTo>
                    <a:pt x="2556" y="-104"/>
                    <a:pt x="3306" y="-41"/>
                    <a:pt x="4055" y="396"/>
                  </a:cubicBezTo>
                  <a:cubicBezTo>
                    <a:pt x="6991" y="2270"/>
                    <a:pt x="9177" y="4768"/>
                    <a:pt x="11488" y="7142"/>
                  </a:cubicBezTo>
                  <a:cubicBezTo>
                    <a:pt x="13237" y="8828"/>
                    <a:pt x="15923" y="9640"/>
                    <a:pt x="16860" y="12076"/>
                  </a:cubicBezTo>
                  <a:lnTo>
                    <a:pt x="16860" y="12076"/>
                  </a:lnTo>
                  <a:cubicBezTo>
                    <a:pt x="17360" y="13200"/>
                    <a:pt x="16797" y="13887"/>
                    <a:pt x="15611" y="14262"/>
                  </a:cubicBezTo>
                  <a:close/>
                </a:path>
              </a:pathLst>
            </a:custGeom>
            <a:grpFill/>
            <a:ln w="6246" cap="flat">
              <a:noFill/>
              <a:prstDash val="solid"/>
              <a:miter/>
            </a:ln>
          </p:spPr>
          <p:txBody>
            <a:bodyPr rtlCol="0" anchor="ctr"/>
            <a:lstStyle/>
            <a:p>
              <a:endParaRPr lang="fr-FR" sz="2400"/>
            </a:p>
          </p:txBody>
        </p:sp>
        <p:sp>
          <p:nvSpPr>
            <p:cNvPr id="57" name="Freeform: Shape 56">
              <a:extLst>
                <a:ext uri="{FF2B5EF4-FFF2-40B4-BE49-F238E27FC236}">
                  <a16:creationId xmlns:a16="http://schemas.microsoft.com/office/drawing/2014/main" id="{7EED7C6E-BF09-4CF1-B392-A2B5C5C3160D}"/>
                </a:ext>
              </a:extLst>
            </p:cNvPr>
            <p:cNvSpPr/>
            <p:nvPr/>
          </p:nvSpPr>
          <p:spPr>
            <a:xfrm>
              <a:off x="1388031" y="437598"/>
              <a:ext cx="6246" cy="6246"/>
            </a:xfrm>
            <a:custGeom>
              <a:avLst/>
              <a:gdLst>
                <a:gd name="connsiteX0" fmla="*/ 7495 w 6246"/>
                <a:gd name="connsiteY0" fmla="*/ 11805 h 6246"/>
                <a:gd name="connsiteX1" fmla="*/ 0 w 6246"/>
                <a:gd name="connsiteY1" fmla="*/ 2998 h 6246"/>
                <a:gd name="connsiteX2" fmla="*/ 2248 w 6246"/>
                <a:gd name="connsiteY2" fmla="*/ 0 h 6246"/>
                <a:gd name="connsiteX3" fmla="*/ 4372 w 6246"/>
                <a:gd name="connsiteY3" fmla="*/ 1999 h 6246"/>
                <a:gd name="connsiteX4" fmla="*/ 6683 w 6246"/>
                <a:gd name="connsiteY4" fmla="*/ 5559 h 6246"/>
                <a:gd name="connsiteX5" fmla="*/ 10743 w 6246"/>
                <a:gd name="connsiteY5" fmla="*/ 10681 h 6246"/>
                <a:gd name="connsiteX6" fmla="*/ 7495 w 6246"/>
                <a:gd name="connsiteY6" fmla="*/ 118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495" y="11805"/>
                  </a:moveTo>
                  <a:cubicBezTo>
                    <a:pt x="5184" y="8745"/>
                    <a:pt x="1811" y="6433"/>
                    <a:pt x="0" y="2998"/>
                  </a:cubicBezTo>
                  <a:cubicBezTo>
                    <a:pt x="62" y="1562"/>
                    <a:pt x="500" y="375"/>
                    <a:pt x="2248" y="0"/>
                  </a:cubicBezTo>
                  <a:cubicBezTo>
                    <a:pt x="2936" y="687"/>
                    <a:pt x="3685" y="1312"/>
                    <a:pt x="4372" y="1999"/>
                  </a:cubicBezTo>
                  <a:cubicBezTo>
                    <a:pt x="3123" y="4247"/>
                    <a:pt x="4435" y="5122"/>
                    <a:pt x="6683" y="5559"/>
                  </a:cubicBezTo>
                  <a:cubicBezTo>
                    <a:pt x="9369" y="6371"/>
                    <a:pt x="10368" y="8307"/>
                    <a:pt x="10743" y="10681"/>
                  </a:cubicBezTo>
                  <a:cubicBezTo>
                    <a:pt x="9931" y="11680"/>
                    <a:pt x="8744" y="11868"/>
                    <a:pt x="7495" y="11805"/>
                  </a:cubicBezTo>
                  <a:close/>
                </a:path>
              </a:pathLst>
            </a:custGeom>
            <a:grpFill/>
            <a:ln w="6246" cap="flat">
              <a:noFill/>
              <a:prstDash val="solid"/>
              <a:miter/>
            </a:ln>
          </p:spPr>
          <p:txBody>
            <a:bodyPr rtlCol="0" anchor="ctr"/>
            <a:lstStyle/>
            <a:p>
              <a:endParaRPr lang="fr-FR" sz="2400"/>
            </a:p>
          </p:txBody>
        </p:sp>
        <p:sp>
          <p:nvSpPr>
            <p:cNvPr id="58" name="Freeform: Shape 57">
              <a:extLst>
                <a:ext uri="{FF2B5EF4-FFF2-40B4-BE49-F238E27FC236}">
                  <a16:creationId xmlns:a16="http://schemas.microsoft.com/office/drawing/2014/main" id="{18B35B5C-9E4E-42D0-9B67-59BE1376EC40}"/>
                </a:ext>
              </a:extLst>
            </p:cNvPr>
            <p:cNvSpPr/>
            <p:nvPr/>
          </p:nvSpPr>
          <p:spPr>
            <a:xfrm>
              <a:off x="1363207" y="416022"/>
              <a:ext cx="6246" cy="6246"/>
            </a:xfrm>
            <a:custGeom>
              <a:avLst/>
              <a:gdLst>
                <a:gd name="connsiteX0" fmla="*/ 10083 w 6246"/>
                <a:gd name="connsiteY0" fmla="*/ 6086 h 0"/>
                <a:gd name="connsiteX1" fmla="*/ 7835 w 6246"/>
                <a:gd name="connsiteY1" fmla="*/ 6211 h 0"/>
                <a:gd name="connsiteX2" fmla="*/ 2089 w 6246"/>
                <a:gd name="connsiteY2" fmla="*/ 4088 h 0"/>
                <a:gd name="connsiteX3" fmla="*/ 590 w 6246"/>
                <a:gd name="connsiteY3" fmla="*/ 2651 h 0"/>
                <a:gd name="connsiteX4" fmla="*/ 402 w 6246"/>
                <a:gd name="connsiteY4" fmla="*/ 153 h 0"/>
                <a:gd name="connsiteX5" fmla="*/ 2526 w 6246"/>
                <a:gd name="connsiteY5" fmla="*/ 465 h 0"/>
                <a:gd name="connsiteX6" fmla="*/ 10083 w 6246"/>
                <a:gd name="connsiteY6" fmla="*/ 60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083" y="6086"/>
                  </a:moveTo>
                  <a:cubicBezTo>
                    <a:pt x="9334" y="6149"/>
                    <a:pt x="8585" y="6149"/>
                    <a:pt x="7835" y="6211"/>
                  </a:cubicBezTo>
                  <a:cubicBezTo>
                    <a:pt x="5711" y="5899"/>
                    <a:pt x="3775" y="5337"/>
                    <a:pt x="2089" y="4088"/>
                  </a:cubicBezTo>
                  <a:cubicBezTo>
                    <a:pt x="1526" y="3650"/>
                    <a:pt x="1027" y="3213"/>
                    <a:pt x="590" y="2651"/>
                  </a:cubicBezTo>
                  <a:cubicBezTo>
                    <a:pt x="90" y="1839"/>
                    <a:pt x="-347" y="1027"/>
                    <a:pt x="402" y="153"/>
                  </a:cubicBezTo>
                  <a:cubicBezTo>
                    <a:pt x="1152" y="-35"/>
                    <a:pt x="1901" y="-160"/>
                    <a:pt x="2526" y="465"/>
                  </a:cubicBezTo>
                  <a:cubicBezTo>
                    <a:pt x="6773" y="402"/>
                    <a:pt x="8897" y="2713"/>
                    <a:pt x="10083" y="6086"/>
                  </a:cubicBezTo>
                  <a:close/>
                </a:path>
              </a:pathLst>
            </a:custGeom>
            <a:grpFill/>
            <a:ln w="6246" cap="flat">
              <a:noFill/>
              <a:prstDash val="solid"/>
              <a:miter/>
            </a:ln>
          </p:spPr>
          <p:txBody>
            <a:bodyPr rtlCol="0" anchor="ctr"/>
            <a:lstStyle/>
            <a:p>
              <a:endParaRPr lang="fr-FR" sz="2400"/>
            </a:p>
          </p:txBody>
        </p:sp>
        <p:sp>
          <p:nvSpPr>
            <p:cNvPr id="59" name="Freeform: Shape 58">
              <a:extLst>
                <a:ext uri="{FF2B5EF4-FFF2-40B4-BE49-F238E27FC236}">
                  <a16:creationId xmlns:a16="http://schemas.microsoft.com/office/drawing/2014/main" id="{9E9F921D-3B1C-4B2A-92CD-A0319D960A02}"/>
                </a:ext>
              </a:extLst>
            </p:cNvPr>
            <p:cNvSpPr/>
            <p:nvPr/>
          </p:nvSpPr>
          <p:spPr>
            <a:xfrm>
              <a:off x="1256489" y="397061"/>
              <a:ext cx="6246" cy="6246"/>
            </a:xfrm>
            <a:custGeom>
              <a:avLst/>
              <a:gdLst>
                <a:gd name="connsiteX0" fmla="*/ 0 w 6246"/>
                <a:gd name="connsiteY0" fmla="*/ 937 h 0"/>
                <a:gd name="connsiteX1" fmla="*/ 62 w 6246"/>
                <a:gd name="connsiteY1" fmla="*/ 62 h 0"/>
                <a:gd name="connsiteX2" fmla="*/ 10743 w 6246"/>
                <a:gd name="connsiteY2" fmla="*/ 0 h 0"/>
                <a:gd name="connsiteX3" fmla="*/ 11180 w 6246"/>
                <a:gd name="connsiteY3" fmla="*/ 1811 h 0"/>
                <a:gd name="connsiteX4" fmla="*/ 10119 w 6246"/>
                <a:gd name="connsiteY4" fmla="*/ 2686 h 0"/>
                <a:gd name="connsiteX5" fmla="*/ 4622 w 6246"/>
                <a:gd name="connsiteY5" fmla="*/ 3623 h 0"/>
                <a:gd name="connsiteX6" fmla="*/ 2561 w 6246"/>
                <a:gd name="connsiteY6" fmla="*/ 3560 h 0"/>
                <a:gd name="connsiteX7" fmla="*/ 187 w 6246"/>
                <a:gd name="connsiteY7" fmla="*/ 1562 h 0"/>
                <a:gd name="connsiteX8" fmla="*/ 0 w 6246"/>
                <a:gd name="connsiteY8"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0" y="937"/>
                  </a:moveTo>
                  <a:cubicBezTo>
                    <a:pt x="0" y="625"/>
                    <a:pt x="0" y="312"/>
                    <a:pt x="62" y="62"/>
                  </a:cubicBezTo>
                  <a:cubicBezTo>
                    <a:pt x="3623" y="62"/>
                    <a:pt x="7183" y="62"/>
                    <a:pt x="10743" y="0"/>
                  </a:cubicBezTo>
                  <a:cubicBezTo>
                    <a:pt x="11368" y="500"/>
                    <a:pt x="11430" y="1124"/>
                    <a:pt x="11180" y="1811"/>
                  </a:cubicBezTo>
                  <a:cubicBezTo>
                    <a:pt x="10931" y="2186"/>
                    <a:pt x="10556" y="2498"/>
                    <a:pt x="10119" y="2686"/>
                  </a:cubicBezTo>
                  <a:cubicBezTo>
                    <a:pt x="8370" y="3310"/>
                    <a:pt x="6433" y="3123"/>
                    <a:pt x="4622" y="3623"/>
                  </a:cubicBezTo>
                  <a:cubicBezTo>
                    <a:pt x="3935" y="3748"/>
                    <a:pt x="3248" y="3685"/>
                    <a:pt x="2561" y="3560"/>
                  </a:cubicBezTo>
                  <a:cubicBezTo>
                    <a:pt x="1499" y="3186"/>
                    <a:pt x="749" y="2436"/>
                    <a:pt x="187" y="1562"/>
                  </a:cubicBezTo>
                  <a:cubicBezTo>
                    <a:pt x="125" y="1312"/>
                    <a:pt x="62" y="1124"/>
                    <a:pt x="0" y="937"/>
                  </a:cubicBezTo>
                  <a:close/>
                </a:path>
              </a:pathLst>
            </a:custGeom>
            <a:grpFill/>
            <a:ln w="6246" cap="flat">
              <a:noFill/>
              <a:prstDash val="solid"/>
              <a:miter/>
            </a:ln>
          </p:spPr>
          <p:txBody>
            <a:bodyPr rtlCol="0" anchor="ctr"/>
            <a:lstStyle/>
            <a:p>
              <a:endParaRPr lang="fr-FR" sz="2400"/>
            </a:p>
          </p:txBody>
        </p:sp>
        <p:sp>
          <p:nvSpPr>
            <p:cNvPr id="60" name="Freeform: Shape 59">
              <a:extLst>
                <a:ext uri="{FF2B5EF4-FFF2-40B4-BE49-F238E27FC236}">
                  <a16:creationId xmlns:a16="http://schemas.microsoft.com/office/drawing/2014/main" id="{B61FA8C9-F3BF-46A3-8091-3BFDAD6DEE35}"/>
                </a:ext>
              </a:extLst>
            </p:cNvPr>
            <p:cNvSpPr/>
            <p:nvPr/>
          </p:nvSpPr>
          <p:spPr>
            <a:xfrm>
              <a:off x="1345807" y="408306"/>
              <a:ext cx="6246" cy="6246"/>
            </a:xfrm>
            <a:custGeom>
              <a:avLst/>
              <a:gdLst>
                <a:gd name="connsiteX0" fmla="*/ 4934 w 6246"/>
                <a:gd name="connsiteY0" fmla="*/ 1247 h 0"/>
                <a:gd name="connsiteX1" fmla="*/ 5809 w 6246"/>
                <a:gd name="connsiteY1" fmla="*/ 1497 h 0"/>
                <a:gd name="connsiteX2" fmla="*/ 8807 w 6246"/>
                <a:gd name="connsiteY2" fmla="*/ 3059 h 0"/>
                <a:gd name="connsiteX3" fmla="*/ 8620 w 6246"/>
                <a:gd name="connsiteY3" fmla="*/ 4995 h 0"/>
                <a:gd name="connsiteX4" fmla="*/ 4685 w 6246"/>
                <a:gd name="connsiteY4" fmla="*/ 5744 h 0"/>
                <a:gd name="connsiteX5" fmla="*/ 2748 w 6246"/>
                <a:gd name="connsiteY5" fmla="*/ 5057 h 0"/>
                <a:gd name="connsiteX6" fmla="*/ 0 w 6246"/>
                <a:gd name="connsiteY6" fmla="*/ 2309 h 0"/>
                <a:gd name="connsiteX7" fmla="*/ 1562 w 6246"/>
                <a:gd name="connsiteY7" fmla="*/ 123 h 0"/>
                <a:gd name="connsiteX8" fmla="*/ 4934 w 6246"/>
                <a:gd name="connsiteY8" fmla="*/ 12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4934" y="1247"/>
                  </a:moveTo>
                  <a:cubicBezTo>
                    <a:pt x="5184" y="1372"/>
                    <a:pt x="5497" y="1435"/>
                    <a:pt x="5809" y="1497"/>
                  </a:cubicBezTo>
                  <a:cubicBezTo>
                    <a:pt x="6933" y="1872"/>
                    <a:pt x="8370" y="1685"/>
                    <a:pt x="8807" y="3059"/>
                  </a:cubicBezTo>
                  <a:cubicBezTo>
                    <a:pt x="8994" y="3746"/>
                    <a:pt x="8932" y="4370"/>
                    <a:pt x="8620" y="4995"/>
                  </a:cubicBezTo>
                  <a:cubicBezTo>
                    <a:pt x="7558" y="6182"/>
                    <a:pt x="6059" y="5682"/>
                    <a:pt x="4685" y="5744"/>
                  </a:cubicBezTo>
                  <a:cubicBezTo>
                    <a:pt x="3997" y="5620"/>
                    <a:pt x="3373" y="5370"/>
                    <a:pt x="2748" y="5057"/>
                  </a:cubicBezTo>
                  <a:cubicBezTo>
                    <a:pt x="1624" y="4308"/>
                    <a:pt x="187" y="3808"/>
                    <a:pt x="0" y="2309"/>
                  </a:cubicBezTo>
                  <a:cubicBezTo>
                    <a:pt x="63" y="1310"/>
                    <a:pt x="562" y="623"/>
                    <a:pt x="1562" y="123"/>
                  </a:cubicBezTo>
                  <a:cubicBezTo>
                    <a:pt x="2998" y="-314"/>
                    <a:pt x="3935" y="498"/>
                    <a:pt x="4934" y="1247"/>
                  </a:cubicBezTo>
                  <a:close/>
                </a:path>
              </a:pathLst>
            </a:custGeom>
            <a:grpFill/>
            <a:ln w="6246" cap="flat">
              <a:noFill/>
              <a:prstDash val="solid"/>
              <a:miter/>
            </a:ln>
          </p:spPr>
          <p:txBody>
            <a:bodyPr rtlCol="0" anchor="ctr"/>
            <a:lstStyle/>
            <a:p>
              <a:endParaRPr lang="fr-FR" sz="2400"/>
            </a:p>
          </p:txBody>
        </p:sp>
        <p:sp>
          <p:nvSpPr>
            <p:cNvPr id="61" name="Freeform: Shape 60">
              <a:extLst>
                <a:ext uri="{FF2B5EF4-FFF2-40B4-BE49-F238E27FC236}">
                  <a16:creationId xmlns:a16="http://schemas.microsoft.com/office/drawing/2014/main" id="{025CA423-C93F-4706-9F53-A8812B3C2933}"/>
                </a:ext>
              </a:extLst>
            </p:cNvPr>
            <p:cNvSpPr/>
            <p:nvPr/>
          </p:nvSpPr>
          <p:spPr>
            <a:xfrm>
              <a:off x="1353927" y="410940"/>
              <a:ext cx="6246" cy="6246"/>
            </a:xfrm>
            <a:custGeom>
              <a:avLst/>
              <a:gdLst>
                <a:gd name="connsiteX0" fmla="*/ 0 w 6246"/>
                <a:gd name="connsiteY0" fmla="*/ 2611 h 0"/>
                <a:gd name="connsiteX1" fmla="*/ 63 w 6246"/>
                <a:gd name="connsiteY1" fmla="*/ 487 h 0"/>
                <a:gd name="connsiteX2" fmla="*/ 3123 w 6246"/>
                <a:gd name="connsiteY2" fmla="*/ 799 h 0"/>
                <a:gd name="connsiteX3" fmla="*/ 6309 w 6246"/>
                <a:gd name="connsiteY3" fmla="*/ 2673 h 0"/>
                <a:gd name="connsiteX4" fmla="*/ 7058 w 6246"/>
                <a:gd name="connsiteY4" fmla="*/ 4984 h 0"/>
                <a:gd name="connsiteX5" fmla="*/ 0 w 6246"/>
                <a:gd name="connsiteY5" fmla="*/ 26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0" y="2611"/>
                  </a:moveTo>
                  <a:cubicBezTo>
                    <a:pt x="0" y="1923"/>
                    <a:pt x="63" y="1174"/>
                    <a:pt x="63" y="487"/>
                  </a:cubicBezTo>
                  <a:cubicBezTo>
                    <a:pt x="1187" y="-263"/>
                    <a:pt x="2249" y="-138"/>
                    <a:pt x="3123" y="799"/>
                  </a:cubicBezTo>
                  <a:cubicBezTo>
                    <a:pt x="3810" y="1986"/>
                    <a:pt x="4872" y="2611"/>
                    <a:pt x="6309" y="2673"/>
                  </a:cubicBezTo>
                  <a:cubicBezTo>
                    <a:pt x="7433" y="3235"/>
                    <a:pt x="8370" y="3797"/>
                    <a:pt x="7058" y="4984"/>
                  </a:cubicBezTo>
                  <a:cubicBezTo>
                    <a:pt x="4185" y="5484"/>
                    <a:pt x="1312" y="5921"/>
                    <a:pt x="0" y="2611"/>
                  </a:cubicBezTo>
                  <a:close/>
                </a:path>
              </a:pathLst>
            </a:custGeom>
            <a:grpFill/>
            <a:ln w="6246" cap="flat">
              <a:noFill/>
              <a:prstDash val="solid"/>
              <a:miter/>
            </a:ln>
          </p:spPr>
          <p:txBody>
            <a:bodyPr rtlCol="0" anchor="ctr"/>
            <a:lstStyle/>
            <a:p>
              <a:endParaRPr lang="fr-FR" sz="2400"/>
            </a:p>
          </p:txBody>
        </p:sp>
        <p:sp>
          <p:nvSpPr>
            <p:cNvPr id="62" name="Freeform: Shape 61">
              <a:extLst>
                <a:ext uri="{FF2B5EF4-FFF2-40B4-BE49-F238E27FC236}">
                  <a16:creationId xmlns:a16="http://schemas.microsoft.com/office/drawing/2014/main" id="{5B079097-1E81-40D5-843C-94D2B84AA8B8}"/>
                </a:ext>
              </a:extLst>
            </p:cNvPr>
            <p:cNvSpPr/>
            <p:nvPr/>
          </p:nvSpPr>
          <p:spPr>
            <a:xfrm>
              <a:off x="1398591" y="451090"/>
              <a:ext cx="6246" cy="6246"/>
            </a:xfrm>
            <a:custGeom>
              <a:avLst/>
              <a:gdLst>
                <a:gd name="connsiteX0" fmla="*/ 5554 w 0"/>
                <a:gd name="connsiteY0" fmla="*/ 3997 h 0"/>
                <a:gd name="connsiteX1" fmla="*/ 3493 w 0"/>
                <a:gd name="connsiteY1" fmla="*/ 5871 h 0"/>
                <a:gd name="connsiteX2" fmla="*/ 2494 w 0"/>
                <a:gd name="connsiteY2" fmla="*/ 5871 h 0"/>
                <a:gd name="connsiteX3" fmla="*/ 245 w 0"/>
                <a:gd name="connsiteY3" fmla="*/ 2186 h 0"/>
                <a:gd name="connsiteX4" fmla="*/ 1432 w 0"/>
                <a:gd name="connsiteY4" fmla="*/ 0 h 0"/>
                <a:gd name="connsiteX5" fmla="*/ 5554 w 0"/>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554" y="3997"/>
                  </a:moveTo>
                  <a:cubicBezTo>
                    <a:pt x="3056" y="2998"/>
                    <a:pt x="3555" y="4747"/>
                    <a:pt x="3493" y="5871"/>
                  </a:cubicBezTo>
                  <a:cubicBezTo>
                    <a:pt x="3181" y="6371"/>
                    <a:pt x="2868" y="6371"/>
                    <a:pt x="2494" y="5871"/>
                  </a:cubicBezTo>
                  <a:cubicBezTo>
                    <a:pt x="1744" y="4622"/>
                    <a:pt x="994" y="3435"/>
                    <a:pt x="245" y="2186"/>
                  </a:cubicBezTo>
                  <a:cubicBezTo>
                    <a:pt x="-442" y="999"/>
                    <a:pt x="432" y="500"/>
                    <a:pt x="1432" y="0"/>
                  </a:cubicBezTo>
                  <a:cubicBezTo>
                    <a:pt x="3493" y="687"/>
                    <a:pt x="4992" y="1936"/>
                    <a:pt x="5554" y="3997"/>
                  </a:cubicBezTo>
                  <a:close/>
                </a:path>
              </a:pathLst>
            </a:custGeom>
            <a:grpFill/>
            <a:ln w="6246" cap="flat">
              <a:noFill/>
              <a:prstDash val="solid"/>
              <a:miter/>
            </a:ln>
          </p:spPr>
          <p:txBody>
            <a:bodyPr rtlCol="0" anchor="ctr"/>
            <a:lstStyle/>
            <a:p>
              <a:endParaRPr lang="fr-FR" sz="2400"/>
            </a:p>
          </p:txBody>
        </p:sp>
        <p:sp>
          <p:nvSpPr>
            <p:cNvPr id="63" name="Freeform: Shape 62">
              <a:extLst>
                <a:ext uri="{FF2B5EF4-FFF2-40B4-BE49-F238E27FC236}">
                  <a16:creationId xmlns:a16="http://schemas.microsoft.com/office/drawing/2014/main" id="{7A4C1B73-20A4-4C9E-AAE7-F78E5EBDB3C2}"/>
                </a:ext>
              </a:extLst>
            </p:cNvPr>
            <p:cNvSpPr/>
            <p:nvPr/>
          </p:nvSpPr>
          <p:spPr>
            <a:xfrm>
              <a:off x="1342060" y="405832"/>
              <a:ext cx="6246" cy="6246"/>
            </a:xfrm>
            <a:custGeom>
              <a:avLst/>
              <a:gdLst>
                <a:gd name="connsiteX0" fmla="*/ 8682 w 6246"/>
                <a:gd name="connsiteY0" fmla="*/ 3722 h 0"/>
                <a:gd name="connsiteX1" fmla="*/ 5372 w 6246"/>
                <a:gd name="connsiteY1" fmla="*/ 2972 h 0"/>
                <a:gd name="connsiteX2" fmla="*/ 3310 w 6246"/>
                <a:gd name="connsiteY2" fmla="*/ 1910 h 0"/>
                <a:gd name="connsiteX3" fmla="*/ 0 w 6246"/>
                <a:gd name="connsiteY3" fmla="*/ 37 h 0"/>
                <a:gd name="connsiteX4" fmla="*/ 8682 w 6246"/>
                <a:gd name="connsiteY4" fmla="*/ 372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8682" y="3722"/>
                  </a:moveTo>
                  <a:cubicBezTo>
                    <a:pt x="7558" y="3472"/>
                    <a:pt x="6496" y="3222"/>
                    <a:pt x="5372" y="2972"/>
                  </a:cubicBezTo>
                  <a:cubicBezTo>
                    <a:pt x="4247" y="3347"/>
                    <a:pt x="3623" y="2847"/>
                    <a:pt x="3310" y="1910"/>
                  </a:cubicBezTo>
                  <a:cubicBezTo>
                    <a:pt x="2186" y="1286"/>
                    <a:pt x="1124" y="661"/>
                    <a:pt x="0" y="37"/>
                  </a:cubicBezTo>
                  <a:cubicBezTo>
                    <a:pt x="3560" y="-26"/>
                    <a:pt x="7308" y="-401"/>
                    <a:pt x="8682" y="3722"/>
                  </a:cubicBezTo>
                  <a:close/>
                </a:path>
              </a:pathLst>
            </a:custGeom>
            <a:grpFill/>
            <a:ln w="6246" cap="flat">
              <a:noFill/>
              <a:prstDash val="solid"/>
              <a:miter/>
            </a:ln>
          </p:spPr>
          <p:txBody>
            <a:bodyPr rtlCol="0" anchor="ctr"/>
            <a:lstStyle/>
            <a:p>
              <a:endParaRPr lang="fr-FR" sz="2400"/>
            </a:p>
          </p:txBody>
        </p:sp>
        <p:sp>
          <p:nvSpPr>
            <p:cNvPr id="64" name="Freeform: Shape 63">
              <a:extLst>
                <a:ext uri="{FF2B5EF4-FFF2-40B4-BE49-F238E27FC236}">
                  <a16:creationId xmlns:a16="http://schemas.microsoft.com/office/drawing/2014/main" id="{5342987C-1328-4CCD-82FC-BA3F08A82F60}"/>
                </a:ext>
              </a:extLst>
            </p:cNvPr>
            <p:cNvSpPr/>
            <p:nvPr/>
          </p:nvSpPr>
          <p:spPr>
            <a:xfrm>
              <a:off x="1385782" y="435428"/>
              <a:ext cx="6246" cy="6246"/>
            </a:xfrm>
            <a:custGeom>
              <a:avLst/>
              <a:gdLst>
                <a:gd name="connsiteX0" fmla="*/ 4560 w 0"/>
                <a:gd name="connsiteY0" fmla="*/ 2233 h 0"/>
                <a:gd name="connsiteX1" fmla="*/ 2311 w 0"/>
                <a:gd name="connsiteY1" fmla="*/ 5231 h 0"/>
                <a:gd name="connsiteX2" fmla="*/ 0 w 0"/>
                <a:gd name="connsiteY2" fmla="*/ 2420 h 0"/>
                <a:gd name="connsiteX3" fmla="*/ 3248 w 0"/>
                <a:gd name="connsiteY3" fmla="*/ 359 h 0"/>
                <a:gd name="connsiteX4" fmla="*/ 4560 w 0"/>
                <a:gd name="connsiteY4" fmla="*/ 223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560" y="2233"/>
                  </a:moveTo>
                  <a:cubicBezTo>
                    <a:pt x="3810" y="3232"/>
                    <a:pt x="3061" y="4231"/>
                    <a:pt x="2311" y="5231"/>
                  </a:cubicBezTo>
                  <a:cubicBezTo>
                    <a:pt x="1124" y="4544"/>
                    <a:pt x="250" y="3669"/>
                    <a:pt x="0" y="2420"/>
                  </a:cubicBezTo>
                  <a:cubicBezTo>
                    <a:pt x="500" y="983"/>
                    <a:pt x="749" y="-765"/>
                    <a:pt x="3248" y="359"/>
                  </a:cubicBezTo>
                  <a:cubicBezTo>
                    <a:pt x="3685" y="983"/>
                    <a:pt x="4122" y="1608"/>
                    <a:pt x="4560" y="2233"/>
                  </a:cubicBezTo>
                  <a:close/>
                </a:path>
              </a:pathLst>
            </a:custGeom>
            <a:grpFill/>
            <a:ln w="6246" cap="flat">
              <a:noFill/>
              <a:prstDash val="solid"/>
              <a:miter/>
            </a:ln>
          </p:spPr>
          <p:txBody>
            <a:bodyPr rtlCol="0" anchor="ctr"/>
            <a:lstStyle/>
            <a:p>
              <a:endParaRPr lang="fr-FR" sz="2400"/>
            </a:p>
          </p:txBody>
        </p:sp>
        <p:sp>
          <p:nvSpPr>
            <p:cNvPr id="65" name="Freeform: Shape 64">
              <a:extLst>
                <a:ext uri="{FF2B5EF4-FFF2-40B4-BE49-F238E27FC236}">
                  <a16:creationId xmlns:a16="http://schemas.microsoft.com/office/drawing/2014/main" id="{E89637D0-DE74-42E0-9121-C7143A20ADEA}"/>
                </a:ext>
              </a:extLst>
            </p:cNvPr>
            <p:cNvSpPr/>
            <p:nvPr/>
          </p:nvSpPr>
          <p:spPr>
            <a:xfrm>
              <a:off x="1395526" y="448403"/>
              <a:ext cx="6246" cy="6246"/>
            </a:xfrm>
            <a:custGeom>
              <a:avLst/>
              <a:gdLst>
                <a:gd name="connsiteX0" fmla="*/ 4435 w 0"/>
                <a:gd name="connsiteY0" fmla="*/ 2749 h 0"/>
                <a:gd name="connsiteX1" fmla="*/ 3248 w 0"/>
                <a:gd name="connsiteY1" fmla="*/ 4935 h 0"/>
                <a:gd name="connsiteX2" fmla="*/ 0 w 0"/>
                <a:gd name="connsiteY2" fmla="*/ 1062 h 0"/>
                <a:gd name="connsiteX3" fmla="*/ 3248 w 0"/>
                <a:gd name="connsiteY3" fmla="*/ 1 h 0"/>
                <a:gd name="connsiteX4" fmla="*/ 4435 w 0"/>
                <a:gd name="connsiteY4" fmla="*/ 274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35" y="2749"/>
                  </a:moveTo>
                  <a:cubicBezTo>
                    <a:pt x="4060" y="3498"/>
                    <a:pt x="3685" y="4185"/>
                    <a:pt x="3248" y="4935"/>
                  </a:cubicBezTo>
                  <a:cubicBezTo>
                    <a:pt x="2186" y="3623"/>
                    <a:pt x="1124" y="2374"/>
                    <a:pt x="0" y="1062"/>
                  </a:cubicBezTo>
                  <a:cubicBezTo>
                    <a:pt x="749" y="-62"/>
                    <a:pt x="2061" y="1"/>
                    <a:pt x="3248" y="1"/>
                  </a:cubicBezTo>
                  <a:cubicBezTo>
                    <a:pt x="3685" y="875"/>
                    <a:pt x="4060" y="1812"/>
                    <a:pt x="4435" y="2749"/>
                  </a:cubicBezTo>
                  <a:close/>
                </a:path>
              </a:pathLst>
            </a:custGeom>
            <a:grpFill/>
            <a:ln w="6246" cap="flat">
              <a:noFill/>
              <a:prstDash val="solid"/>
              <a:miter/>
            </a:ln>
          </p:spPr>
          <p:txBody>
            <a:bodyPr rtlCol="0" anchor="ctr"/>
            <a:lstStyle/>
            <a:p>
              <a:endParaRPr lang="fr-FR" sz="2400"/>
            </a:p>
          </p:txBody>
        </p:sp>
        <p:sp>
          <p:nvSpPr>
            <p:cNvPr id="66" name="Freeform: Shape 65">
              <a:extLst>
                <a:ext uri="{FF2B5EF4-FFF2-40B4-BE49-F238E27FC236}">
                  <a16:creationId xmlns:a16="http://schemas.microsoft.com/office/drawing/2014/main" id="{AE08C19F-E350-4BA9-B055-328BB2DCF2CB}"/>
                </a:ext>
              </a:extLst>
            </p:cNvPr>
            <p:cNvSpPr/>
            <p:nvPr/>
          </p:nvSpPr>
          <p:spPr>
            <a:xfrm>
              <a:off x="1360236" y="413270"/>
              <a:ext cx="6246" cy="6246"/>
            </a:xfrm>
            <a:custGeom>
              <a:avLst/>
              <a:gdLst>
                <a:gd name="connsiteX0" fmla="*/ 1062 w 0"/>
                <a:gd name="connsiteY0" fmla="*/ 2217 h 0"/>
                <a:gd name="connsiteX1" fmla="*/ 0 w 0"/>
                <a:gd name="connsiteY1" fmla="*/ 343 h 0"/>
                <a:gd name="connsiteX2" fmla="*/ 5497 w 0"/>
                <a:gd name="connsiteY2" fmla="*/ 3154 h 0"/>
                <a:gd name="connsiteX3" fmla="*/ 3123 w 0"/>
                <a:gd name="connsiteY3" fmla="*/ 3279 h 0"/>
                <a:gd name="connsiteX4" fmla="*/ 1062 w 0"/>
                <a:gd name="connsiteY4" fmla="*/ 22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2217"/>
                  </a:moveTo>
                  <a:cubicBezTo>
                    <a:pt x="687" y="1593"/>
                    <a:pt x="312" y="968"/>
                    <a:pt x="0" y="343"/>
                  </a:cubicBezTo>
                  <a:cubicBezTo>
                    <a:pt x="3248" y="-1031"/>
                    <a:pt x="3748" y="2092"/>
                    <a:pt x="5497" y="3154"/>
                  </a:cubicBezTo>
                  <a:cubicBezTo>
                    <a:pt x="4685" y="3217"/>
                    <a:pt x="3935" y="3279"/>
                    <a:pt x="3123" y="3279"/>
                  </a:cubicBezTo>
                  <a:cubicBezTo>
                    <a:pt x="1936" y="3716"/>
                    <a:pt x="1062" y="3654"/>
                    <a:pt x="1062" y="2217"/>
                  </a:cubicBezTo>
                  <a:close/>
                </a:path>
              </a:pathLst>
            </a:custGeom>
            <a:grpFill/>
            <a:ln w="6246" cap="flat">
              <a:noFill/>
              <a:prstDash val="solid"/>
              <a:miter/>
            </a:ln>
          </p:spPr>
          <p:txBody>
            <a:bodyPr rtlCol="0" anchor="ctr"/>
            <a:lstStyle/>
            <a:p>
              <a:endParaRPr lang="fr-FR" sz="2400"/>
            </a:p>
          </p:txBody>
        </p:sp>
        <p:sp>
          <p:nvSpPr>
            <p:cNvPr id="67" name="Freeform: Shape 66">
              <a:extLst>
                <a:ext uri="{FF2B5EF4-FFF2-40B4-BE49-F238E27FC236}">
                  <a16:creationId xmlns:a16="http://schemas.microsoft.com/office/drawing/2014/main" id="{CB898167-B0E6-4B60-A231-7F184F7103B2}"/>
                </a:ext>
              </a:extLst>
            </p:cNvPr>
            <p:cNvSpPr/>
            <p:nvPr/>
          </p:nvSpPr>
          <p:spPr>
            <a:xfrm>
              <a:off x="1351679" y="408999"/>
              <a:ext cx="6246" cy="6246"/>
            </a:xfrm>
            <a:custGeom>
              <a:avLst/>
              <a:gdLst>
                <a:gd name="connsiteX0" fmla="*/ 5372 w 0"/>
                <a:gd name="connsiteY0" fmla="*/ 2740 h 0"/>
                <a:gd name="connsiteX1" fmla="*/ 2311 w 0"/>
                <a:gd name="connsiteY1" fmla="*/ 2428 h 0"/>
                <a:gd name="connsiteX2" fmla="*/ 0 w 0"/>
                <a:gd name="connsiteY2" fmla="*/ 804 h 0"/>
                <a:gd name="connsiteX3" fmla="*/ 5372 w 0"/>
                <a:gd name="connsiteY3" fmla="*/ 2740 h 0"/>
              </a:gdLst>
              <a:ahLst/>
              <a:cxnLst>
                <a:cxn ang="0">
                  <a:pos x="connsiteX0" y="connsiteY0"/>
                </a:cxn>
                <a:cxn ang="0">
                  <a:pos x="connsiteX1" y="connsiteY1"/>
                </a:cxn>
                <a:cxn ang="0">
                  <a:pos x="connsiteX2" y="connsiteY2"/>
                </a:cxn>
                <a:cxn ang="0">
                  <a:pos x="connsiteX3" y="connsiteY3"/>
                </a:cxn>
              </a:cxnLst>
              <a:rect l="l" t="t" r="r" b="b"/>
              <a:pathLst>
                <a:path>
                  <a:moveTo>
                    <a:pt x="5372" y="2740"/>
                  </a:moveTo>
                  <a:cubicBezTo>
                    <a:pt x="4372" y="2616"/>
                    <a:pt x="3310" y="2553"/>
                    <a:pt x="2311" y="2428"/>
                  </a:cubicBezTo>
                  <a:cubicBezTo>
                    <a:pt x="1562" y="1866"/>
                    <a:pt x="749" y="1304"/>
                    <a:pt x="0" y="804"/>
                  </a:cubicBezTo>
                  <a:cubicBezTo>
                    <a:pt x="2561" y="-508"/>
                    <a:pt x="4685" y="-445"/>
                    <a:pt x="5372" y="2740"/>
                  </a:cubicBezTo>
                  <a:close/>
                </a:path>
              </a:pathLst>
            </a:custGeom>
            <a:grpFill/>
            <a:ln w="6246" cap="flat">
              <a:noFill/>
              <a:prstDash val="solid"/>
              <a:miter/>
            </a:ln>
          </p:spPr>
          <p:txBody>
            <a:bodyPr rtlCol="0" anchor="ctr"/>
            <a:lstStyle/>
            <a:p>
              <a:endParaRPr lang="fr-FR" sz="2400"/>
            </a:p>
          </p:txBody>
        </p:sp>
        <p:sp>
          <p:nvSpPr>
            <p:cNvPr id="68" name="Freeform: Shape 67">
              <a:extLst>
                <a:ext uri="{FF2B5EF4-FFF2-40B4-BE49-F238E27FC236}">
                  <a16:creationId xmlns:a16="http://schemas.microsoft.com/office/drawing/2014/main" id="{FDC03D35-09A7-4C72-89DB-49D2081AFC43}"/>
                </a:ext>
              </a:extLst>
            </p:cNvPr>
            <p:cNvSpPr/>
            <p:nvPr/>
          </p:nvSpPr>
          <p:spPr>
            <a:xfrm>
              <a:off x="1384720" y="433788"/>
              <a:ext cx="6246" cy="6246"/>
            </a:xfrm>
            <a:custGeom>
              <a:avLst/>
              <a:gdLst>
                <a:gd name="connsiteX0" fmla="*/ 4310 w 0"/>
                <a:gd name="connsiteY0" fmla="*/ 1999 h 0"/>
                <a:gd name="connsiteX1" fmla="*/ 1062 w 0"/>
                <a:gd name="connsiteY1" fmla="*/ 3997 h 0"/>
                <a:gd name="connsiteX2" fmla="*/ 0 w 0"/>
                <a:gd name="connsiteY2" fmla="*/ 2186 h 0"/>
                <a:gd name="connsiteX3" fmla="*/ 1312 w 0"/>
                <a:gd name="connsiteY3" fmla="*/ 0 h 0"/>
                <a:gd name="connsiteX4" fmla="*/ 4310 w 0"/>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10" y="1999"/>
                  </a:moveTo>
                  <a:cubicBezTo>
                    <a:pt x="2686" y="1999"/>
                    <a:pt x="2248" y="3498"/>
                    <a:pt x="1062" y="3997"/>
                  </a:cubicBezTo>
                  <a:cubicBezTo>
                    <a:pt x="687" y="3373"/>
                    <a:pt x="375" y="2811"/>
                    <a:pt x="0" y="2186"/>
                  </a:cubicBezTo>
                  <a:cubicBezTo>
                    <a:pt x="437" y="1437"/>
                    <a:pt x="874" y="687"/>
                    <a:pt x="1312" y="0"/>
                  </a:cubicBezTo>
                  <a:cubicBezTo>
                    <a:pt x="2373" y="625"/>
                    <a:pt x="3310" y="1312"/>
                    <a:pt x="4310" y="1999"/>
                  </a:cubicBezTo>
                  <a:close/>
                </a:path>
              </a:pathLst>
            </a:custGeom>
            <a:grpFill/>
            <a:ln w="6246" cap="flat">
              <a:noFill/>
              <a:prstDash val="solid"/>
              <a:miter/>
            </a:ln>
          </p:spPr>
          <p:txBody>
            <a:bodyPr rtlCol="0" anchor="ctr"/>
            <a:lstStyle/>
            <a:p>
              <a:endParaRPr lang="fr-FR" sz="2400"/>
            </a:p>
          </p:txBody>
        </p:sp>
        <p:sp>
          <p:nvSpPr>
            <p:cNvPr id="69" name="Freeform: Shape 68">
              <a:extLst>
                <a:ext uri="{FF2B5EF4-FFF2-40B4-BE49-F238E27FC236}">
                  <a16:creationId xmlns:a16="http://schemas.microsoft.com/office/drawing/2014/main" id="{EEB75690-D9AE-463E-81B2-DD2A98F8A28D}"/>
                </a:ext>
              </a:extLst>
            </p:cNvPr>
            <p:cNvSpPr/>
            <p:nvPr/>
          </p:nvSpPr>
          <p:spPr>
            <a:xfrm>
              <a:off x="1380723" y="428854"/>
              <a:ext cx="6246" cy="6246"/>
            </a:xfrm>
            <a:custGeom>
              <a:avLst/>
              <a:gdLst>
                <a:gd name="connsiteX0" fmla="*/ 5372 w 0"/>
                <a:gd name="connsiteY0" fmla="*/ 4934 h 0"/>
                <a:gd name="connsiteX1" fmla="*/ 0 w 0"/>
                <a:gd name="connsiteY1" fmla="*/ 0 h 0"/>
                <a:gd name="connsiteX2" fmla="*/ 5372 w 0"/>
                <a:gd name="connsiteY2" fmla="*/ 4934 h 0"/>
              </a:gdLst>
              <a:ahLst/>
              <a:cxnLst>
                <a:cxn ang="0">
                  <a:pos x="connsiteX0" y="connsiteY0"/>
                </a:cxn>
                <a:cxn ang="0">
                  <a:pos x="connsiteX1" y="connsiteY1"/>
                </a:cxn>
                <a:cxn ang="0">
                  <a:pos x="connsiteX2" y="connsiteY2"/>
                </a:cxn>
              </a:cxnLst>
              <a:rect l="l" t="t" r="r" b="b"/>
              <a:pathLst>
                <a:path>
                  <a:moveTo>
                    <a:pt x="5372" y="4934"/>
                  </a:moveTo>
                  <a:cubicBezTo>
                    <a:pt x="3623" y="3248"/>
                    <a:pt x="999" y="2311"/>
                    <a:pt x="0" y="0"/>
                  </a:cubicBezTo>
                  <a:cubicBezTo>
                    <a:pt x="2436" y="1062"/>
                    <a:pt x="5309" y="1749"/>
                    <a:pt x="5372" y="4934"/>
                  </a:cubicBezTo>
                  <a:close/>
                </a:path>
              </a:pathLst>
            </a:custGeom>
            <a:grpFill/>
            <a:ln w="6246" cap="flat">
              <a:noFill/>
              <a:prstDash val="solid"/>
              <a:miter/>
            </a:ln>
          </p:spPr>
          <p:txBody>
            <a:bodyPr rtlCol="0" anchor="ctr"/>
            <a:lstStyle/>
            <a:p>
              <a:endParaRPr lang="fr-FR" sz="2400"/>
            </a:p>
          </p:txBody>
        </p:sp>
        <p:sp>
          <p:nvSpPr>
            <p:cNvPr id="70" name="Freeform: Shape 69">
              <a:extLst>
                <a:ext uri="{FF2B5EF4-FFF2-40B4-BE49-F238E27FC236}">
                  <a16:creationId xmlns:a16="http://schemas.microsoft.com/office/drawing/2014/main" id="{1EF0DC5D-5673-4367-AA7E-58A0B9DF89F7}"/>
                </a:ext>
              </a:extLst>
            </p:cNvPr>
            <p:cNvSpPr/>
            <p:nvPr/>
          </p:nvSpPr>
          <p:spPr>
            <a:xfrm>
              <a:off x="1390875" y="439660"/>
              <a:ext cx="6246" cy="6246"/>
            </a:xfrm>
            <a:custGeom>
              <a:avLst/>
              <a:gdLst>
                <a:gd name="connsiteX0" fmla="*/ 3902 w 0"/>
                <a:gd name="connsiteY0" fmla="*/ 3560 h 0"/>
                <a:gd name="connsiteX1" fmla="*/ 716 w 0"/>
                <a:gd name="connsiteY1" fmla="*/ 2748 h 0"/>
                <a:gd name="connsiteX2" fmla="*/ 1591 w 0"/>
                <a:gd name="connsiteY2" fmla="*/ 0 h 0"/>
                <a:gd name="connsiteX3" fmla="*/ 3902 w 0"/>
                <a:gd name="connsiteY3" fmla="*/ 3560 h 0"/>
              </a:gdLst>
              <a:ahLst/>
              <a:cxnLst>
                <a:cxn ang="0">
                  <a:pos x="connsiteX0" y="connsiteY0"/>
                </a:cxn>
                <a:cxn ang="0">
                  <a:pos x="connsiteX1" y="connsiteY1"/>
                </a:cxn>
                <a:cxn ang="0">
                  <a:pos x="connsiteX2" y="connsiteY2"/>
                </a:cxn>
                <a:cxn ang="0">
                  <a:pos x="connsiteX3" y="connsiteY3"/>
                </a:cxn>
              </a:cxnLst>
              <a:rect l="l" t="t" r="r" b="b"/>
              <a:pathLst>
                <a:path>
                  <a:moveTo>
                    <a:pt x="3902" y="3560"/>
                  </a:moveTo>
                  <a:cubicBezTo>
                    <a:pt x="2340" y="4934"/>
                    <a:pt x="1278" y="3935"/>
                    <a:pt x="716" y="2748"/>
                  </a:cubicBezTo>
                  <a:cubicBezTo>
                    <a:pt x="279" y="1874"/>
                    <a:pt x="-1033" y="250"/>
                    <a:pt x="1591" y="0"/>
                  </a:cubicBezTo>
                  <a:cubicBezTo>
                    <a:pt x="1653" y="1499"/>
                    <a:pt x="3090" y="2373"/>
                    <a:pt x="3902" y="3560"/>
                  </a:cubicBezTo>
                  <a:close/>
                </a:path>
              </a:pathLst>
            </a:custGeom>
            <a:grpFill/>
            <a:ln w="6246" cap="flat">
              <a:noFill/>
              <a:prstDash val="solid"/>
              <a:miter/>
            </a:ln>
          </p:spPr>
          <p:txBody>
            <a:bodyPr rtlCol="0" anchor="ctr"/>
            <a:lstStyle/>
            <a:p>
              <a:endParaRPr lang="fr-FR" sz="2400"/>
            </a:p>
          </p:txBody>
        </p:sp>
        <p:sp>
          <p:nvSpPr>
            <p:cNvPr id="71" name="Freeform: Shape 70">
              <a:extLst>
                <a:ext uri="{FF2B5EF4-FFF2-40B4-BE49-F238E27FC236}">
                  <a16:creationId xmlns:a16="http://schemas.microsoft.com/office/drawing/2014/main" id="{5F0E5D57-52D5-4431-A305-1FE973028156}"/>
                </a:ext>
              </a:extLst>
            </p:cNvPr>
            <p:cNvSpPr/>
            <p:nvPr/>
          </p:nvSpPr>
          <p:spPr>
            <a:xfrm>
              <a:off x="1267169" y="396999"/>
              <a:ext cx="6246" cy="6246"/>
            </a:xfrm>
            <a:custGeom>
              <a:avLst/>
              <a:gdLst>
                <a:gd name="connsiteX0" fmla="*/ 125 w 0"/>
                <a:gd name="connsiteY0" fmla="*/ 2124 h 0"/>
                <a:gd name="connsiteX1" fmla="*/ 0 w 0"/>
                <a:gd name="connsiteY1" fmla="*/ 62 h 0"/>
                <a:gd name="connsiteX2" fmla="*/ 1999 w 0"/>
                <a:gd name="connsiteY2" fmla="*/ 0 h 0"/>
                <a:gd name="connsiteX3" fmla="*/ 4310 w 0"/>
                <a:gd name="connsiteY3" fmla="*/ 1624 h 0"/>
                <a:gd name="connsiteX4" fmla="*/ 125 w 0"/>
                <a:gd name="connsiteY4" fmla="*/ 21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5" y="2124"/>
                  </a:moveTo>
                  <a:cubicBezTo>
                    <a:pt x="62" y="1437"/>
                    <a:pt x="62" y="750"/>
                    <a:pt x="0" y="62"/>
                  </a:cubicBezTo>
                  <a:cubicBezTo>
                    <a:pt x="687" y="62"/>
                    <a:pt x="1312" y="0"/>
                    <a:pt x="1999" y="0"/>
                  </a:cubicBezTo>
                  <a:cubicBezTo>
                    <a:pt x="2748" y="562"/>
                    <a:pt x="3498" y="1124"/>
                    <a:pt x="4310" y="1624"/>
                  </a:cubicBezTo>
                  <a:cubicBezTo>
                    <a:pt x="3185" y="3310"/>
                    <a:pt x="1686" y="3061"/>
                    <a:pt x="125" y="2124"/>
                  </a:cubicBezTo>
                  <a:close/>
                </a:path>
              </a:pathLst>
            </a:custGeom>
            <a:grpFill/>
            <a:ln w="6246" cap="flat">
              <a:noFill/>
              <a:prstDash val="solid"/>
              <a:miter/>
            </a:ln>
          </p:spPr>
          <p:txBody>
            <a:bodyPr rtlCol="0" anchor="ctr"/>
            <a:lstStyle/>
            <a:p>
              <a:endParaRPr lang="fr-FR" sz="2400"/>
            </a:p>
          </p:txBody>
        </p:sp>
        <p:sp>
          <p:nvSpPr>
            <p:cNvPr id="72" name="Freeform: Shape 71">
              <a:extLst>
                <a:ext uri="{FF2B5EF4-FFF2-40B4-BE49-F238E27FC236}">
                  <a16:creationId xmlns:a16="http://schemas.microsoft.com/office/drawing/2014/main" id="{B4E80DBD-6C54-47AB-A7E3-99AEF1503CC0}"/>
                </a:ext>
              </a:extLst>
            </p:cNvPr>
            <p:cNvSpPr/>
            <p:nvPr/>
          </p:nvSpPr>
          <p:spPr>
            <a:xfrm>
              <a:off x="1303584" y="397051"/>
              <a:ext cx="6246" cy="6246"/>
            </a:xfrm>
            <a:custGeom>
              <a:avLst/>
              <a:gdLst>
                <a:gd name="connsiteX0" fmla="*/ 5372 w 0"/>
                <a:gd name="connsiteY0" fmla="*/ 1010 h 0"/>
                <a:gd name="connsiteX1" fmla="*/ 0 w 0"/>
                <a:gd name="connsiteY1" fmla="*/ 73 h 0"/>
                <a:gd name="connsiteX2" fmla="*/ 5372 w 0"/>
                <a:gd name="connsiteY2" fmla="*/ 1010 h 0"/>
              </a:gdLst>
              <a:ahLst/>
              <a:cxnLst>
                <a:cxn ang="0">
                  <a:pos x="connsiteX0" y="connsiteY0"/>
                </a:cxn>
                <a:cxn ang="0">
                  <a:pos x="connsiteX1" y="connsiteY1"/>
                </a:cxn>
                <a:cxn ang="0">
                  <a:pos x="connsiteX2" y="connsiteY2"/>
                </a:cxn>
              </a:cxnLst>
              <a:rect l="l" t="t" r="r" b="b"/>
              <a:pathLst>
                <a:path>
                  <a:moveTo>
                    <a:pt x="5372" y="1010"/>
                  </a:moveTo>
                  <a:cubicBezTo>
                    <a:pt x="3560" y="822"/>
                    <a:pt x="1562" y="1509"/>
                    <a:pt x="0" y="73"/>
                  </a:cubicBezTo>
                  <a:cubicBezTo>
                    <a:pt x="1811" y="198"/>
                    <a:pt x="3873" y="-552"/>
                    <a:pt x="5372" y="1010"/>
                  </a:cubicBezTo>
                  <a:close/>
                </a:path>
              </a:pathLst>
            </a:custGeom>
            <a:grpFill/>
            <a:ln w="6246" cap="flat">
              <a:noFill/>
              <a:prstDash val="solid"/>
              <a:miter/>
            </a:ln>
          </p:spPr>
          <p:txBody>
            <a:bodyPr rtlCol="0" anchor="ctr"/>
            <a:lstStyle/>
            <a:p>
              <a:endParaRPr lang="fr-FR" sz="2400"/>
            </a:p>
          </p:txBody>
        </p:sp>
        <p:sp>
          <p:nvSpPr>
            <p:cNvPr id="73" name="Freeform: Shape 72">
              <a:extLst>
                <a:ext uri="{FF2B5EF4-FFF2-40B4-BE49-F238E27FC236}">
                  <a16:creationId xmlns:a16="http://schemas.microsoft.com/office/drawing/2014/main" id="{15541625-6E74-4887-8429-96E523933A4C}"/>
                </a:ext>
              </a:extLst>
            </p:cNvPr>
            <p:cNvSpPr/>
            <p:nvPr/>
          </p:nvSpPr>
          <p:spPr>
            <a:xfrm>
              <a:off x="1092144" y="476026"/>
              <a:ext cx="18738" cy="49969"/>
            </a:xfrm>
            <a:custGeom>
              <a:avLst/>
              <a:gdLst>
                <a:gd name="connsiteX0" fmla="*/ 3883 w 18738"/>
                <a:gd name="connsiteY0" fmla="*/ 30341 h 49968"/>
                <a:gd name="connsiteX1" fmla="*/ 7069 w 18738"/>
                <a:gd name="connsiteY1" fmla="*/ 25532 h 49968"/>
                <a:gd name="connsiteX2" fmla="*/ 8193 w 18738"/>
                <a:gd name="connsiteY2" fmla="*/ 18724 h 49968"/>
                <a:gd name="connsiteX3" fmla="*/ 10317 w 18738"/>
                <a:gd name="connsiteY3" fmla="*/ 14851 h 49968"/>
                <a:gd name="connsiteX4" fmla="*/ 13502 w 18738"/>
                <a:gd name="connsiteY4" fmla="*/ 10042 h 49968"/>
                <a:gd name="connsiteX5" fmla="*/ 13502 w 18738"/>
                <a:gd name="connsiteY5" fmla="*/ 9105 h 49968"/>
                <a:gd name="connsiteX6" fmla="*/ 15626 w 18738"/>
                <a:gd name="connsiteY6" fmla="*/ 6169 h 49968"/>
                <a:gd name="connsiteX7" fmla="*/ 15626 w 18738"/>
                <a:gd name="connsiteY7" fmla="*/ 6169 h 49968"/>
                <a:gd name="connsiteX8" fmla="*/ 17749 w 18738"/>
                <a:gd name="connsiteY8" fmla="*/ 2296 h 49968"/>
                <a:gd name="connsiteX9" fmla="*/ 18811 w 18738"/>
                <a:gd name="connsiteY9" fmla="*/ 360 h 49968"/>
                <a:gd name="connsiteX10" fmla="*/ 20060 w 18738"/>
                <a:gd name="connsiteY10" fmla="*/ 48 h 49968"/>
                <a:gd name="connsiteX11" fmla="*/ 23621 w 18738"/>
                <a:gd name="connsiteY11" fmla="*/ 2296 h 49968"/>
                <a:gd name="connsiteX12" fmla="*/ 24183 w 18738"/>
                <a:gd name="connsiteY12" fmla="*/ 3546 h 49968"/>
                <a:gd name="connsiteX13" fmla="*/ 22684 w 18738"/>
                <a:gd name="connsiteY13" fmla="*/ 7293 h 49968"/>
                <a:gd name="connsiteX14" fmla="*/ 17125 w 18738"/>
                <a:gd name="connsiteY14" fmla="*/ 15226 h 49968"/>
                <a:gd name="connsiteX15" fmla="*/ 15813 w 18738"/>
                <a:gd name="connsiteY15" fmla="*/ 19661 h 49968"/>
                <a:gd name="connsiteX16" fmla="*/ 14501 w 18738"/>
                <a:gd name="connsiteY16" fmla="*/ 21909 h 49968"/>
                <a:gd name="connsiteX17" fmla="*/ 13127 w 18738"/>
                <a:gd name="connsiteY17" fmla="*/ 25969 h 49968"/>
                <a:gd name="connsiteX18" fmla="*/ 11816 w 18738"/>
                <a:gd name="connsiteY18" fmla="*/ 30404 h 49968"/>
                <a:gd name="connsiteX19" fmla="*/ 9630 w 18738"/>
                <a:gd name="connsiteY19" fmla="*/ 33902 h 49968"/>
                <a:gd name="connsiteX20" fmla="*/ 6007 w 18738"/>
                <a:gd name="connsiteY20" fmla="*/ 43708 h 49968"/>
                <a:gd name="connsiteX21" fmla="*/ 3321 w 18738"/>
                <a:gd name="connsiteY21" fmla="*/ 50953 h 49968"/>
                <a:gd name="connsiteX22" fmla="*/ 698 w 18738"/>
                <a:gd name="connsiteY22" fmla="*/ 43833 h 49968"/>
                <a:gd name="connsiteX23" fmla="*/ 2821 w 18738"/>
                <a:gd name="connsiteY23" fmla="*/ 39960 h 49968"/>
                <a:gd name="connsiteX24" fmla="*/ 3883 w 18738"/>
                <a:gd name="connsiteY24" fmla="*/ 3034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3883" y="30341"/>
                  </a:moveTo>
                  <a:cubicBezTo>
                    <a:pt x="4945" y="28717"/>
                    <a:pt x="6007" y="27156"/>
                    <a:pt x="7069" y="25532"/>
                  </a:cubicBezTo>
                  <a:cubicBezTo>
                    <a:pt x="6319" y="23096"/>
                    <a:pt x="9817" y="21285"/>
                    <a:pt x="8193" y="18724"/>
                  </a:cubicBezTo>
                  <a:cubicBezTo>
                    <a:pt x="8880" y="17412"/>
                    <a:pt x="9630" y="16100"/>
                    <a:pt x="10317" y="14851"/>
                  </a:cubicBezTo>
                  <a:cubicBezTo>
                    <a:pt x="11878" y="13477"/>
                    <a:pt x="12815" y="11790"/>
                    <a:pt x="13502" y="10042"/>
                  </a:cubicBezTo>
                  <a:cubicBezTo>
                    <a:pt x="13502" y="9729"/>
                    <a:pt x="13502" y="9417"/>
                    <a:pt x="13502" y="9105"/>
                  </a:cubicBezTo>
                  <a:cubicBezTo>
                    <a:pt x="14002" y="8043"/>
                    <a:pt x="15001" y="7231"/>
                    <a:pt x="15626" y="6169"/>
                  </a:cubicBezTo>
                  <a:lnTo>
                    <a:pt x="15626" y="6169"/>
                  </a:lnTo>
                  <a:cubicBezTo>
                    <a:pt x="16563" y="4982"/>
                    <a:pt x="16313" y="3233"/>
                    <a:pt x="17749" y="2296"/>
                  </a:cubicBezTo>
                  <a:cubicBezTo>
                    <a:pt x="18124" y="1672"/>
                    <a:pt x="18499" y="985"/>
                    <a:pt x="18811" y="360"/>
                  </a:cubicBezTo>
                  <a:cubicBezTo>
                    <a:pt x="19186" y="48"/>
                    <a:pt x="19561" y="-77"/>
                    <a:pt x="20060" y="48"/>
                  </a:cubicBezTo>
                  <a:cubicBezTo>
                    <a:pt x="21310" y="672"/>
                    <a:pt x="22621" y="1297"/>
                    <a:pt x="23621" y="2296"/>
                  </a:cubicBezTo>
                  <a:cubicBezTo>
                    <a:pt x="23871" y="2671"/>
                    <a:pt x="24058" y="3108"/>
                    <a:pt x="24183" y="3546"/>
                  </a:cubicBezTo>
                  <a:cubicBezTo>
                    <a:pt x="24370" y="5045"/>
                    <a:pt x="23933" y="6294"/>
                    <a:pt x="22684" y="7293"/>
                  </a:cubicBezTo>
                  <a:cubicBezTo>
                    <a:pt x="19124" y="8917"/>
                    <a:pt x="18374" y="12228"/>
                    <a:pt x="17125" y="15226"/>
                  </a:cubicBezTo>
                  <a:cubicBezTo>
                    <a:pt x="16875" y="16787"/>
                    <a:pt x="16375" y="18224"/>
                    <a:pt x="15813" y="19661"/>
                  </a:cubicBezTo>
                  <a:cubicBezTo>
                    <a:pt x="15501" y="20472"/>
                    <a:pt x="15001" y="21222"/>
                    <a:pt x="14501" y="21909"/>
                  </a:cubicBezTo>
                  <a:cubicBezTo>
                    <a:pt x="13502" y="23096"/>
                    <a:pt x="13252" y="24532"/>
                    <a:pt x="13127" y="25969"/>
                  </a:cubicBezTo>
                  <a:cubicBezTo>
                    <a:pt x="12753" y="27468"/>
                    <a:pt x="12878" y="29030"/>
                    <a:pt x="11816" y="30404"/>
                  </a:cubicBezTo>
                  <a:cubicBezTo>
                    <a:pt x="10504" y="31278"/>
                    <a:pt x="9630" y="32278"/>
                    <a:pt x="9630" y="33902"/>
                  </a:cubicBezTo>
                  <a:cubicBezTo>
                    <a:pt x="9505" y="37462"/>
                    <a:pt x="8068" y="40647"/>
                    <a:pt x="6007" y="43708"/>
                  </a:cubicBezTo>
                  <a:cubicBezTo>
                    <a:pt x="4633" y="46019"/>
                    <a:pt x="6631" y="49267"/>
                    <a:pt x="3321" y="50953"/>
                  </a:cubicBezTo>
                  <a:cubicBezTo>
                    <a:pt x="-2488" y="50079"/>
                    <a:pt x="1197" y="46331"/>
                    <a:pt x="698" y="43833"/>
                  </a:cubicBezTo>
                  <a:cubicBezTo>
                    <a:pt x="573" y="42146"/>
                    <a:pt x="2197" y="41272"/>
                    <a:pt x="2821" y="39960"/>
                  </a:cubicBezTo>
                  <a:cubicBezTo>
                    <a:pt x="3009" y="36775"/>
                    <a:pt x="4883" y="33652"/>
                    <a:pt x="3883" y="30341"/>
                  </a:cubicBezTo>
                  <a:close/>
                </a:path>
              </a:pathLst>
            </a:custGeom>
            <a:grpFill/>
            <a:ln w="6246" cap="flat">
              <a:noFill/>
              <a:prstDash val="solid"/>
              <a:miter/>
            </a:ln>
          </p:spPr>
          <p:txBody>
            <a:bodyPr rtlCol="0" anchor="ctr"/>
            <a:lstStyle/>
            <a:p>
              <a:endParaRPr lang="fr-FR" sz="2400"/>
            </a:p>
          </p:txBody>
        </p:sp>
        <p:sp>
          <p:nvSpPr>
            <p:cNvPr id="74" name="Freeform: Shape 73">
              <a:extLst>
                <a:ext uri="{FF2B5EF4-FFF2-40B4-BE49-F238E27FC236}">
                  <a16:creationId xmlns:a16="http://schemas.microsoft.com/office/drawing/2014/main" id="{2371B789-3A0E-4966-A234-D436AF34265D}"/>
                </a:ext>
              </a:extLst>
            </p:cNvPr>
            <p:cNvSpPr/>
            <p:nvPr/>
          </p:nvSpPr>
          <p:spPr>
            <a:xfrm>
              <a:off x="1114203" y="457896"/>
              <a:ext cx="6246" cy="12492"/>
            </a:xfrm>
            <a:custGeom>
              <a:avLst/>
              <a:gdLst>
                <a:gd name="connsiteX0" fmla="*/ 0 w 6246"/>
                <a:gd name="connsiteY0" fmla="*/ 13619 h 12492"/>
                <a:gd name="connsiteX1" fmla="*/ 8557 w 6246"/>
                <a:gd name="connsiteY1" fmla="*/ 65 h 12492"/>
                <a:gd name="connsiteX2" fmla="*/ 10119 w 6246"/>
                <a:gd name="connsiteY2" fmla="*/ 1126 h 12492"/>
                <a:gd name="connsiteX3" fmla="*/ 1437 w 6246"/>
                <a:gd name="connsiteY3" fmla="*/ 14056 h 12492"/>
                <a:gd name="connsiteX4" fmla="*/ 0 w 6246"/>
                <a:gd name="connsiteY4" fmla="*/ 1361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0" y="13619"/>
                  </a:moveTo>
                  <a:cubicBezTo>
                    <a:pt x="1562" y="8434"/>
                    <a:pt x="4747" y="4125"/>
                    <a:pt x="8557" y="65"/>
                  </a:cubicBezTo>
                  <a:cubicBezTo>
                    <a:pt x="9556" y="-185"/>
                    <a:pt x="9994" y="314"/>
                    <a:pt x="10119" y="1126"/>
                  </a:cubicBezTo>
                  <a:cubicBezTo>
                    <a:pt x="9681" y="6748"/>
                    <a:pt x="5434" y="10308"/>
                    <a:pt x="1437" y="14056"/>
                  </a:cubicBezTo>
                  <a:cubicBezTo>
                    <a:pt x="937" y="14118"/>
                    <a:pt x="437" y="13993"/>
                    <a:pt x="0" y="13619"/>
                  </a:cubicBezTo>
                  <a:close/>
                </a:path>
              </a:pathLst>
            </a:custGeom>
            <a:grpFill/>
            <a:ln w="6246" cap="flat">
              <a:noFill/>
              <a:prstDash val="solid"/>
              <a:miter/>
            </a:ln>
          </p:spPr>
          <p:txBody>
            <a:bodyPr rtlCol="0" anchor="ctr"/>
            <a:lstStyle/>
            <a:p>
              <a:endParaRPr lang="fr-FR" sz="2400"/>
            </a:p>
          </p:txBody>
        </p:sp>
        <p:sp>
          <p:nvSpPr>
            <p:cNvPr id="75" name="Freeform: Shape 74">
              <a:extLst>
                <a:ext uri="{FF2B5EF4-FFF2-40B4-BE49-F238E27FC236}">
                  <a16:creationId xmlns:a16="http://schemas.microsoft.com/office/drawing/2014/main" id="{201F64EB-BE9F-4AE0-8CCD-4C6175AE4A1C}"/>
                </a:ext>
              </a:extLst>
            </p:cNvPr>
            <p:cNvSpPr/>
            <p:nvPr/>
          </p:nvSpPr>
          <p:spPr>
            <a:xfrm>
              <a:off x="1098319" y="494750"/>
              <a:ext cx="6246" cy="6246"/>
            </a:xfrm>
            <a:custGeom>
              <a:avLst/>
              <a:gdLst>
                <a:gd name="connsiteX0" fmla="*/ 2018 w 0"/>
                <a:gd name="connsiteY0" fmla="*/ 0 h 6246"/>
                <a:gd name="connsiteX1" fmla="*/ 894 w 0"/>
                <a:gd name="connsiteY1" fmla="*/ 6808 h 6246"/>
                <a:gd name="connsiteX2" fmla="*/ 1956 w 0"/>
                <a:gd name="connsiteY2" fmla="*/ 937 h 6246"/>
                <a:gd name="connsiteX3" fmla="*/ 2018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2018" y="0"/>
                  </a:moveTo>
                  <a:cubicBezTo>
                    <a:pt x="5391" y="2748"/>
                    <a:pt x="1519" y="4560"/>
                    <a:pt x="894" y="6808"/>
                  </a:cubicBezTo>
                  <a:cubicBezTo>
                    <a:pt x="-1479" y="4435"/>
                    <a:pt x="1581" y="2936"/>
                    <a:pt x="1956" y="937"/>
                  </a:cubicBezTo>
                  <a:cubicBezTo>
                    <a:pt x="2018" y="625"/>
                    <a:pt x="2018" y="312"/>
                    <a:pt x="2018" y="0"/>
                  </a:cubicBezTo>
                  <a:close/>
                </a:path>
              </a:pathLst>
            </a:custGeom>
            <a:grpFill/>
            <a:ln w="6246" cap="flat">
              <a:noFill/>
              <a:prstDash val="solid"/>
              <a:miter/>
            </a:ln>
          </p:spPr>
          <p:txBody>
            <a:bodyPr rtlCol="0" anchor="ctr"/>
            <a:lstStyle/>
            <a:p>
              <a:endParaRPr lang="fr-FR" sz="2400"/>
            </a:p>
          </p:txBody>
        </p:sp>
        <p:sp>
          <p:nvSpPr>
            <p:cNvPr id="76" name="Freeform: Shape 75">
              <a:extLst>
                <a:ext uri="{FF2B5EF4-FFF2-40B4-BE49-F238E27FC236}">
                  <a16:creationId xmlns:a16="http://schemas.microsoft.com/office/drawing/2014/main" id="{8EDF5DF7-B19D-4844-85B0-F9555521B893}"/>
                </a:ext>
              </a:extLst>
            </p:cNvPr>
            <p:cNvSpPr/>
            <p:nvPr/>
          </p:nvSpPr>
          <p:spPr>
            <a:xfrm>
              <a:off x="1125567" y="449873"/>
              <a:ext cx="6246" cy="6246"/>
            </a:xfrm>
            <a:custGeom>
              <a:avLst/>
              <a:gdLst>
                <a:gd name="connsiteX0" fmla="*/ 441 w 0"/>
                <a:gd name="connsiteY0" fmla="*/ 3278 h 0"/>
                <a:gd name="connsiteX1" fmla="*/ 441 w 0"/>
                <a:gd name="connsiteY1" fmla="*/ 2341 h 0"/>
                <a:gd name="connsiteX2" fmla="*/ 1003 w 0"/>
                <a:gd name="connsiteY2" fmla="*/ 155 h 0"/>
                <a:gd name="connsiteX3" fmla="*/ 4751 w 0"/>
                <a:gd name="connsiteY3" fmla="*/ 2341 h 0"/>
                <a:gd name="connsiteX4" fmla="*/ 3689 w 0"/>
                <a:gd name="connsiteY4" fmla="*/ 3340 h 0"/>
                <a:gd name="connsiteX5" fmla="*/ 1128 w 0"/>
                <a:gd name="connsiteY5" fmla="*/ 5464 h 0"/>
                <a:gd name="connsiteX6" fmla="*/ 441 w 0"/>
                <a:gd name="connsiteY6" fmla="*/ 5277 h 0"/>
                <a:gd name="connsiteX7" fmla="*/ 441 w 0"/>
                <a:gd name="connsiteY7" fmla="*/ 3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441" y="3278"/>
                  </a:moveTo>
                  <a:cubicBezTo>
                    <a:pt x="441" y="2965"/>
                    <a:pt x="441" y="2653"/>
                    <a:pt x="441" y="2341"/>
                  </a:cubicBezTo>
                  <a:cubicBezTo>
                    <a:pt x="-246" y="1404"/>
                    <a:pt x="-183" y="530"/>
                    <a:pt x="1003" y="155"/>
                  </a:cubicBezTo>
                  <a:cubicBezTo>
                    <a:pt x="3127" y="-470"/>
                    <a:pt x="4002" y="904"/>
                    <a:pt x="4751" y="2341"/>
                  </a:cubicBezTo>
                  <a:cubicBezTo>
                    <a:pt x="4376" y="2653"/>
                    <a:pt x="4002" y="2965"/>
                    <a:pt x="3689" y="3340"/>
                  </a:cubicBezTo>
                  <a:cubicBezTo>
                    <a:pt x="2565" y="3777"/>
                    <a:pt x="2190" y="4964"/>
                    <a:pt x="1128" y="5464"/>
                  </a:cubicBezTo>
                  <a:cubicBezTo>
                    <a:pt x="879" y="5401"/>
                    <a:pt x="691" y="5339"/>
                    <a:pt x="441" y="5277"/>
                  </a:cubicBezTo>
                  <a:cubicBezTo>
                    <a:pt x="441" y="4589"/>
                    <a:pt x="441" y="3902"/>
                    <a:pt x="441" y="3278"/>
                  </a:cubicBezTo>
                  <a:close/>
                </a:path>
              </a:pathLst>
            </a:custGeom>
            <a:grpFill/>
            <a:ln w="6246" cap="flat">
              <a:noFill/>
              <a:prstDash val="solid"/>
              <a:miter/>
            </a:ln>
          </p:spPr>
          <p:txBody>
            <a:bodyPr rtlCol="0" anchor="ctr"/>
            <a:lstStyle/>
            <a:p>
              <a:endParaRPr lang="fr-FR" sz="2400"/>
            </a:p>
          </p:txBody>
        </p:sp>
        <p:sp>
          <p:nvSpPr>
            <p:cNvPr id="77" name="Freeform: Shape 76">
              <a:extLst>
                <a:ext uri="{FF2B5EF4-FFF2-40B4-BE49-F238E27FC236}">
                  <a16:creationId xmlns:a16="http://schemas.microsoft.com/office/drawing/2014/main" id="{15A0F996-14A5-4CDE-982C-18F85AFD650B}"/>
                </a:ext>
              </a:extLst>
            </p:cNvPr>
            <p:cNvSpPr/>
            <p:nvPr/>
          </p:nvSpPr>
          <p:spPr>
            <a:xfrm>
              <a:off x="1111018" y="471514"/>
              <a:ext cx="6246" cy="6246"/>
            </a:xfrm>
            <a:custGeom>
              <a:avLst/>
              <a:gdLst>
                <a:gd name="connsiteX0" fmla="*/ 3185 w 0"/>
                <a:gd name="connsiteY0" fmla="*/ 0 h 0"/>
                <a:gd name="connsiteX1" fmla="*/ 4247 w 0"/>
                <a:gd name="connsiteY1" fmla="*/ 0 h 0"/>
                <a:gd name="connsiteX2" fmla="*/ 1062 w 0"/>
                <a:gd name="connsiteY2" fmla="*/ 4809 h 0"/>
                <a:gd name="connsiteX3" fmla="*/ 0 w 0"/>
                <a:gd name="connsiteY3" fmla="*/ 4809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3560" y="0"/>
                    <a:pt x="3873" y="0"/>
                    <a:pt x="4247" y="0"/>
                  </a:cubicBezTo>
                  <a:cubicBezTo>
                    <a:pt x="5684" y="2998"/>
                    <a:pt x="3498" y="3997"/>
                    <a:pt x="1062" y="4809"/>
                  </a:cubicBezTo>
                  <a:cubicBezTo>
                    <a:pt x="687" y="4809"/>
                    <a:pt x="375" y="4809"/>
                    <a:pt x="0" y="4809"/>
                  </a:cubicBezTo>
                  <a:cubicBezTo>
                    <a:pt x="375" y="2873"/>
                    <a:pt x="1062" y="1062"/>
                    <a:pt x="3185" y="0"/>
                  </a:cubicBezTo>
                  <a:close/>
                </a:path>
              </a:pathLst>
            </a:custGeom>
            <a:grpFill/>
            <a:ln w="6246" cap="flat">
              <a:noFill/>
              <a:prstDash val="solid"/>
              <a:miter/>
            </a:ln>
          </p:spPr>
          <p:txBody>
            <a:bodyPr rtlCol="0" anchor="ctr"/>
            <a:lstStyle/>
            <a:p>
              <a:endParaRPr lang="fr-FR" sz="2400"/>
            </a:p>
          </p:txBody>
        </p:sp>
        <p:sp>
          <p:nvSpPr>
            <p:cNvPr id="78" name="Freeform: Shape 77">
              <a:extLst>
                <a:ext uri="{FF2B5EF4-FFF2-40B4-BE49-F238E27FC236}">
                  <a16:creationId xmlns:a16="http://schemas.microsoft.com/office/drawing/2014/main" id="{755F1922-3FCA-4DC2-9839-551C5AEDBE13}"/>
                </a:ext>
              </a:extLst>
            </p:cNvPr>
            <p:cNvSpPr/>
            <p:nvPr/>
          </p:nvSpPr>
          <p:spPr>
            <a:xfrm>
              <a:off x="1122823" y="455087"/>
              <a:ext cx="6246" cy="6246"/>
            </a:xfrm>
            <a:custGeom>
              <a:avLst/>
              <a:gdLst>
                <a:gd name="connsiteX0" fmla="*/ 1062 w 0"/>
                <a:gd name="connsiteY0" fmla="*/ 3873 h 0"/>
                <a:gd name="connsiteX1" fmla="*/ 0 w 0"/>
                <a:gd name="connsiteY1" fmla="*/ 2936 h 0"/>
                <a:gd name="connsiteX2" fmla="*/ 3185 w 0"/>
                <a:gd name="connsiteY2" fmla="*/ 0 h 0"/>
                <a:gd name="connsiteX3" fmla="*/ 3185 w 0"/>
                <a:gd name="connsiteY3" fmla="*/ 0 h 0"/>
                <a:gd name="connsiteX4" fmla="*/ 3185 w 0"/>
                <a:gd name="connsiteY4" fmla="*/ 1936 h 0"/>
                <a:gd name="connsiteX5" fmla="*/ 2124 w 0"/>
                <a:gd name="connsiteY5" fmla="*/ 3873 h 0"/>
                <a:gd name="connsiteX6" fmla="*/ 1062 w 0"/>
                <a:gd name="connsiteY6"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1062" y="3873"/>
                  </a:moveTo>
                  <a:cubicBezTo>
                    <a:pt x="687" y="3560"/>
                    <a:pt x="312" y="3248"/>
                    <a:pt x="0" y="2936"/>
                  </a:cubicBezTo>
                  <a:cubicBezTo>
                    <a:pt x="687" y="1624"/>
                    <a:pt x="1749" y="687"/>
                    <a:pt x="3185" y="0"/>
                  </a:cubicBezTo>
                  <a:lnTo>
                    <a:pt x="3185" y="0"/>
                  </a:lnTo>
                  <a:cubicBezTo>
                    <a:pt x="3810" y="625"/>
                    <a:pt x="3810" y="1312"/>
                    <a:pt x="3185" y="1936"/>
                  </a:cubicBezTo>
                  <a:cubicBezTo>
                    <a:pt x="3185" y="2748"/>
                    <a:pt x="2936" y="3435"/>
                    <a:pt x="2124" y="3873"/>
                  </a:cubicBezTo>
                  <a:cubicBezTo>
                    <a:pt x="1749" y="4372"/>
                    <a:pt x="1374" y="4372"/>
                    <a:pt x="1062" y="3873"/>
                  </a:cubicBezTo>
                  <a:close/>
                </a:path>
              </a:pathLst>
            </a:custGeom>
            <a:grpFill/>
            <a:ln w="6246" cap="flat">
              <a:noFill/>
              <a:prstDash val="solid"/>
              <a:miter/>
            </a:ln>
          </p:spPr>
          <p:txBody>
            <a:bodyPr rtlCol="0" anchor="ctr"/>
            <a:lstStyle/>
            <a:p>
              <a:endParaRPr lang="fr-FR" sz="2400"/>
            </a:p>
          </p:txBody>
        </p:sp>
        <p:sp>
          <p:nvSpPr>
            <p:cNvPr id="79" name="Freeform: Shape 78">
              <a:extLst>
                <a:ext uri="{FF2B5EF4-FFF2-40B4-BE49-F238E27FC236}">
                  <a16:creationId xmlns:a16="http://schemas.microsoft.com/office/drawing/2014/main" id="{18A587EA-ECE6-46AB-8AA7-75051FDFA428}"/>
                </a:ext>
              </a:extLst>
            </p:cNvPr>
            <p:cNvSpPr/>
            <p:nvPr/>
          </p:nvSpPr>
          <p:spPr>
            <a:xfrm>
              <a:off x="1102461" y="486005"/>
              <a:ext cx="6246" cy="6246"/>
            </a:xfrm>
            <a:custGeom>
              <a:avLst/>
              <a:gdLst>
                <a:gd name="connsiteX0" fmla="*/ 3186 w 0"/>
                <a:gd name="connsiteY0" fmla="*/ 0 h 0"/>
                <a:gd name="connsiteX1" fmla="*/ 0 w 0"/>
                <a:gd name="connsiteY1" fmla="*/ 4809 h 0"/>
                <a:gd name="connsiteX2" fmla="*/ 3186 w 0"/>
                <a:gd name="connsiteY2" fmla="*/ 0 h 0"/>
              </a:gdLst>
              <a:ahLst/>
              <a:cxnLst>
                <a:cxn ang="0">
                  <a:pos x="connsiteX0" y="connsiteY0"/>
                </a:cxn>
                <a:cxn ang="0">
                  <a:pos x="connsiteX1" y="connsiteY1"/>
                </a:cxn>
                <a:cxn ang="0">
                  <a:pos x="connsiteX2" y="connsiteY2"/>
                </a:cxn>
              </a:cxnLst>
              <a:rect l="l" t="t" r="r" b="b"/>
              <a:pathLst>
                <a:path>
                  <a:moveTo>
                    <a:pt x="3186" y="0"/>
                  </a:moveTo>
                  <a:cubicBezTo>
                    <a:pt x="2998" y="2124"/>
                    <a:pt x="2998" y="4247"/>
                    <a:pt x="0" y="4809"/>
                  </a:cubicBezTo>
                  <a:cubicBezTo>
                    <a:pt x="250" y="2811"/>
                    <a:pt x="1811" y="1437"/>
                    <a:pt x="3186" y="0"/>
                  </a:cubicBezTo>
                  <a:close/>
                </a:path>
              </a:pathLst>
            </a:custGeom>
            <a:grpFill/>
            <a:ln w="6246" cap="flat">
              <a:noFill/>
              <a:prstDash val="solid"/>
              <a:miter/>
            </a:ln>
          </p:spPr>
          <p:txBody>
            <a:bodyPr rtlCol="0" anchor="ctr"/>
            <a:lstStyle/>
            <a:p>
              <a:endParaRPr lang="fr-FR" sz="2400"/>
            </a:p>
          </p:txBody>
        </p:sp>
        <p:sp>
          <p:nvSpPr>
            <p:cNvPr id="80" name="Freeform: Shape 79">
              <a:extLst>
                <a:ext uri="{FF2B5EF4-FFF2-40B4-BE49-F238E27FC236}">
                  <a16:creationId xmlns:a16="http://schemas.microsoft.com/office/drawing/2014/main" id="{D1BDA3E5-F5C4-4D56-B8D3-45154865C2BC}"/>
                </a:ext>
              </a:extLst>
            </p:cNvPr>
            <p:cNvSpPr/>
            <p:nvPr/>
          </p:nvSpPr>
          <p:spPr>
            <a:xfrm>
              <a:off x="1107827" y="478323"/>
              <a:ext cx="6246" cy="6246"/>
            </a:xfrm>
            <a:custGeom>
              <a:avLst/>
              <a:gdLst>
                <a:gd name="connsiteX0" fmla="*/ 2129 w 0"/>
                <a:gd name="connsiteY0" fmla="*/ 0 h 0"/>
                <a:gd name="connsiteX1" fmla="*/ 6 w 0"/>
                <a:gd name="connsiteY1" fmla="*/ 3873 h 0"/>
                <a:gd name="connsiteX2" fmla="*/ 2129 w 0"/>
                <a:gd name="connsiteY2" fmla="*/ 0 h 0"/>
              </a:gdLst>
              <a:ahLst/>
              <a:cxnLst>
                <a:cxn ang="0">
                  <a:pos x="connsiteX0" y="connsiteY0"/>
                </a:cxn>
                <a:cxn ang="0">
                  <a:pos x="connsiteX1" y="connsiteY1"/>
                </a:cxn>
                <a:cxn ang="0">
                  <a:pos x="connsiteX2" y="connsiteY2"/>
                </a:cxn>
              </a:cxnLst>
              <a:rect l="l" t="t" r="r" b="b"/>
              <a:pathLst>
                <a:path>
                  <a:moveTo>
                    <a:pt x="2129" y="0"/>
                  </a:moveTo>
                  <a:cubicBezTo>
                    <a:pt x="1942" y="1499"/>
                    <a:pt x="1380" y="2873"/>
                    <a:pt x="6" y="3873"/>
                  </a:cubicBezTo>
                  <a:cubicBezTo>
                    <a:pt x="131" y="2311"/>
                    <a:pt x="-619" y="312"/>
                    <a:pt x="2129" y="0"/>
                  </a:cubicBezTo>
                  <a:close/>
                </a:path>
              </a:pathLst>
            </a:custGeom>
            <a:grpFill/>
            <a:ln w="6246" cap="flat">
              <a:noFill/>
              <a:prstDash val="solid"/>
              <a:miter/>
            </a:ln>
          </p:spPr>
          <p:txBody>
            <a:bodyPr rtlCol="0" anchor="ctr"/>
            <a:lstStyle/>
            <a:p>
              <a:endParaRPr lang="fr-FR" sz="2400"/>
            </a:p>
          </p:txBody>
        </p:sp>
        <p:sp>
          <p:nvSpPr>
            <p:cNvPr id="81" name="Freeform: Shape 80">
              <a:extLst>
                <a:ext uri="{FF2B5EF4-FFF2-40B4-BE49-F238E27FC236}">
                  <a16:creationId xmlns:a16="http://schemas.microsoft.com/office/drawing/2014/main" id="{D0F296D0-A35E-4517-B36C-91DCA1883BC8}"/>
                </a:ext>
              </a:extLst>
            </p:cNvPr>
            <p:cNvSpPr/>
            <p:nvPr/>
          </p:nvSpPr>
          <p:spPr>
            <a:xfrm>
              <a:off x="1105390" y="482133"/>
              <a:ext cx="6246" cy="6246"/>
            </a:xfrm>
            <a:custGeom>
              <a:avLst/>
              <a:gdLst>
                <a:gd name="connsiteX0" fmla="*/ 2380 w 0"/>
                <a:gd name="connsiteY0" fmla="*/ 0 h 0"/>
                <a:gd name="connsiteX1" fmla="*/ 256 w 0"/>
                <a:gd name="connsiteY1" fmla="*/ 2936 h 0"/>
                <a:gd name="connsiteX2" fmla="*/ 2380 w 0"/>
                <a:gd name="connsiteY2" fmla="*/ 0 h 0"/>
              </a:gdLst>
              <a:ahLst/>
              <a:cxnLst>
                <a:cxn ang="0">
                  <a:pos x="connsiteX0" y="connsiteY0"/>
                </a:cxn>
                <a:cxn ang="0">
                  <a:pos x="connsiteX1" y="connsiteY1"/>
                </a:cxn>
                <a:cxn ang="0">
                  <a:pos x="connsiteX2" y="connsiteY2"/>
                </a:cxn>
              </a:cxnLst>
              <a:rect l="l" t="t" r="r" b="b"/>
              <a:pathLst>
                <a:path>
                  <a:moveTo>
                    <a:pt x="2380" y="0"/>
                  </a:moveTo>
                  <a:cubicBezTo>
                    <a:pt x="2380" y="1374"/>
                    <a:pt x="1630" y="2373"/>
                    <a:pt x="256" y="2936"/>
                  </a:cubicBezTo>
                  <a:cubicBezTo>
                    <a:pt x="-743" y="937"/>
                    <a:pt x="1443" y="874"/>
                    <a:pt x="2380" y="0"/>
                  </a:cubicBezTo>
                  <a:close/>
                </a:path>
              </a:pathLst>
            </a:custGeom>
            <a:grpFill/>
            <a:ln w="6246" cap="flat">
              <a:noFill/>
              <a:prstDash val="solid"/>
              <a:miter/>
            </a:ln>
          </p:spPr>
          <p:txBody>
            <a:bodyPr rtlCol="0" anchor="ctr"/>
            <a:lstStyle/>
            <a:p>
              <a:endParaRPr lang="fr-FR" sz="2400"/>
            </a:p>
          </p:txBody>
        </p:sp>
        <p:sp>
          <p:nvSpPr>
            <p:cNvPr id="82" name="Freeform: Shape 81">
              <a:extLst>
                <a:ext uri="{FF2B5EF4-FFF2-40B4-BE49-F238E27FC236}">
                  <a16:creationId xmlns:a16="http://schemas.microsoft.com/office/drawing/2014/main" id="{FCE720EA-9FD3-41A7-AC52-5246E60EFFCF}"/>
                </a:ext>
              </a:extLst>
            </p:cNvPr>
            <p:cNvSpPr/>
            <p:nvPr/>
          </p:nvSpPr>
          <p:spPr>
            <a:xfrm>
              <a:off x="1088532" y="521795"/>
              <a:ext cx="6246" cy="12492"/>
            </a:xfrm>
            <a:custGeom>
              <a:avLst/>
              <a:gdLst>
                <a:gd name="connsiteX0" fmla="*/ 2124 w 6246"/>
                <a:gd name="connsiteY0" fmla="*/ 18363 h 12492"/>
                <a:gd name="connsiteX1" fmla="*/ 0 w 6246"/>
                <a:gd name="connsiteY1" fmla="*/ 13554 h 12492"/>
                <a:gd name="connsiteX2" fmla="*/ 3185 w 6246"/>
                <a:gd name="connsiteY2" fmla="*/ 0 h 12492"/>
                <a:gd name="connsiteX3" fmla="*/ 5621 w 6246"/>
                <a:gd name="connsiteY3" fmla="*/ 5372 h 12492"/>
                <a:gd name="connsiteX4" fmla="*/ 6996 w 6246"/>
                <a:gd name="connsiteY4" fmla="*/ 7683 h 12492"/>
                <a:gd name="connsiteX5" fmla="*/ 5996 w 6246"/>
                <a:gd name="connsiteY5" fmla="*/ 15428 h 12492"/>
                <a:gd name="connsiteX6" fmla="*/ 3498 w 6246"/>
                <a:gd name="connsiteY6" fmla="*/ 18551 h 12492"/>
                <a:gd name="connsiteX7" fmla="*/ 2124 w 6246"/>
                <a:gd name="connsiteY7" fmla="*/ 1836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2124" y="18363"/>
                  </a:moveTo>
                  <a:cubicBezTo>
                    <a:pt x="1437" y="16739"/>
                    <a:pt x="687" y="15115"/>
                    <a:pt x="0" y="13554"/>
                  </a:cubicBezTo>
                  <a:cubicBezTo>
                    <a:pt x="1062" y="9057"/>
                    <a:pt x="2124" y="4497"/>
                    <a:pt x="3185" y="0"/>
                  </a:cubicBezTo>
                  <a:cubicBezTo>
                    <a:pt x="4310" y="1686"/>
                    <a:pt x="3560" y="4060"/>
                    <a:pt x="5621" y="5372"/>
                  </a:cubicBezTo>
                  <a:cubicBezTo>
                    <a:pt x="6496" y="5934"/>
                    <a:pt x="6933" y="6683"/>
                    <a:pt x="6996" y="7683"/>
                  </a:cubicBezTo>
                  <a:cubicBezTo>
                    <a:pt x="6808" y="10244"/>
                    <a:pt x="6059" y="12804"/>
                    <a:pt x="5996" y="15428"/>
                  </a:cubicBezTo>
                  <a:cubicBezTo>
                    <a:pt x="5309" y="16552"/>
                    <a:pt x="4560" y="17676"/>
                    <a:pt x="3498" y="18551"/>
                  </a:cubicBezTo>
                  <a:cubicBezTo>
                    <a:pt x="2998" y="18676"/>
                    <a:pt x="2561" y="18613"/>
                    <a:pt x="2124" y="18363"/>
                  </a:cubicBezTo>
                  <a:close/>
                </a:path>
              </a:pathLst>
            </a:custGeom>
            <a:grpFill/>
            <a:ln w="6246" cap="flat">
              <a:noFill/>
              <a:prstDash val="solid"/>
              <a:miter/>
            </a:ln>
          </p:spPr>
          <p:txBody>
            <a:bodyPr rtlCol="0" anchor="ctr"/>
            <a:lstStyle/>
            <a:p>
              <a:endParaRPr lang="fr-FR" sz="2400"/>
            </a:p>
          </p:txBody>
        </p:sp>
        <p:sp>
          <p:nvSpPr>
            <p:cNvPr id="83" name="Freeform: Shape 82">
              <a:extLst>
                <a:ext uri="{FF2B5EF4-FFF2-40B4-BE49-F238E27FC236}">
                  <a16:creationId xmlns:a16="http://schemas.microsoft.com/office/drawing/2014/main" id="{974010D8-4B51-4255-8272-BAAFB2F336AE}"/>
                </a:ext>
              </a:extLst>
            </p:cNvPr>
            <p:cNvSpPr/>
            <p:nvPr/>
          </p:nvSpPr>
          <p:spPr>
            <a:xfrm>
              <a:off x="1096606" y="588282"/>
              <a:ext cx="6246" cy="18738"/>
            </a:xfrm>
            <a:custGeom>
              <a:avLst/>
              <a:gdLst>
                <a:gd name="connsiteX0" fmla="*/ 1482 w 6246"/>
                <a:gd name="connsiteY0" fmla="*/ 5093 h 18738"/>
                <a:gd name="connsiteX1" fmla="*/ 545 w 6246"/>
                <a:gd name="connsiteY1" fmla="*/ 159 h 18738"/>
                <a:gd name="connsiteX2" fmla="*/ 1920 w 6246"/>
                <a:gd name="connsiteY2" fmla="*/ 222 h 18738"/>
                <a:gd name="connsiteX3" fmla="*/ 2794 w 6246"/>
                <a:gd name="connsiteY3" fmla="*/ 1283 h 18738"/>
                <a:gd name="connsiteX4" fmla="*/ 7229 w 6246"/>
                <a:gd name="connsiteY4" fmla="*/ 13713 h 18738"/>
                <a:gd name="connsiteX5" fmla="*/ 8103 w 6246"/>
                <a:gd name="connsiteY5" fmla="*/ 20459 h 18738"/>
                <a:gd name="connsiteX6" fmla="*/ 420 w 6246"/>
                <a:gd name="connsiteY6" fmla="*/ 10840 h 18738"/>
                <a:gd name="connsiteX7" fmla="*/ 1482 w 6246"/>
                <a:gd name="connsiteY7" fmla="*/ 50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8738">
                  <a:moveTo>
                    <a:pt x="1482" y="5093"/>
                  </a:moveTo>
                  <a:cubicBezTo>
                    <a:pt x="545" y="3532"/>
                    <a:pt x="358" y="1908"/>
                    <a:pt x="545" y="159"/>
                  </a:cubicBezTo>
                  <a:cubicBezTo>
                    <a:pt x="1045" y="-91"/>
                    <a:pt x="1482" y="-28"/>
                    <a:pt x="1920" y="222"/>
                  </a:cubicBezTo>
                  <a:cubicBezTo>
                    <a:pt x="2294" y="534"/>
                    <a:pt x="2544" y="909"/>
                    <a:pt x="2794" y="1283"/>
                  </a:cubicBezTo>
                  <a:cubicBezTo>
                    <a:pt x="4980" y="5218"/>
                    <a:pt x="4730" y="9903"/>
                    <a:pt x="7229" y="13713"/>
                  </a:cubicBezTo>
                  <a:cubicBezTo>
                    <a:pt x="8103" y="15899"/>
                    <a:pt x="9977" y="17960"/>
                    <a:pt x="8103" y="20459"/>
                  </a:cubicBezTo>
                  <a:cubicBezTo>
                    <a:pt x="4106" y="18210"/>
                    <a:pt x="4043" y="13338"/>
                    <a:pt x="420" y="10840"/>
                  </a:cubicBezTo>
                  <a:cubicBezTo>
                    <a:pt x="-516" y="8779"/>
                    <a:pt x="233" y="6842"/>
                    <a:pt x="1482" y="5093"/>
                  </a:cubicBezTo>
                  <a:close/>
                </a:path>
              </a:pathLst>
            </a:custGeom>
            <a:grpFill/>
            <a:ln w="6246" cap="flat">
              <a:noFill/>
              <a:prstDash val="solid"/>
              <a:miter/>
            </a:ln>
          </p:spPr>
          <p:txBody>
            <a:bodyPr rtlCol="0" anchor="ctr"/>
            <a:lstStyle/>
            <a:p>
              <a:endParaRPr lang="fr-FR" sz="2400"/>
            </a:p>
          </p:txBody>
        </p:sp>
        <p:sp>
          <p:nvSpPr>
            <p:cNvPr id="84" name="Freeform: Shape 83">
              <a:extLst>
                <a:ext uri="{FF2B5EF4-FFF2-40B4-BE49-F238E27FC236}">
                  <a16:creationId xmlns:a16="http://schemas.microsoft.com/office/drawing/2014/main" id="{5AC7963C-CA3F-49E7-A845-45485FB9DE2D}"/>
                </a:ext>
              </a:extLst>
            </p:cNvPr>
            <p:cNvSpPr/>
            <p:nvPr/>
          </p:nvSpPr>
          <p:spPr>
            <a:xfrm>
              <a:off x="1101883" y="597107"/>
              <a:ext cx="6246" cy="12492"/>
            </a:xfrm>
            <a:custGeom>
              <a:avLst/>
              <a:gdLst>
                <a:gd name="connsiteX0" fmla="*/ 2889 w 6246"/>
                <a:gd name="connsiteY0" fmla="*/ 11633 h 12492"/>
                <a:gd name="connsiteX1" fmla="*/ 515 w 6246"/>
                <a:gd name="connsiteY1" fmla="*/ 5013 h 12492"/>
                <a:gd name="connsiteX2" fmla="*/ 141 w 6246"/>
                <a:gd name="connsiteY2" fmla="*/ 390 h 12492"/>
                <a:gd name="connsiteX3" fmla="*/ 3014 w 6246"/>
                <a:gd name="connsiteY3" fmla="*/ 1827 h 12492"/>
                <a:gd name="connsiteX4" fmla="*/ 5762 w 6246"/>
                <a:gd name="connsiteY4" fmla="*/ 8948 h 12492"/>
                <a:gd name="connsiteX5" fmla="*/ 8011 w 6246"/>
                <a:gd name="connsiteY5" fmla="*/ 13570 h 12492"/>
                <a:gd name="connsiteX6" fmla="*/ 8073 w 6246"/>
                <a:gd name="connsiteY6" fmla="*/ 18379 h 12492"/>
                <a:gd name="connsiteX7" fmla="*/ 6012 w 6246"/>
                <a:gd name="connsiteY7" fmla="*/ 17192 h 12492"/>
                <a:gd name="connsiteX8" fmla="*/ 2889 w 6246"/>
                <a:gd name="connsiteY8" fmla="*/ 1163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2889" y="11633"/>
                  </a:moveTo>
                  <a:cubicBezTo>
                    <a:pt x="2764" y="9260"/>
                    <a:pt x="1577" y="7136"/>
                    <a:pt x="515" y="5013"/>
                  </a:cubicBezTo>
                  <a:cubicBezTo>
                    <a:pt x="-297" y="3514"/>
                    <a:pt x="78" y="1952"/>
                    <a:pt x="141" y="390"/>
                  </a:cubicBezTo>
                  <a:cubicBezTo>
                    <a:pt x="2077" y="-734"/>
                    <a:pt x="2514" y="828"/>
                    <a:pt x="3014" y="1827"/>
                  </a:cubicBezTo>
                  <a:cubicBezTo>
                    <a:pt x="4138" y="4138"/>
                    <a:pt x="4763" y="6637"/>
                    <a:pt x="5762" y="8948"/>
                  </a:cubicBezTo>
                  <a:cubicBezTo>
                    <a:pt x="6387" y="10509"/>
                    <a:pt x="7261" y="12008"/>
                    <a:pt x="8011" y="13570"/>
                  </a:cubicBezTo>
                  <a:cubicBezTo>
                    <a:pt x="8385" y="15194"/>
                    <a:pt x="9572" y="16755"/>
                    <a:pt x="8073" y="18379"/>
                  </a:cubicBezTo>
                  <a:cubicBezTo>
                    <a:pt x="7386" y="18004"/>
                    <a:pt x="6699" y="17630"/>
                    <a:pt x="6012" y="17192"/>
                  </a:cubicBezTo>
                  <a:cubicBezTo>
                    <a:pt x="5387" y="15256"/>
                    <a:pt x="4388" y="13320"/>
                    <a:pt x="2889" y="11633"/>
                  </a:cubicBezTo>
                  <a:close/>
                </a:path>
              </a:pathLst>
            </a:custGeom>
            <a:grpFill/>
            <a:ln w="6246" cap="flat">
              <a:noFill/>
              <a:prstDash val="solid"/>
              <a:miter/>
            </a:ln>
          </p:spPr>
          <p:txBody>
            <a:bodyPr rtlCol="0" anchor="ctr"/>
            <a:lstStyle/>
            <a:p>
              <a:endParaRPr lang="fr-FR" sz="2400"/>
            </a:p>
          </p:txBody>
        </p:sp>
        <p:sp>
          <p:nvSpPr>
            <p:cNvPr id="85" name="Freeform: Shape 84">
              <a:extLst>
                <a:ext uri="{FF2B5EF4-FFF2-40B4-BE49-F238E27FC236}">
                  <a16:creationId xmlns:a16="http://schemas.microsoft.com/office/drawing/2014/main" id="{B51B6A76-9600-4C81-A4D4-F32B3C0E3D5A}"/>
                </a:ext>
              </a:extLst>
            </p:cNvPr>
            <p:cNvSpPr/>
            <p:nvPr/>
          </p:nvSpPr>
          <p:spPr>
            <a:xfrm>
              <a:off x="1093872" y="592323"/>
              <a:ext cx="6246" cy="6246"/>
            </a:xfrm>
            <a:custGeom>
              <a:avLst/>
              <a:gdLst>
                <a:gd name="connsiteX0" fmla="*/ 4216 w 0"/>
                <a:gd name="connsiteY0" fmla="*/ 1053 h 6246"/>
                <a:gd name="connsiteX1" fmla="*/ 3217 w 0"/>
                <a:gd name="connsiteY1" fmla="*/ 6861 h 6246"/>
                <a:gd name="connsiteX2" fmla="*/ 32 w 0"/>
                <a:gd name="connsiteY2" fmla="*/ 2052 h 6246"/>
                <a:gd name="connsiteX3" fmla="*/ 4216 w 0"/>
                <a:gd name="connsiteY3" fmla="*/ 1053 h 6246"/>
              </a:gdLst>
              <a:ahLst/>
              <a:cxnLst>
                <a:cxn ang="0">
                  <a:pos x="connsiteX0" y="connsiteY0"/>
                </a:cxn>
                <a:cxn ang="0">
                  <a:pos x="connsiteX1" y="connsiteY1"/>
                </a:cxn>
                <a:cxn ang="0">
                  <a:pos x="connsiteX2" y="connsiteY2"/>
                </a:cxn>
                <a:cxn ang="0">
                  <a:pos x="connsiteX3" y="connsiteY3"/>
                </a:cxn>
              </a:cxnLst>
              <a:rect l="l" t="t" r="r" b="b"/>
              <a:pathLst>
                <a:path h="6246">
                  <a:moveTo>
                    <a:pt x="4216" y="1053"/>
                  </a:moveTo>
                  <a:cubicBezTo>
                    <a:pt x="4341" y="3051"/>
                    <a:pt x="4466" y="5050"/>
                    <a:pt x="3217" y="6861"/>
                  </a:cubicBezTo>
                  <a:cubicBezTo>
                    <a:pt x="1031" y="5862"/>
                    <a:pt x="-218" y="4363"/>
                    <a:pt x="32" y="2052"/>
                  </a:cubicBezTo>
                  <a:cubicBezTo>
                    <a:pt x="157" y="-2820"/>
                    <a:pt x="3217" y="2739"/>
                    <a:pt x="4216" y="1053"/>
                  </a:cubicBezTo>
                  <a:close/>
                </a:path>
              </a:pathLst>
            </a:custGeom>
            <a:grpFill/>
            <a:ln w="6246" cap="flat">
              <a:noFill/>
              <a:prstDash val="solid"/>
              <a:miter/>
            </a:ln>
          </p:spPr>
          <p:txBody>
            <a:bodyPr rtlCol="0" anchor="ctr"/>
            <a:lstStyle/>
            <a:p>
              <a:endParaRPr lang="fr-FR" sz="2400"/>
            </a:p>
          </p:txBody>
        </p:sp>
        <p:sp>
          <p:nvSpPr>
            <p:cNvPr id="86" name="Freeform: Shape 85">
              <a:extLst>
                <a:ext uri="{FF2B5EF4-FFF2-40B4-BE49-F238E27FC236}">
                  <a16:creationId xmlns:a16="http://schemas.microsoft.com/office/drawing/2014/main" id="{D8668158-239A-4796-A9A0-8E64343D2551}"/>
                </a:ext>
              </a:extLst>
            </p:cNvPr>
            <p:cNvSpPr/>
            <p:nvPr/>
          </p:nvSpPr>
          <p:spPr>
            <a:xfrm>
              <a:off x="1094569" y="506368"/>
              <a:ext cx="6246" cy="6246"/>
            </a:xfrm>
            <a:custGeom>
              <a:avLst/>
              <a:gdLst>
                <a:gd name="connsiteX0" fmla="*/ 1458 w 0"/>
                <a:gd name="connsiteY0" fmla="*/ 0 h 6246"/>
                <a:gd name="connsiteX1" fmla="*/ 396 w 0"/>
                <a:gd name="connsiteY1" fmla="*/ 9681 h 6246"/>
                <a:gd name="connsiteX2" fmla="*/ 1458 w 0"/>
                <a:gd name="connsiteY2" fmla="*/ 0 h 6246"/>
              </a:gdLst>
              <a:ahLst/>
              <a:cxnLst>
                <a:cxn ang="0">
                  <a:pos x="connsiteX0" y="connsiteY0"/>
                </a:cxn>
                <a:cxn ang="0">
                  <a:pos x="connsiteX1" y="connsiteY1"/>
                </a:cxn>
                <a:cxn ang="0">
                  <a:pos x="connsiteX2" y="connsiteY2"/>
                </a:cxn>
              </a:cxnLst>
              <a:rect l="l" t="t" r="r" b="b"/>
              <a:pathLst>
                <a:path h="6246">
                  <a:moveTo>
                    <a:pt x="1458" y="0"/>
                  </a:moveTo>
                  <a:cubicBezTo>
                    <a:pt x="3957" y="3498"/>
                    <a:pt x="1645" y="6558"/>
                    <a:pt x="396" y="9681"/>
                  </a:cubicBezTo>
                  <a:cubicBezTo>
                    <a:pt x="-728" y="6309"/>
                    <a:pt x="834" y="3186"/>
                    <a:pt x="1458" y="0"/>
                  </a:cubicBezTo>
                  <a:close/>
                </a:path>
              </a:pathLst>
            </a:custGeom>
            <a:grpFill/>
            <a:ln w="6246" cap="flat">
              <a:noFill/>
              <a:prstDash val="solid"/>
              <a:miter/>
            </a:ln>
          </p:spPr>
          <p:txBody>
            <a:bodyPr rtlCol="0" anchor="ctr"/>
            <a:lstStyle/>
            <a:p>
              <a:endParaRPr lang="fr-FR" sz="2400"/>
            </a:p>
          </p:txBody>
        </p:sp>
        <p:sp>
          <p:nvSpPr>
            <p:cNvPr id="87" name="Freeform: Shape 86">
              <a:extLst>
                <a:ext uri="{FF2B5EF4-FFF2-40B4-BE49-F238E27FC236}">
                  <a16:creationId xmlns:a16="http://schemas.microsoft.com/office/drawing/2014/main" id="{82FA47B5-E8BC-4419-BFC1-5C672A4F15FA}"/>
                </a:ext>
              </a:extLst>
            </p:cNvPr>
            <p:cNvSpPr/>
            <p:nvPr/>
          </p:nvSpPr>
          <p:spPr>
            <a:xfrm>
              <a:off x="1091655" y="519859"/>
              <a:ext cx="6246" cy="6246"/>
            </a:xfrm>
            <a:custGeom>
              <a:avLst/>
              <a:gdLst>
                <a:gd name="connsiteX0" fmla="*/ 2186 w 0"/>
                <a:gd name="connsiteY0" fmla="*/ 7745 h 6246"/>
                <a:gd name="connsiteX1" fmla="*/ 0 w 0"/>
                <a:gd name="connsiteY1" fmla="*/ 1936 h 6246"/>
                <a:gd name="connsiteX2" fmla="*/ 1124 w 0"/>
                <a:gd name="connsiteY2" fmla="*/ 0 h 6246"/>
                <a:gd name="connsiteX3" fmla="*/ 3248 w 0"/>
                <a:gd name="connsiteY3" fmla="*/ 6746 h 6246"/>
                <a:gd name="connsiteX4" fmla="*/ 2186 w 0"/>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86" y="7745"/>
                  </a:moveTo>
                  <a:cubicBezTo>
                    <a:pt x="-687" y="6433"/>
                    <a:pt x="250" y="3997"/>
                    <a:pt x="0" y="1936"/>
                  </a:cubicBezTo>
                  <a:cubicBezTo>
                    <a:pt x="375" y="1312"/>
                    <a:pt x="749" y="687"/>
                    <a:pt x="1124" y="0"/>
                  </a:cubicBezTo>
                  <a:cubicBezTo>
                    <a:pt x="3248" y="1874"/>
                    <a:pt x="-62" y="5184"/>
                    <a:pt x="3248" y="6746"/>
                  </a:cubicBezTo>
                  <a:cubicBezTo>
                    <a:pt x="3560" y="7620"/>
                    <a:pt x="3310" y="8057"/>
                    <a:pt x="2186" y="7745"/>
                  </a:cubicBezTo>
                  <a:close/>
                </a:path>
              </a:pathLst>
            </a:custGeom>
            <a:grpFill/>
            <a:ln w="6246" cap="flat">
              <a:noFill/>
              <a:prstDash val="solid"/>
              <a:miter/>
            </a:ln>
          </p:spPr>
          <p:txBody>
            <a:bodyPr rtlCol="0" anchor="ctr"/>
            <a:lstStyle/>
            <a:p>
              <a:endParaRPr lang="fr-FR" sz="2400"/>
            </a:p>
          </p:txBody>
        </p:sp>
        <p:sp>
          <p:nvSpPr>
            <p:cNvPr id="88" name="Freeform: Shape 87">
              <a:extLst>
                <a:ext uri="{FF2B5EF4-FFF2-40B4-BE49-F238E27FC236}">
                  <a16:creationId xmlns:a16="http://schemas.microsoft.com/office/drawing/2014/main" id="{58085100-B2E8-4A48-B155-E1CC2B77CE7B}"/>
                </a:ext>
              </a:extLst>
            </p:cNvPr>
            <p:cNvSpPr/>
            <p:nvPr/>
          </p:nvSpPr>
          <p:spPr>
            <a:xfrm>
              <a:off x="1087576" y="571139"/>
              <a:ext cx="6246" cy="6246"/>
            </a:xfrm>
            <a:custGeom>
              <a:avLst/>
              <a:gdLst>
                <a:gd name="connsiteX0" fmla="*/ 955 w 0"/>
                <a:gd name="connsiteY0" fmla="*/ 0 h 0"/>
                <a:gd name="connsiteX1" fmla="*/ 2017 w 0"/>
                <a:gd name="connsiteY1" fmla="*/ 3873 h 0"/>
                <a:gd name="connsiteX2" fmla="*/ 955 w 0"/>
                <a:gd name="connsiteY2" fmla="*/ 0 h 0"/>
              </a:gdLst>
              <a:ahLst/>
              <a:cxnLst>
                <a:cxn ang="0">
                  <a:pos x="connsiteX0" y="connsiteY0"/>
                </a:cxn>
                <a:cxn ang="0">
                  <a:pos x="connsiteX1" y="connsiteY1"/>
                </a:cxn>
                <a:cxn ang="0">
                  <a:pos x="connsiteX2" y="connsiteY2"/>
                </a:cxn>
              </a:cxnLst>
              <a:rect l="l" t="t" r="r" b="b"/>
              <a:pathLst>
                <a:path>
                  <a:moveTo>
                    <a:pt x="955" y="0"/>
                  </a:moveTo>
                  <a:cubicBezTo>
                    <a:pt x="2455" y="999"/>
                    <a:pt x="1892" y="2498"/>
                    <a:pt x="2017" y="3873"/>
                  </a:cubicBezTo>
                  <a:cubicBezTo>
                    <a:pt x="-1356" y="3248"/>
                    <a:pt x="393" y="1499"/>
                    <a:pt x="955" y="0"/>
                  </a:cubicBezTo>
                  <a:close/>
                </a:path>
              </a:pathLst>
            </a:custGeom>
            <a:grpFill/>
            <a:ln w="6246" cap="flat">
              <a:noFill/>
              <a:prstDash val="solid"/>
              <a:miter/>
            </a:ln>
          </p:spPr>
          <p:txBody>
            <a:bodyPr rtlCol="0" anchor="ctr"/>
            <a:lstStyle/>
            <a:p>
              <a:endParaRPr lang="fr-FR" sz="2400"/>
            </a:p>
          </p:txBody>
        </p:sp>
        <p:sp>
          <p:nvSpPr>
            <p:cNvPr id="89" name="Freeform: Shape 88">
              <a:extLst>
                <a:ext uri="{FF2B5EF4-FFF2-40B4-BE49-F238E27FC236}">
                  <a16:creationId xmlns:a16="http://schemas.microsoft.com/office/drawing/2014/main" id="{B29B83D9-1CFB-429A-9B95-5AFF873B4CA9}"/>
                </a:ext>
              </a:extLst>
            </p:cNvPr>
            <p:cNvSpPr/>
            <p:nvPr/>
          </p:nvSpPr>
          <p:spPr>
            <a:xfrm>
              <a:off x="1182361" y="667194"/>
              <a:ext cx="37476" cy="6246"/>
            </a:xfrm>
            <a:custGeom>
              <a:avLst/>
              <a:gdLst>
                <a:gd name="connsiteX0" fmla="*/ 37713 w 37476"/>
                <a:gd name="connsiteY0" fmla="*/ 10316 h 6246"/>
                <a:gd name="connsiteX1" fmla="*/ 36713 w 37476"/>
                <a:gd name="connsiteY1" fmla="*/ 10441 h 6246"/>
                <a:gd name="connsiteX2" fmla="*/ 14353 w 37476"/>
                <a:gd name="connsiteY2" fmla="*/ 7318 h 6246"/>
                <a:gd name="connsiteX3" fmla="*/ 3609 w 37476"/>
                <a:gd name="connsiteY3" fmla="*/ 4445 h 6246"/>
                <a:gd name="connsiteX4" fmla="*/ 1423 w 37476"/>
                <a:gd name="connsiteY4" fmla="*/ 3508 h 6246"/>
                <a:gd name="connsiteX5" fmla="*/ 299 w 37476"/>
                <a:gd name="connsiteY5" fmla="*/ 2446 h 6246"/>
                <a:gd name="connsiteX6" fmla="*/ 1298 w 37476"/>
                <a:gd name="connsiteY6" fmla="*/ 72 h 6246"/>
                <a:gd name="connsiteX7" fmla="*/ 4421 w 37476"/>
                <a:gd name="connsiteY7" fmla="*/ 510 h 6246"/>
                <a:gd name="connsiteX8" fmla="*/ 32466 w 37476"/>
                <a:gd name="connsiteY8" fmla="*/ 7130 h 6246"/>
                <a:gd name="connsiteX9" fmla="*/ 39087 w 37476"/>
                <a:gd name="connsiteY9" fmla="*/ 10191 h 6246"/>
                <a:gd name="connsiteX10" fmla="*/ 37713 w 37476"/>
                <a:gd name="connsiteY10" fmla="*/ 1031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6246">
                  <a:moveTo>
                    <a:pt x="37713" y="10316"/>
                  </a:moveTo>
                  <a:cubicBezTo>
                    <a:pt x="37338" y="10316"/>
                    <a:pt x="37026" y="10378"/>
                    <a:pt x="36713" y="10441"/>
                  </a:cubicBezTo>
                  <a:cubicBezTo>
                    <a:pt x="29093" y="10316"/>
                    <a:pt x="21660" y="9254"/>
                    <a:pt x="14353" y="7318"/>
                  </a:cubicBezTo>
                  <a:cubicBezTo>
                    <a:pt x="10792" y="6381"/>
                    <a:pt x="6920" y="6256"/>
                    <a:pt x="3609" y="4445"/>
                  </a:cubicBezTo>
                  <a:cubicBezTo>
                    <a:pt x="2860" y="4132"/>
                    <a:pt x="2173" y="3820"/>
                    <a:pt x="1423" y="3508"/>
                  </a:cubicBezTo>
                  <a:cubicBezTo>
                    <a:pt x="986" y="3195"/>
                    <a:pt x="611" y="2821"/>
                    <a:pt x="299" y="2446"/>
                  </a:cubicBezTo>
                  <a:cubicBezTo>
                    <a:pt x="-201" y="1384"/>
                    <a:pt x="-201" y="447"/>
                    <a:pt x="1298" y="72"/>
                  </a:cubicBezTo>
                  <a:cubicBezTo>
                    <a:pt x="2360" y="-115"/>
                    <a:pt x="3422" y="72"/>
                    <a:pt x="4421" y="510"/>
                  </a:cubicBezTo>
                  <a:cubicBezTo>
                    <a:pt x="13291" y="4320"/>
                    <a:pt x="22785" y="6131"/>
                    <a:pt x="32466" y="7130"/>
                  </a:cubicBezTo>
                  <a:cubicBezTo>
                    <a:pt x="34964" y="7380"/>
                    <a:pt x="37900" y="7318"/>
                    <a:pt x="39087" y="10191"/>
                  </a:cubicBezTo>
                  <a:cubicBezTo>
                    <a:pt x="38712" y="10691"/>
                    <a:pt x="38275" y="10753"/>
                    <a:pt x="37713" y="10316"/>
                  </a:cubicBezTo>
                  <a:close/>
                </a:path>
              </a:pathLst>
            </a:custGeom>
            <a:grpFill/>
            <a:ln w="6246" cap="flat">
              <a:noFill/>
              <a:prstDash val="solid"/>
              <a:miter/>
            </a:ln>
          </p:spPr>
          <p:txBody>
            <a:bodyPr rtlCol="0" anchor="ctr"/>
            <a:lstStyle/>
            <a:p>
              <a:endParaRPr lang="fr-FR" sz="2400"/>
            </a:p>
          </p:txBody>
        </p:sp>
        <p:sp>
          <p:nvSpPr>
            <p:cNvPr id="90" name="Freeform: Shape 89">
              <a:extLst>
                <a:ext uri="{FF2B5EF4-FFF2-40B4-BE49-F238E27FC236}">
                  <a16:creationId xmlns:a16="http://schemas.microsoft.com/office/drawing/2014/main" id="{30489BB5-1305-47E4-9AF4-DFF9DC6EB579}"/>
                </a:ext>
              </a:extLst>
            </p:cNvPr>
            <p:cNvSpPr/>
            <p:nvPr/>
          </p:nvSpPr>
          <p:spPr>
            <a:xfrm>
              <a:off x="1185908" y="671638"/>
              <a:ext cx="6246" cy="6246"/>
            </a:xfrm>
            <a:custGeom>
              <a:avLst/>
              <a:gdLst>
                <a:gd name="connsiteX0" fmla="*/ 0 w 6246"/>
                <a:gd name="connsiteY0" fmla="*/ 0 h 0"/>
                <a:gd name="connsiteX1" fmla="*/ 10743 w 6246"/>
                <a:gd name="connsiteY1" fmla="*/ 2873 h 0"/>
                <a:gd name="connsiteX2" fmla="*/ 7433 w 6246"/>
                <a:gd name="connsiteY2" fmla="*/ 3873 h 0"/>
                <a:gd name="connsiteX3" fmla="*/ 6371 w 6246"/>
                <a:gd name="connsiteY3" fmla="*/ 3935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3623" y="937"/>
                    <a:pt x="7683" y="437"/>
                    <a:pt x="10743" y="2873"/>
                  </a:cubicBezTo>
                  <a:cubicBezTo>
                    <a:pt x="9556" y="2998"/>
                    <a:pt x="8307" y="2811"/>
                    <a:pt x="7433" y="3873"/>
                  </a:cubicBezTo>
                  <a:cubicBezTo>
                    <a:pt x="7058" y="3873"/>
                    <a:pt x="6746" y="3935"/>
                    <a:pt x="6371" y="3935"/>
                  </a:cubicBezTo>
                  <a:cubicBezTo>
                    <a:pt x="4310" y="2623"/>
                    <a:pt x="2186" y="1312"/>
                    <a:pt x="0" y="0"/>
                  </a:cubicBezTo>
                  <a:close/>
                </a:path>
              </a:pathLst>
            </a:custGeom>
            <a:grpFill/>
            <a:ln w="6246" cap="flat">
              <a:noFill/>
              <a:prstDash val="solid"/>
              <a:miter/>
            </a:ln>
          </p:spPr>
          <p:txBody>
            <a:bodyPr rtlCol="0" anchor="ctr"/>
            <a:lstStyle/>
            <a:p>
              <a:endParaRPr lang="fr-FR" sz="2400"/>
            </a:p>
          </p:txBody>
        </p:sp>
        <p:sp>
          <p:nvSpPr>
            <p:cNvPr id="91" name="Freeform: Shape 90">
              <a:extLst>
                <a:ext uri="{FF2B5EF4-FFF2-40B4-BE49-F238E27FC236}">
                  <a16:creationId xmlns:a16="http://schemas.microsoft.com/office/drawing/2014/main" id="{D2D1CD43-0E9F-4E2A-96DB-C7CC90A63BB6}"/>
                </a:ext>
              </a:extLst>
            </p:cNvPr>
            <p:cNvSpPr/>
            <p:nvPr/>
          </p:nvSpPr>
          <p:spPr>
            <a:xfrm>
              <a:off x="1169543" y="664199"/>
              <a:ext cx="6246" cy="6246"/>
            </a:xfrm>
            <a:custGeom>
              <a:avLst/>
              <a:gdLst>
                <a:gd name="connsiteX0" fmla="*/ 4622 w 6246"/>
                <a:gd name="connsiteY0" fmla="*/ 4691 h 0"/>
                <a:gd name="connsiteX1" fmla="*/ 3685 w 6246"/>
                <a:gd name="connsiteY1" fmla="*/ 4504 h 0"/>
                <a:gd name="connsiteX2" fmla="*/ 0 w 6246"/>
                <a:gd name="connsiteY2" fmla="*/ 1818 h 0"/>
                <a:gd name="connsiteX3" fmla="*/ 3123 w 6246"/>
                <a:gd name="connsiteY3" fmla="*/ 7 h 0"/>
                <a:gd name="connsiteX4" fmla="*/ 5934 w 6246"/>
                <a:gd name="connsiteY4" fmla="*/ 944 h 0"/>
                <a:gd name="connsiteX5" fmla="*/ 7308 w 6246"/>
                <a:gd name="connsiteY5" fmla="*/ 3317 h 0"/>
                <a:gd name="connsiteX6" fmla="*/ 6746 w 6246"/>
                <a:gd name="connsiteY6" fmla="*/ 4504 h 0"/>
                <a:gd name="connsiteX7" fmla="*/ 4622 w 6246"/>
                <a:gd name="connsiteY7" fmla="*/ 469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4622" y="4691"/>
                  </a:moveTo>
                  <a:cubicBezTo>
                    <a:pt x="4372" y="4504"/>
                    <a:pt x="4060" y="4442"/>
                    <a:pt x="3685" y="4504"/>
                  </a:cubicBezTo>
                  <a:cubicBezTo>
                    <a:pt x="2436" y="3629"/>
                    <a:pt x="1249" y="2693"/>
                    <a:pt x="0" y="1818"/>
                  </a:cubicBezTo>
                  <a:cubicBezTo>
                    <a:pt x="562" y="569"/>
                    <a:pt x="1749" y="194"/>
                    <a:pt x="3123" y="7"/>
                  </a:cubicBezTo>
                  <a:cubicBezTo>
                    <a:pt x="4185" y="-56"/>
                    <a:pt x="5122" y="319"/>
                    <a:pt x="5934" y="944"/>
                  </a:cubicBezTo>
                  <a:cubicBezTo>
                    <a:pt x="6683" y="1568"/>
                    <a:pt x="7245" y="2318"/>
                    <a:pt x="7308" y="3317"/>
                  </a:cubicBezTo>
                  <a:cubicBezTo>
                    <a:pt x="7245" y="3754"/>
                    <a:pt x="7058" y="4192"/>
                    <a:pt x="6746" y="4504"/>
                  </a:cubicBezTo>
                  <a:cubicBezTo>
                    <a:pt x="6059" y="4566"/>
                    <a:pt x="5309" y="4629"/>
                    <a:pt x="4622" y="4691"/>
                  </a:cubicBezTo>
                  <a:close/>
                </a:path>
              </a:pathLst>
            </a:custGeom>
            <a:grpFill/>
            <a:ln w="6246" cap="flat">
              <a:noFill/>
              <a:prstDash val="solid"/>
              <a:miter/>
            </a:ln>
          </p:spPr>
          <p:txBody>
            <a:bodyPr rtlCol="0" anchor="ctr"/>
            <a:lstStyle/>
            <a:p>
              <a:endParaRPr lang="fr-FR" sz="2400"/>
            </a:p>
          </p:txBody>
        </p:sp>
        <p:sp>
          <p:nvSpPr>
            <p:cNvPr id="92" name="Freeform: Shape 91">
              <a:extLst>
                <a:ext uri="{FF2B5EF4-FFF2-40B4-BE49-F238E27FC236}">
                  <a16:creationId xmlns:a16="http://schemas.microsoft.com/office/drawing/2014/main" id="{532955B6-9925-40F1-811A-523B44BD1DB1}"/>
                </a:ext>
              </a:extLst>
            </p:cNvPr>
            <p:cNvSpPr/>
            <p:nvPr/>
          </p:nvSpPr>
          <p:spPr>
            <a:xfrm>
              <a:off x="1176289" y="667120"/>
              <a:ext cx="6246" cy="6246"/>
            </a:xfrm>
            <a:custGeom>
              <a:avLst/>
              <a:gdLst>
                <a:gd name="connsiteX0" fmla="*/ 0 w 6246"/>
                <a:gd name="connsiteY0" fmla="*/ 1583 h 0"/>
                <a:gd name="connsiteX1" fmla="*/ 0 w 6246"/>
                <a:gd name="connsiteY1" fmla="*/ 646 h 0"/>
                <a:gd name="connsiteX2" fmla="*/ 7433 w 6246"/>
                <a:gd name="connsiteY2" fmla="*/ 2582 h 0"/>
                <a:gd name="connsiteX3" fmla="*/ 7495 w 6246"/>
                <a:gd name="connsiteY3" fmla="*/ 3519 h 0"/>
                <a:gd name="connsiteX4" fmla="*/ 0 w 6246"/>
                <a:gd name="connsiteY4" fmla="*/ 15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583"/>
                  </a:moveTo>
                  <a:cubicBezTo>
                    <a:pt x="0" y="1271"/>
                    <a:pt x="0" y="958"/>
                    <a:pt x="0" y="646"/>
                  </a:cubicBezTo>
                  <a:cubicBezTo>
                    <a:pt x="3248" y="-1165"/>
                    <a:pt x="5184" y="1271"/>
                    <a:pt x="7433" y="2582"/>
                  </a:cubicBezTo>
                  <a:cubicBezTo>
                    <a:pt x="7433" y="2895"/>
                    <a:pt x="7495" y="3207"/>
                    <a:pt x="7495" y="3519"/>
                  </a:cubicBezTo>
                  <a:cubicBezTo>
                    <a:pt x="4560" y="4269"/>
                    <a:pt x="2436" y="2520"/>
                    <a:pt x="0" y="1583"/>
                  </a:cubicBezTo>
                  <a:close/>
                </a:path>
              </a:pathLst>
            </a:custGeom>
            <a:grpFill/>
            <a:ln w="6246" cap="flat">
              <a:noFill/>
              <a:prstDash val="solid"/>
              <a:miter/>
            </a:ln>
          </p:spPr>
          <p:txBody>
            <a:bodyPr rtlCol="0" anchor="ctr"/>
            <a:lstStyle/>
            <a:p>
              <a:endParaRPr lang="fr-FR" sz="2400"/>
            </a:p>
          </p:txBody>
        </p:sp>
        <p:sp>
          <p:nvSpPr>
            <p:cNvPr id="93" name="Freeform: Shape 92">
              <a:extLst>
                <a:ext uri="{FF2B5EF4-FFF2-40B4-BE49-F238E27FC236}">
                  <a16:creationId xmlns:a16="http://schemas.microsoft.com/office/drawing/2014/main" id="{FACB4953-0FBE-415D-B25C-D960BDE08CCD}"/>
                </a:ext>
              </a:extLst>
            </p:cNvPr>
            <p:cNvSpPr/>
            <p:nvPr/>
          </p:nvSpPr>
          <p:spPr>
            <a:xfrm>
              <a:off x="1164547" y="662681"/>
              <a:ext cx="6246" cy="6246"/>
            </a:xfrm>
            <a:custGeom>
              <a:avLst/>
              <a:gdLst>
                <a:gd name="connsiteX0" fmla="*/ 62 w 6246"/>
                <a:gd name="connsiteY0" fmla="*/ 2024 h 0"/>
                <a:gd name="connsiteX1" fmla="*/ 0 w 6246"/>
                <a:gd name="connsiteY1" fmla="*/ 1212 h 0"/>
                <a:gd name="connsiteX2" fmla="*/ 5622 w 6246"/>
                <a:gd name="connsiteY2" fmla="*/ 588 h 0"/>
                <a:gd name="connsiteX3" fmla="*/ 4310 w 6246"/>
                <a:gd name="connsiteY3" fmla="*/ 2961 h 0"/>
                <a:gd name="connsiteX4" fmla="*/ 62 w 6246"/>
                <a:gd name="connsiteY4" fmla="*/ 202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62" y="2024"/>
                  </a:moveTo>
                  <a:cubicBezTo>
                    <a:pt x="62" y="1775"/>
                    <a:pt x="62" y="1525"/>
                    <a:pt x="0" y="1212"/>
                  </a:cubicBezTo>
                  <a:cubicBezTo>
                    <a:pt x="1686" y="-349"/>
                    <a:pt x="3623" y="-224"/>
                    <a:pt x="5622" y="588"/>
                  </a:cubicBezTo>
                  <a:cubicBezTo>
                    <a:pt x="7745" y="2524"/>
                    <a:pt x="5309" y="2462"/>
                    <a:pt x="4310" y="2961"/>
                  </a:cubicBezTo>
                  <a:cubicBezTo>
                    <a:pt x="2873" y="2711"/>
                    <a:pt x="1499" y="2337"/>
                    <a:pt x="62" y="2024"/>
                  </a:cubicBezTo>
                  <a:close/>
                </a:path>
              </a:pathLst>
            </a:custGeom>
            <a:grpFill/>
            <a:ln w="6246" cap="flat">
              <a:noFill/>
              <a:prstDash val="solid"/>
              <a:miter/>
            </a:ln>
          </p:spPr>
          <p:txBody>
            <a:bodyPr rtlCol="0" anchor="ctr"/>
            <a:lstStyle/>
            <a:p>
              <a:endParaRPr lang="fr-FR" sz="2400"/>
            </a:p>
          </p:txBody>
        </p:sp>
        <p:sp>
          <p:nvSpPr>
            <p:cNvPr id="94" name="Freeform: Shape 93">
              <a:extLst>
                <a:ext uri="{FF2B5EF4-FFF2-40B4-BE49-F238E27FC236}">
                  <a16:creationId xmlns:a16="http://schemas.microsoft.com/office/drawing/2014/main" id="{5C7AA376-C713-454C-B95C-F78FBAFF7FD9}"/>
                </a:ext>
              </a:extLst>
            </p:cNvPr>
            <p:cNvSpPr/>
            <p:nvPr/>
          </p:nvSpPr>
          <p:spPr>
            <a:xfrm>
              <a:off x="1168856" y="663391"/>
              <a:ext cx="6246" cy="6246"/>
            </a:xfrm>
            <a:custGeom>
              <a:avLst/>
              <a:gdLst>
                <a:gd name="connsiteX0" fmla="*/ 0 w 0"/>
                <a:gd name="connsiteY0" fmla="*/ 2313 h 0"/>
                <a:gd name="connsiteX1" fmla="*/ 1999 w 0"/>
                <a:gd name="connsiteY1" fmla="*/ 565 h 0"/>
                <a:gd name="connsiteX2" fmla="*/ 2498 w 0"/>
                <a:gd name="connsiteY2" fmla="*/ 127 h 0"/>
                <a:gd name="connsiteX3" fmla="*/ 4435 w 0"/>
                <a:gd name="connsiteY3" fmla="*/ 440 h 0"/>
                <a:gd name="connsiteX4" fmla="*/ 4122 w 0"/>
                <a:gd name="connsiteY4" fmla="*/ 1501 h 0"/>
                <a:gd name="connsiteX5" fmla="*/ 687 w 0"/>
                <a:gd name="connsiteY5" fmla="*/ 2626 h 0"/>
                <a:gd name="connsiteX6" fmla="*/ 0 w 0"/>
                <a:gd name="connsiteY6" fmla="*/ 231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313"/>
                  </a:moveTo>
                  <a:cubicBezTo>
                    <a:pt x="687" y="1751"/>
                    <a:pt x="1312" y="1189"/>
                    <a:pt x="1999" y="565"/>
                  </a:cubicBezTo>
                  <a:cubicBezTo>
                    <a:pt x="2186" y="440"/>
                    <a:pt x="2311" y="252"/>
                    <a:pt x="2498" y="127"/>
                  </a:cubicBezTo>
                  <a:cubicBezTo>
                    <a:pt x="3185" y="-123"/>
                    <a:pt x="3873" y="2"/>
                    <a:pt x="4435" y="440"/>
                  </a:cubicBezTo>
                  <a:cubicBezTo>
                    <a:pt x="4622" y="877"/>
                    <a:pt x="4560" y="1189"/>
                    <a:pt x="4122" y="1501"/>
                  </a:cubicBezTo>
                  <a:cubicBezTo>
                    <a:pt x="2998" y="1876"/>
                    <a:pt x="1811" y="2251"/>
                    <a:pt x="687" y="2626"/>
                  </a:cubicBezTo>
                  <a:cubicBezTo>
                    <a:pt x="437" y="2626"/>
                    <a:pt x="187" y="2501"/>
                    <a:pt x="0" y="2313"/>
                  </a:cubicBezTo>
                  <a:close/>
                </a:path>
              </a:pathLst>
            </a:custGeom>
            <a:grpFill/>
            <a:ln w="6246" cap="flat">
              <a:noFill/>
              <a:prstDash val="solid"/>
              <a:miter/>
            </a:ln>
          </p:spPr>
          <p:txBody>
            <a:bodyPr rtlCol="0" anchor="ctr"/>
            <a:lstStyle/>
            <a:p>
              <a:endParaRPr lang="fr-FR" sz="2400"/>
            </a:p>
          </p:txBody>
        </p:sp>
        <p:sp>
          <p:nvSpPr>
            <p:cNvPr id="95" name="Freeform: Shape 94">
              <a:extLst>
                <a:ext uri="{FF2B5EF4-FFF2-40B4-BE49-F238E27FC236}">
                  <a16:creationId xmlns:a16="http://schemas.microsoft.com/office/drawing/2014/main" id="{2B44269E-BC83-47A6-8018-941E0B694D03}"/>
                </a:ext>
              </a:extLst>
            </p:cNvPr>
            <p:cNvSpPr/>
            <p:nvPr/>
          </p:nvSpPr>
          <p:spPr>
            <a:xfrm>
              <a:off x="1241123" y="398186"/>
              <a:ext cx="143660" cy="49969"/>
            </a:xfrm>
            <a:custGeom>
              <a:avLst/>
              <a:gdLst>
                <a:gd name="connsiteX0" fmla="*/ 26171 w 143659"/>
                <a:gd name="connsiteY0" fmla="*/ 937 h 49968"/>
                <a:gd name="connsiteX1" fmla="*/ 30356 w 143659"/>
                <a:gd name="connsiteY1" fmla="*/ 437 h 49968"/>
                <a:gd name="connsiteX2" fmla="*/ 51593 w 143659"/>
                <a:gd name="connsiteY2" fmla="*/ 0 h 49968"/>
                <a:gd name="connsiteX3" fmla="*/ 65584 w 143659"/>
                <a:gd name="connsiteY3" fmla="*/ 1999 h 49968"/>
                <a:gd name="connsiteX4" fmla="*/ 81636 w 143659"/>
                <a:gd name="connsiteY4" fmla="*/ 4872 h 49968"/>
                <a:gd name="connsiteX5" fmla="*/ 101998 w 143659"/>
                <a:gd name="connsiteY5" fmla="*/ 11493 h 49968"/>
                <a:gd name="connsiteX6" fmla="*/ 103872 w 143659"/>
                <a:gd name="connsiteY6" fmla="*/ 12242 h 49968"/>
                <a:gd name="connsiteX7" fmla="*/ 108557 w 143659"/>
                <a:gd name="connsiteY7" fmla="*/ 14303 h 49968"/>
                <a:gd name="connsiteX8" fmla="*/ 109556 w 143659"/>
                <a:gd name="connsiteY8" fmla="*/ 14741 h 49968"/>
                <a:gd name="connsiteX9" fmla="*/ 118238 w 143659"/>
                <a:gd name="connsiteY9" fmla="*/ 19363 h 49968"/>
                <a:gd name="connsiteX10" fmla="*/ 127795 w 143659"/>
                <a:gd name="connsiteY10" fmla="*/ 25984 h 49968"/>
                <a:gd name="connsiteX11" fmla="*/ 128669 w 143659"/>
                <a:gd name="connsiteY11" fmla="*/ 26983 h 49968"/>
                <a:gd name="connsiteX12" fmla="*/ 129793 w 143659"/>
                <a:gd name="connsiteY12" fmla="*/ 28045 h 49968"/>
                <a:gd name="connsiteX13" fmla="*/ 135165 w 143659"/>
                <a:gd name="connsiteY13" fmla="*/ 34291 h 49968"/>
                <a:gd name="connsiteX14" fmla="*/ 144472 w 143659"/>
                <a:gd name="connsiteY14" fmla="*/ 45784 h 49968"/>
                <a:gd name="connsiteX15" fmla="*/ 145846 w 143659"/>
                <a:gd name="connsiteY15" fmla="*/ 53904 h 49968"/>
                <a:gd name="connsiteX16" fmla="*/ 145596 w 143659"/>
                <a:gd name="connsiteY16" fmla="*/ 54591 h 49968"/>
                <a:gd name="connsiteX17" fmla="*/ 144409 w 143659"/>
                <a:gd name="connsiteY17" fmla="*/ 55465 h 49968"/>
                <a:gd name="connsiteX18" fmla="*/ 139662 w 143659"/>
                <a:gd name="connsiteY18" fmla="*/ 53841 h 49968"/>
                <a:gd name="connsiteX19" fmla="*/ 129418 w 143659"/>
                <a:gd name="connsiteY19" fmla="*/ 45409 h 49968"/>
                <a:gd name="connsiteX20" fmla="*/ 121861 w 143659"/>
                <a:gd name="connsiteY20" fmla="*/ 42848 h 49968"/>
                <a:gd name="connsiteX21" fmla="*/ 119925 w 143659"/>
                <a:gd name="connsiteY21" fmla="*/ 42223 h 49968"/>
                <a:gd name="connsiteX22" fmla="*/ 108869 w 143659"/>
                <a:gd name="connsiteY22" fmla="*/ 32854 h 49968"/>
                <a:gd name="connsiteX23" fmla="*/ 114803 w 143659"/>
                <a:gd name="connsiteY23" fmla="*/ 32292 h 49968"/>
                <a:gd name="connsiteX24" fmla="*/ 119612 w 143659"/>
                <a:gd name="connsiteY24" fmla="*/ 34853 h 49968"/>
                <a:gd name="connsiteX25" fmla="*/ 105558 w 143659"/>
                <a:gd name="connsiteY25" fmla="*/ 27045 h 49968"/>
                <a:gd name="connsiteX26" fmla="*/ 105496 w 143659"/>
                <a:gd name="connsiteY26" fmla="*/ 22361 h 49968"/>
                <a:gd name="connsiteX27" fmla="*/ 108244 w 143659"/>
                <a:gd name="connsiteY27" fmla="*/ 21174 h 49968"/>
                <a:gd name="connsiteX28" fmla="*/ 109306 w 143659"/>
                <a:gd name="connsiteY28" fmla="*/ 20300 h 49968"/>
                <a:gd name="connsiteX29" fmla="*/ 96564 w 143659"/>
                <a:gd name="connsiteY29" fmla="*/ 15865 h 49968"/>
                <a:gd name="connsiteX30" fmla="*/ 104122 w 143659"/>
                <a:gd name="connsiteY30" fmla="*/ 20050 h 49968"/>
                <a:gd name="connsiteX31" fmla="*/ 103310 w 143659"/>
                <a:gd name="connsiteY31" fmla="*/ 20612 h 49968"/>
                <a:gd name="connsiteX32" fmla="*/ 77326 w 143659"/>
                <a:gd name="connsiteY32" fmla="*/ 14928 h 49968"/>
                <a:gd name="connsiteX33" fmla="*/ 77701 w 143659"/>
                <a:gd name="connsiteY33" fmla="*/ 10806 h 49968"/>
                <a:gd name="connsiteX34" fmla="*/ 61274 w 143659"/>
                <a:gd name="connsiteY34" fmla="*/ 7870 h 49968"/>
                <a:gd name="connsiteX35" fmla="*/ 54653 w 143659"/>
                <a:gd name="connsiteY35" fmla="*/ 10493 h 49968"/>
                <a:gd name="connsiteX36" fmla="*/ 52155 w 143659"/>
                <a:gd name="connsiteY36" fmla="*/ 10806 h 49968"/>
                <a:gd name="connsiteX37" fmla="*/ 46408 w 143659"/>
                <a:gd name="connsiteY37" fmla="*/ 14803 h 49968"/>
                <a:gd name="connsiteX38" fmla="*/ 34478 w 143659"/>
                <a:gd name="connsiteY38" fmla="*/ 13179 h 49968"/>
                <a:gd name="connsiteX39" fmla="*/ 38663 w 143659"/>
                <a:gd name="connsiteY39" fmla="*/ 11180 h 49968"/>
                <a:gd name="connsiteX40" fmla="*/ 32167 w 143659"/>
                <a:gd name="connsiteY40" fmla="*/ 15053 h 49968"/>
                <a:gd name="connsiteX41" fmla="*/ 23548 w 143659"/>
                <a:gd name="connsiteY41" fmla="*/ 16427 h 49968"/>
                <a:gd name="connsiteX42" fmla="*/ 19675 w 143659"/>
                <a:gd name="connsiteY42" fmla="*/ 20300 h 49968"/>
                <a:gd name="connsiteX43" fmla="*/ 9557 w 143659"/>
                <a:gd name="connsiteY43" fmla="*/ 21986 h 49968"/>
                <a:gd name="connsiteX44" fmla="*/ 5996 w 143659"/>
                <a:gd name="connsiteY44" fmla="*/ 21611 h 49968"/>
                <a:gd name="connsiteX45" fmla="*/ 2124 w 143659"/>
                <a:gd name="connsiteY45" fmla="*/ 20362 h 49968"/>
                <a:gd name="connsiteX46" fmla="*/ 4934 w 143659"/>
                <a:gd name="connsiteY46" fmla="*/ 17427 h 49968"/>
                <a:gd name="connsiteX47" fmla="*/ 9182 w 143659"/>
                <a:gd name="connsiteY47" fmla="*/ 15740 h 49968"/>
                <a:gd name="connsiteX48" fmla="*/ 11430 w 143659"/>
                <a:gd name="connsiteY48" fmla="*/ 12680 h 49968"/>
                <a:gd name="connsiteX49" fmla="*/ 8557 w 143659"/>
                <a:gd name="connsiteY49" fmla="*/ 10743 h 49968"/>
                <a:gd name="connsiteX50" fmla="*/ 0 w 143659"/>
                <a:gd name="connsiteY50" fmla="*/ 8745 h 49968"/>
                <a:gd name="connsiteX51" fmla="*/ 4622 w 143659"/>
                <a:gd name="connsiteY51" fmla="*/ 3748 h 49968"/>
                <a:gd name="connsiteX52" fmla="*/ 5934 w 143659"/>
                <a:gd name="connsiteY52" fmla="*/ 2998 h 49968"/>
                <a:gd name="connsiteX53" fmla="*/ 11930 w 143659"/>
                <a:gd name="connsiteY53" fmla="*/ 1686 h 49968"/>
                <a:gd name="connsiteX54" fmla="*/ 17364 w 143659"/>
                <a:gd name="connsiteY54" fmla="*/ 1936 h 49968"/>
                <a:gd name="connsiteX55" fmla="*/ 19488 w 143659"/>
                <a:gd name="connsiteY55" fmla="*/ 1811 h 49968"/>
                <a:gd name="connsiteX56" fmla="*/ 26171 w 143659"/>
                <a:gd name="connsiteY56" fmla="*/ 937 h 49968"/>
                <a:gd name="connsiteX57" fmla="*/ 26171 w 143659"/>
                <a:gd name="connsiteY57" fmla="*/ 93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659" h="49968">
                  <a:moveTo>
                    <a:pt x="26171" y="937"/>
                  </a:moveTo>
                  <a:cubicBezTo>
                    <a:pt x="27545" y="750"/>
                    <a:pt x="28982" y="625"/>
                    <a:pt x="30356" y="437"/>
                  </a:cubicBezTo>
                  <a:cubicBezTo>
                    <a:pt x="37414" y="312"/>
                    <a:pt x="44534" y="125"/>
                    <a:pt x="51593" y="0"/>
                  </a:cubicBezTo>
                  <a:cubicBezTo>
                    <a:pt x="56027" y="1936"/>
                    <a:pt x="60899" y="1374"/>
                    <a:pt x="65584" y="1999"/>
                  </a:cubicBezTo>
                  <a:cubicBezTo>
                    <a:pt x="70955" y="2748"/>
                    <a:pt x="76327" y="3935"/>
                    <a:pt x="81636" y="4872"/>
                  </a:cubicBezTo>
                  <a:cubicBezTo>
                    <a:pt x="88444" y="7058"/>
                    <a:pt x="95190" y="9244"/>
                    <a:pt x="101998" y="11493"/>
                  </a:cubicBezTo>
                  <a:cubicBezTo>
                    <a:pt x="102560" y="11868"/>
                    <a:pt x="103310" y="11868"/>
                    <a:pt x="103872" y="12242"/>
                  </a:cubicBezTo>
                  <a:cubicBezTo>
                    <a:pt x="104747" y="14179"/>
                    <a:pt x="106995" y="13554"/>
                    <a:pt x="108557" y="14303"/>
                  </a:cubicBezTo>
                  <a:cubicBezTo>
                    <a:pt x="108869" y="14428"/>
                    <a:pt x="109244" y="14553"/>
                    <a:pt x="109556" y="14741"/>
                  </a:cubicBezTo>
                  <a:cubicBezTo>
                    <a:pt x="112429" y="16365"/>
                    <a:pt x="115240" y="17989"/>
                    <a:pt x="118238" y="19363"/>
                  </a:cubicBezTo>
                  <a:cubicBezTo>
                    <a:pt x="121174" y="21924"/>
                    <a:pt x="125359" y="22986"/>
                    <a:pt x="127795" y="25984"/>
                  </a:cubicBezTo>
                  <a:cubicBezTo>
                    <a:pt x="128107" y="26296"/>
                    <a:pt x="128419" y="26671"/>
                    <a:pt x="128669" y="26983"/>
                  </a:cubicBezTo>
                  <a:cubicBezTo>
                    <a:pt x="129044" y="27358"/>
                    <a:pt x="129418" y="27670"/>
                    <a:pt x="129793" y="28045"/>
                  </a:cubicBezTo>
                  <a:cubicBezTo>
                    <a:pt x="130730" y="30731"/>
                    <a:pt x="132542" y="32729"/>
                    <a:pt x="135165" y="34291"/>
                  </a:cubicBezTo>
                  <a:cubicBezTo>
                    <a:pt x="139787" y="37039"/>
                    <a:pt x="143722" y="40912"/>
                    <a:pt x="144472" y="45784"/>
                  </a:cubicBezTo>
                  <a:cubicBezTo>
                    <a:pt x="144909" y="48469"/>
                    <a:pt x="144534" y="51280"/>
                    <a:pt x="145846" y="53904"/>
                  </a:cubicBezTo>
                  <a:cubicBezTo>
                    <a:pt x="145783" y="54153"/>
                    <a:pt x="145721" y="54341"/>
                    <a:pt x="145596" y="54591"/>
                  </a:cubicBezTo>
                  <a:cubicBezTo>
                    <a:pt x="145284" y="54965"/>
                    <a:pt x="144909" y="55278"/>
                    <a:pt x="144409" y="55465"/>
                  </a:cubicBezTo>
                  <a:cubicBezTo>
                    <a:pt x="142410" y="55840"/>
                    <a:pt x="140849" y="55090"/>
                    <a:pt x="139662" y="53841"/>
                  </a:cubicBezTo>
                  <a:cubicBezTo>
                    <a:pt x="136664" y="50593"/>
                    <a:pt x="132854" y="48157"/>
                    <a:pt x="129418" y="45409"/>
                  </a:cubicBezTo>
                  <a:cubicBezTo>
                    <a:pt x="127295" y="43722"/>
                    <a:pt x="125796" y="40350"/>
                    <a:pt x="121861" y="42848"/>
                  </a:cubicBezTo>
                  <a:cubicBezTo>
                    <a:pt x="121361" y="43160"/>
                    <a:pt x="120299" y="42723"/>
                    <a:pt x="119925" y="42223"/>
                  </a:cubicBezTo>
                  <a:cubicBezTo>
                    <a:pt x="117239" y="38163"/>
                    <a:pt x="111930" y="36602"/>
                    <a:pt x="108869" y="32854"/>
                  </a:cubicBezTo>
                  <a:cubicBezTo>
                    <a:pt x="110493" y="29856"/>
                    <a:pt x="112804" y="30918"/>
                    <a:pt x="114803" y="32292"/>
                  </a:cubicBezTo>
                  <a:cubicBezTo>
                    <a:pt x="116364" y="33354"/>
                    <a:pt x="117676" y="34603"/>
                    <a:pt x="119612" y="34853"/>
                  </a:cubicBezTo>
                  <a:cubicBezTo>
                    <a:pt x="114740" y="32667"/>
                    <a:pt x="110618" y="29169"/>
                    <a:pt x="105558" y="27045"/>
                  </a:cubicBezTo>
                  <a:cubicBezTo>
                    <a:pt x="102248" y="25484"/>
                    <a:pt x="101748" y="23922"/>
                    <a:pt x="105496" y="22361"/>
                  </a:cubicBezTo>
                  <a:cubicBezTo>
                    <a:pt x="106370" y="21986"/>
                    <a:pt x="107307" y="21611"/>
                    <a:pt x="108244" y="21174"/>
                  </a:cubicBezTo>
                  <a:cubicBezTo>
                    <a:pt x="108369" y="20550"/>
                    <a:pt x="110493" y="20674"/>
                    <a:pt x="109306" y="20300"/>
                  </a:cubicBezTo>
                  <a:cubicBezTo>
                    <a:pt x="104934" y="18738"/>
                    <a:pt x="100999" y="16115"/>
                    <a:pt x="96564" y="15865"/>
                  </a:cubicBezTo>
                  <a:cubicBezTo>
                    <a:pt x="98688" y="17239"/>
                    <a:pt x="103372" y="15678"/>
                    <a:pt x="104122" y="20050"/>
                  </a:cubicBezTo>
                  <a:cubicBezTo>
                    <a:pt x="103872" y="20300"/>
                    <a:pt x="103560" y="20674"/>
                    <a:pt x="103310" y="20612"/>
                  </a:cubicBezTo>
                  <a:cubicBezTo>
                    <a:pt x="94440" y="19550"/>
                    <a:pt x="85571" y="18426"/>
                    <a:pt x="77326" y="14928"/>
                  </a:cubicBezTo>
                  <a:cubicBezTo>
                    <a:pt x="76452" y="13492"/>
                    <a:pt x="77514" y="12180"/>
                    <a:pt x="77701" y="10806"/>
                  </a:cubicBezTo>
                  <a:cubicBezTo>
                    <a:pt x="72454" y="8682"/>
                    <a:pt x="66708" y="9057"/>
                    <a:pt x="61274" y="7870"/>
                  </a:cubicBezTo>
                  <a:cubicBezTo>
                    <a:pt x="58900" y="7370"/>
                    <a:pt x="57152" y="10181"/>
                    <a:pt x="54653" y="10493"/>
                  </a:cubicBezTo>
                  <a:cubicBezTo>
                    <a:pt x="53841" y="10681"/>
                    <a:pt x="52967" y="10931"/>
                    <a:pt x="52155" y="10806"/>
                  </a:cubicBezTo>
                  <a:cubicBezTo>
                    <a:pt x="48594" y="10244"/>
                    <a:pt x="46845" y="11743"/>
                    <a:pt x="46408" y="14803"/>
                  </a:cubicBezTo>
                  <a:cubicBezTo>
                    <a:pt x="41974" y="17114"/>
                    <a:pt x="37976" y="16552"/>
                    <a:pt x="34478" y="13179"/>
                  </a:cubicBezTo>
                  <a:cubicBezTo>
                    <a:pt x="35478" y="11056"/>
                    <a:pt x="35478" y="11056"/>
                    <a:pt x="38663" y="11180"/>
                  </a:cubicBezTo>
                  <a:cubicBezTo>
                    <a:pt x="34728" y="9494"/>
                    <a:pt x="33791" y="12742"/>
                    <a:pt x="32167" y="15053"/>
                  </a:cubicBezTo>
                  <a:cubicBezTo>
                    <a:pt x="29419" y="16052"/>
                    <a:pt x="26546" y="16739"/>
                    <a:pt x="23548" y="16427"/>
                  </a:cubicBezTo>
                  <a:cubicBezTo>
                    <a:pt x="23298" y="18613"/>
                    <a:pt x="22236" y="20050"/>
                    <a:pt x="19675" y="20300"/>
                  </a:cubicBezTo>
                  <a:cubicBezTo>
                    <a:pt x="16302" y="20924"/>
                    <a:pt x="13117" y="22361"/>
                    <a:pt x="9557" y="21986"/>
                  </a:cubicBezTo>
                  <a:cubicBezTo>
                    <a:pt x="8370" y="21674"/>
                    <a:pt x="7245" y="21424"/>
                    <a:pt x="5996" y="21611"/>
                  </a:cubicBezTo>
                  <a:cubicBezTo>
                    <a:pt x="4497" y="21861"/>
                    <a:pt x="2561" y="22361"/>
                    <a:pt x="2124" y="20362"/>
                  </a:cubicBezTo>
                  <a:cubicBezTo>
                    <a:pt x="1749" y="18613"/>
                    <a:pt x="3498" y="18051"/>
                    <a:pt x="4934" y="17427"/>
                  </a:cubicBezTo>
                  <a:cubicBezTo>
                    <a:pt x="6371" y="16864"/>
                    <a:pt x="8057" y="16927"/>
                    <a:pt x="9182" y="15740"/>
                  </a:cubicBezTo>
                  <a:cubicBezTo>
                    <a:pt x="9994" y="14741"/>
                    <a:pt x="10743" y="13741"/>
                    <a:pt x="11430" y="12680"/>
                  </a:cubicBezTo>
                  <a:cubicBezTo>
                    <a:pt x="12555" y="9556"/>
                    <a:pt x="9994" y="10618"/>
                    <a:pt x="8557" y="10743"/>
                  </a:cubicBezTo>
                  <a:cubicBezTo>
                    <a:pt x="5434" y="10993"/>
                    <a:pt x="2249" y="11618"/>
                    <a:pt x="0" y="8745"/>
                  </a:cubicBezTo>
                  <a:cubicBezTo>
                    <a:pt x="0" y="5871"/>
                    <a:pt x="3123" y="5434"/>
                    <a:pt x="4622" y="3748"/>
                  </a:cubicBezTo>
                  <a:cubicBezTo>
                    <a:pt x="4997" y="3435"/>
                    <a:pt x="5434" y="3186"/>
                    <a:pt x="5934" y="2998"/>
                  </a:cubicBezTo>
                  <a:cubicBezTo>
                    <a:pt x="7870" y="2311"/>
                    <a:pt x="9994" y="2249"/>
                    <a:pt x="11930" y="1686"/>
                  </a:cubicBezTo>
                  <a:cubicBezTo>
                    <a:pt x="13741" y="1437"/>
                    <a:pt x="15615" y="1374"/>
                    <a:pt x="17364" y="1936"/>
                  </a:cubicBezTo>
                  <a:cubicBezTo>
                    <a:pt x="18051" y="1874"/>
                    <a:pt x="18801" y="1874"/>
                    <a:pt x="19488" y="1811"/>
                  </a:cubicBezTo>
                  <a:cubicBezTo>
                    <a:pt x="21674" y="625"/>
                    <a:pt x="24172" y="1999"/>
                    <a:pt x="26171" y="937"/>
                  </a:cubicBezTo>
                  <a:lnTo>
                    <a:pt x="26171" y="937"/>
                  </a:lnTo>
                  <a:close/>
                </a:path>
              </a:pathLst>
            </a:custGeom>
            <a:grpFill/>
            <a:ln w="6246" cap="flat">
              <a:noFill/>
              <a:prstDash val="solid"/>
              <a:miter/>
            </a:ln>
          </p:spPr>
          <p:txBody>
            <a:bodyPr rtlCol="0" anchor="ctr"/>
            <a:lstStyle/>
            <a:p>
              <a:endParaRPr lang="fr-FR" sz="2400"/>
            </a:p>
          </p:txBody>
        </p:sp>
        <p:sp>
          <p:nvSpPr>
            <p:cNvPr id="96" name="Freeform: Shape 95">
              <a:extLst>
                <a:ext uri="{FF2B5EF4-FFF2-40B4-BE49-F238E27FC236}">
                  <a16:creationId xmlns:a16="http://schemas.microsoft.com/office/drawing/2014/main" id="{937AF737-CBC3-4092-854B-C5948F31524F}"/>
                </a:ext>
              </a:extLst>
            </p:cNvPr>
            <p:cNvSpPr/>
            <p:nvPr/>
          </p:nvSpPr>
          <p:spPr>
            <a:xfrm>
              <a:off x="1343559" y="427791"/>
              <a:ext cx="74953" cy="124921"/>
            </a:xfrm>
            <a:custGeom>
              <a:avLst/>
              <a:gdLst>
                <a:gd name="connsiteX0" fmla="*/ 7121 w 74952"/>
                <a:gd name="connsiteY0" fmla="*/ 3124 h 124921"/>
                <a:gd name="connsiteX1" fmla="*/ 18613 w 74952"/>
                <a:gd name="connsiteY1" fmla="*/ 12555 h 124921"/>
                <a:gd name="connsiteX2" fmla="*/ 21174 w 74952"/>
                <a:gd name="connsiteY2" fmla="*/ 9370 h 124921"/>
                <a:gd name="connsiteX3" fmla="*/ 24485 w 74952"/>
                <a:gd name="connsiteY3" fmla="*/ 11618 h 124921"/>
                <a:gd name="connsiteX4" fmla="*/ 38663 w 74952"/>
                <a:gd name="connsiteY4" fmla="*/ 23861 h 124921"/>
                <a:gd name="connsiteX5" fmla="*/ 42473 w 74952"/>
                <a:gd name="connsiteY5" fmla="*/ 25422 h 124921"/>
                <a:gd name="connsiteX6" fmla="*/ 48220 w 74952"/>
                <a:gd name="connsiteY6" fmla="*/ 32668 h 124921"/>
                <a:gd name="connsiteX7" fmla="*/ 54341 w 74952"/>
                <a:gd name="connsiteY7" fmla="*/ 42974 h 124921"/>
                <a:gd name="connsiteX8" fmla="*/ 53154 w 74952"/>
                <a:gd name="connsiteY8" fmla="*/ 35728 h 124921"/>
                <a:gd name="connsiteX9" fmla="*/ 60587 w 74952"/>
                <a:gd name="connsiteY9" fmla="*/ 46784 h 124921"/>
                <a:gd name="connsiteX10" fmla="*/ 63273 w 74952"/>
                <a:gd name="connsiteY10" fmla="*/ 50844 h 124921"/>
                <a:gd name="connsiteX11" fmla="*/ 66458 w 74952"/>
                <a:gd name="connsiteY11" fmla="*/ 59901 h 124921"/>
                <a:gd name="connsiteX12" fmla="*/ 68145 w 74952"/>
                <a:gd name="connsiteY12" fmla="*/ 65022 h 124921"/>
                <a:gd name="connsiteX13" fmla="*/ 74203 w 74952"/>
                <a:gd name="connsiteY13" fmla="*/ 85447 h 124921"/>
                <a:gd name="connsiteX14" fmla="*/ 75640 w 74952"/>
                <a:gd name="connsiteY14" fmla="*/ 94816 h 124921"/>
                <a:gd name="connsiteX15" fmla="*/ 77764 w 74952"/>
                <a:gd name="connsiteY15" fmla="*/ 99813 h 124921"/>
                <a:gd name="connsiteX16" fmla="*/ 79325 w 74952"/>
                <a:gd name="connsiteY16" fmla="*/ 104997 h 124921"/>
                <a:gd name="connsiteX17" fmla="*/ 79013 w 74952"/>
                <a:gd name="connsiteY17" fmla="*/ 107933 h 124921"/>
                <a:gd name="connsiteX18" fmla="*/ 78950 w 74952"/>
                <a:gd name="connsiteY18" fmla="*/ 113304 h 124921"/>
                <a:gd name="connsiteX19" fmla="*/ 78326 w 74952"/>
                <a:gd name="connsiteY19" fmla="*/ 116677 h 124921"/>
                <a:gd name="connsiteX20" fmla="*/ 77764 w 74952"/>
                <a:gd name="connsiteY20" fmla="*/ 120050 h 124921"/>
                <a:gd name="connsiteX21" fmla="*/ 76702 w 74952"/>
                <a:gd name="connsiteY21" fmla="*/ 124797 h 124921"/>
                <a:gd name="connsiteX22" fmla="*/ 75765 w 74952"/>
                <a:gd name="connsiteY22" fmla="*/ 127608 h 124921"/>
                <a:gd name="connsiteX23" fmla="*/ 73891 w 74952"/>
                <a:gd name="connsiteY23" fmla="*/ 128920 h 124921"/>
                <a:gd name="connsiteX24" fmla="*/ 72017 w 74952"/>
                <a:gd name="connsiteY24" fmla="*/ 119113 h 124921"/>
                <a:gd name="connsiteX25" fmla="*/ 72142 w 74952"/>
                <a:gd name="connsiteY25" fmla="*/ 117552 h 124921"/>
                <a:gd name="connsiteX26" fmla="*/ 72454 w 74952"/>
                <a:gd name="connsiteY26" fmla="*/ 116053 h 124921"/>
                <a:gd name="connsiteX27" fmla="*/ 72642 w 74952"/>
                <a:gd name="connsiteY27" fmla="*/ 108932 h 124921"/>
                <a:gd name="connsiteX28" fmla="*/ 71642 w 74952"/>
                <a:gd name="connsiteY28" fmla="*/ 92630 h 124921"/>
                <a:gd name="connsiteX29" fmla="*/ 69456 w 74952"/>
                <a:gd name="connsiteY29" fmla="*/ 80513 h 124921"/>
                <a:gd name="connsiteX30" fmla="*/ 68832 w 74952"/>
                <a:gd name="connsiteY30" fmla="*/ 76515 h 124921"/>
                <a:gd name="connsiteX31" fmla="*/ 69581 w 74952"/>
                <a:gd name="connsiteY31" fmla="*/ 81262 h 124921"/>
                <a:gd name="connsiteX32" fmla="*/ 69831 w 74952"/>
                <a:gd name="connsiteY32" fmla="*/ 92692 h 124921"/>
                <a:gd name="connsiteX33" fmla="*/ 67708 w 74952"/>
                <a:gd name="connsiteY33" fmla="*/ 92505 h 124921"/>
                <a:gd name="connsiteX34" fmla="*/ 66646 w 74952"/>
                <a:gd name="connsiteY34" fmla="*/ 86321 h 124921"/>
                <a:gd name="connsiteX35" fmla="*/ 66021 w 74952"/>
                <a:gd name="connsiteY35" fmla="*/ 92193 h 124921"/>
                <a:gd name="connsiteX36" fmla="*/ 62711 w 74952"/>
                <a:gd name="connsiteY36" fmla="*/ 89632 h 124921"/>
                <a:gd name="connsiteX37" fmla="*/ 60774 w 74952"/>
                <a:gd name="connsiteY37" fmla="*/ 78826 h 124921"/>
                <a:gd name="connsiteX38" fmla="*/ 62273 w 74952"/>
                <a:gd name="connsiteY38" fmla="*/ 77577 h 124921"/>
                <a:gd name="connsiteX39" fmla="*/ 60962 w 74952"/>
                <a:gd name="connsiteY39" fmla="*/ 77639 h 124921"/>
                <a:gd name="connsiteX40" fmla="*/ 61711 w 74952"/>
                <a:gd name="connsiteY40" fmla="*/ 72205 h 124921"/>
                <a:gd name="connsiteX41" fmla="*/ 54091 w 74952"/>
                <a:gd name="connsiteY41" fmla="*/ 64148 h 124921"/>
                <a:gd name="connsiteX42" fmla="*/ 53591 w 74952"/>
                <a:gd name="connsiteY42" fmla="*/ 62899 h 124921"/>
                <a:gd name="connsiteX43" fmla="*/ 49969 w 74952"/>
                <a:gd name="connsiteY43" fmla="*/ 55965 h 124921"/>
                <a:gd name="connsiteX44" fmla="*/ 47907 w 74952"/>
                <a:gd name="connsiteY44" fmla="*/ 52405 h 124921"/>
                <a:gd name="connsiteX45" fmla="*/ 47470 w 74952"/>
                <a:gd name="connsiteY45" fmla="*/ 48595 h 124921"/>
                <a:gd name="connsiteX46" fmla="*/ 43660 w 74952"/>
                <a:gd name="connsiteY46" fmla="*/ 40725 h 124921"/>
                <a:gd name="connsiteX47" fmla="*/ 41349 w 74952"/>
                <a:gd name="connsiteY47" fmla="*/ 36540 h 124921"/>
                <a:gd name="connsiteX48" fmla="*/ 38226 w 74952"/>
                <a:gd name="connsiteY48" fmla="*/ 29982 h 124921"/>
                <a:gd name="connsiteX49" fmla="*/ 30106 w 74952"/>
                <a:gd name="connsiteY49" fmla="*/ 21237 h 124921"/>
                <a:gd name="connsiteX50" fmla="*/ 38288 w 74952"/>
                <a:gd name="connsiteY50" fmla="*/ 30044 h 124921"/>
                <a:gd name="connsiteX51" fmla="*/ 43972 w 74952"/>
                <a:gd name="connsiteY51" fmla="*/ 41100 h 124921"/>
                <a:gd name="connsiteX52" fmla="*/ 42848 w 74952"/>
                <a:gd name="connsiteY52" fmla="*/ 43286 h 124921"/>
                <a:gd name="connsiteX53" fmla="*/ 35728 w 74952"/>
                <a:gd name="connsiteY53" fmla="*/ 38539 h 124921"/>
                <a:gd name="connsiteX54" fmla="*/ 34229 w 74952"/>
                <a:gd name="connsiteY54" fmla="*/ 36228 h 124921"/>
                <a:gd name="connsiteX55" fmla="*/ 28794 w 74952"/>
                <a:gd name="connsiteY55" fmla="*/ 29670 h 124921"/>
                <a:gd name="connsiteX56" fmla="*/ 16052 w 74952"/>
                <a:gd name="connsiteY56" fmla="*/ 16928 h 124921"/>
                <a:gd name="connsiteX57" fmla="*/ 13242 w 74952"/>
                <a:gd name="connsiteY57" fmla="*/ 14242 h 124921"/>
                <a:gd name="connsiteX58" fmla="*/ 10743 w 74952"/>
                <a:gd name="connsiteY58" fmla="*/ 12056 h 124921"/>
                <a:gd name="connsiteX59" fmla="*/ 6683 w 74952"/>
                <a:gd name="connsiteY59" fmla="*/ 7246 h 124921"/>
                <a:gd name="connsiteX60" fmla="*/ 0 w 74952"/>
                <a:gd name="connsiteY60" fmla="*/ 2874 h 124921"/>
                <a:gd name="connsiteX61" fmla="*/ 7121 w 74952"/>
                <a:gd name="connsiteY61" fmla="*/ 3124 h 12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4952" h="124921">
                  <a:moveTo>
                    <a:pt x="7121" y="3124"/>
                  </a:moveTo>
                  <a:cubicBezTo>
                    <a:pt x="11805" y="5560"/>
                    <a:pt x="16490" y="7933"/>
                    <a:pt x="18613" y="12555"/>
                  </a:cubicBezTo>
                  <a:cubicBezTo>
                    <a:pt x="21486" y="12118"/>
                    <a:pt x="18738" y="9370"/>
                    <a:pt x="21174" y="9370"/>
                  </a:cubicBezTo>
                  <a:cubicBezTo>
                    <a:pt x="22736" y="9370"/>
                    <a:pt x="23610" y="10681"/>
                    <a:pt x="24485" y="11618"/>
                  </a:cubicBezTo>
                  <a:cubicBezTo>
                    <a:pt x="28670" y="16178"/>
                    <a:pt x="34853" y="18926"/>
                    <a:pt x="38663" y="23861"/>
                  </a:cubicBezTo>
                  <a:cubicBezTo>
                    <a:pt x="39475" y="24923"/>
                    <a:pt x="40974" y="25297"/>
                    <a:pt x="42473" y="25422"/>
                  </a:cubicBezTo>
                  <a:cubicBezTo>
                    <a:pt x="45471" y="27109"/>
                    <a:pt x="46845" y="29919"/>
                    <a:pt x="48220" y="32668"/>
                  </a:cubicBezTo>
                  <a:cubicBezTo>
                    <a:pt x="50156" y="36603"/>
                    <a:pt x="52717" y="40225"/>
                    <a:pt x="54341" y="42974"/>
                  </a:cubicBezTo>
                  <a:cubicBezTo>
                    <a:pt x="51468" y="37852"/>
                    <a:pt x="51468" y="37852"/>
                    <a:pt x="53154" y="35728"/>
                  </a:cubicBezTo>
                  <a:cubicBezTo>
                    <a:pt x="57901" y="38164"/>
                    <a:pt x="57776" y="43286"/>
                    <a:pt x="60587" y="46784"/>
                  </a:cubicBezTo>
                  <a:cubicBezTo>
                    <a:pt x="61461" y="48158"/>
                    <a:pt x="62461" y="49470"/>
                    <a:pt x="63273" y="50844"/>
                  </a:cubicBezTo>
                  <a:cubicBezTo>
                    <a:pt x="63772" y="54029"/>
                    <a:pt x="65147" y="56965"/>
                    <a:pt x="66458" y="59901"/>
                  </a:cubicBezTo>
                  <a:cubicBezTo>
                    <a:pt x="67645" y="61462"/>
                    <a:pt x="67208" y="63398"/>
                    <a:pt x="68145" y="65022"/>
                  </a:cubicBezTo>
                  <a:cubicBezTo>
                    <a:pt x="70643" y="71706"/>
                    <a:pt x="72392" y="78576"/>
                    <a:pt x="74203" y="85447"/>
                  </a:cubicBezTo>
                  <a:cubicBezTo>
                    <a:pt x="75015" y="88570"/>
                    <a:pt x="75827" y="91631"/>
                    <a:pt x="75640" y="94816"/>
                  </a:cubicBezTo>
                  <a:cubicBezTo>
                    <a:pt x="75577" y="96690"/>
                    <a:pt x="75328" y="98751"/>
                    <a:pt x="77764" y="99813"/>
                  </a:cubicBezTo>
                  <a:cubicBezTo>
                    <a:pt x="79637" y="101187"/>
                    <a:pt x="79200" y="103186"/>
                    <a:pt x="79325" y="104997"/>
                  </a:cubicBezTo>
                  <a:cubicBezTo>
                    <a:pt x="79325" y="105996"/>
                    <a:pt x="79263" y="106996"/>
                    <a:pt x="79013" y="107933"/>
                  </a:cubicBezTo>
                  <a:cubicBezTo>
                    <a:pt x="78201" y="109744"/>
                    <a:pt x="78888" y="111493"/>
                    <a:pt x="78950" y="113304"/>
                  </a:cubicBezTo>
                  <a:cubicBezTo>
                    <a:pt x="78826" y="114429"/>
                    <a:pt x="78513" y="115553"/>
                    <a:pt x="78326" y="116677"/>
                  </a:cubicBezTo>
                  <a:cubicBezTo>
                    <a:pt x="78263" y="117802"/>
                    <a:pt x="78076" y="118926"/>
                    <a:pt x="77764" y="120050"/>
                  </a:cubicBezTo>
                  <a:cubicBezTo>
                    <a:pt x="77077" y="121549"/>
                    <a:pt x="77201" y="123236"/>
                    <a:pt x="76702" y="124797"/>
                  </a:cubicBezTo>
                  <a:cubicBezTo>
                    <a:pt x="76389" y="125734"/>
                    <a:pt x="76077" y="126671"/>
                    <a:pt x="75765" y="127608"/>
                  </a:cubicBezTo>
                  <a:cubicBezTo>
                    <a:pt x="75390" y="128295"/>
                    <a:pt x="74953" y="128982"/>
                    <a:pt x="73891" y="128920"/>
                  </a:cubicBezTo>
                  <a:cubicBezTo>
                    <a:pt x="70581" y="126046"/>
                    <a:pt x="72579" y="122361"/>
                    <a:pt x="72017" y="119113"/>
                  </a:cubicBezTo>
                  <a:cubicBezTo>
                    <a:pt x="72017" y="118614"/>
                    <a:pt x="72080" y="118051"/>
                    <a:pt x="72142" y="117552"/>
                  </a:cubicBezTo>
                  <a:cubicBezTo>
                    <a:pt x="72205" y="117052"/>
                    <a:pt x="72267" y="116552"/>
                    <a:pt x="72454" y="116053"/>
                  </a:cubicBezTo>
                  <a:cubicBezTo>
                    <a:pt x="73516" y="113679"/>
                    <a:pt x="73142" y="111306"/>
                    <a:pt x="72642" y="108932"/>
                  </a:cubicBezTo>
                  <a:cubicBezTo>
                    <a:pt x="71580" y="103498"/>
                    <a:pt x="72579" y="98002"/>
                    <a:pt x="71642" y="92630"/>
                  </a:cubicBezTo>
                  <a:cubicBezTo>
                    <a:pt x="69519" y="88820"/>
                    <a:pt x="69519" y="84635"/>
                    <a:pt x="69456" y="80513"/>
                  </a:cubicBezTo>
                  <a:cubicBezTo>
                    <a:pt x="69456" y="78951"/>
                    <a:pt x="68957" y="77514"/>
                    <a:pt x="68832" y="76515"/>
                  </a:cubicBezTo>
                  <a:cubicBezTo>
                    <a:pt x="69082" y="77702"/>
                    <a:pt x="69331" y="79451"/>
                    <a:pt x="69581" y="81262"/>
                  </a:cubicBezTo>
                  <a:cubicBezTo>
                    <a:pt x="68769" y="85072"/>
                    <a:pt x="71080" y="88882"/>
                    <a:pt x="69831" y="92692"/>
                  </a:cubicBezTo>
                  <a:cubicBezTo>
                    <a:pt x="69019" y="93442"/>
                    <a:pt x="68332" y="93130"/>
                    <a:pt x="67708" y="92505"/>
                  </a:cubicBezTo>
                  <a:cubicBezTo>
                    <a:pt x="66708" y="90569"/>
                    <a:pt x="66583" y="88445"/>
                    <a:pt x="66646" y="86321"/>
                  </a:cubicBezTo>
                  <a:cubicBezTo>
                    <a:pt x="66271" y="88258"/>
                    <a:pt x="67770" y="90381"/>
                    <a:pt x="66021" y="92193"/>
                  </a:cubicBezTo>
                  <a:cubicBezTo>
                    <a:pt x="64022" y="92255"/>
                    <a:pt x="63085" y="91068"/>
                    <a:pt x="62711" y="89632"/>
                  </a:cubicBezTo>
                  <a:cubicBezTo>
                    <a:pt x="61711" y="86071"/>
                    <a:pt x="60275" y="82574"/>
                    <a:pt x="60774" y="78826"/>
                  </a:cubicBezTo>
                  <a:cubicBezTo>
                    <a:pt x="61149" y="78326"/>
                    <a:pt x="61212" y="77452"/>
                    <a:pt x="62273" y="77577"/>
                  </a:cubicBezTo>
                  <a:cubicBezTo>
                    <a:pt x="61836" y="77077"/>
                    <a:pt x="61461" y="77827"/>
                    <a:pt x="60962" y="77639"/>
                  </a:cubicBezTo>
                  <a:cubicBezTo>
                    <a:pt x="58089" y="75203"/>
                    <a:pt x="59088" y="73392"/>
                    <a:pt x="61711" y="72205"/>
                  </a:cubicBezTo>
                  <a:cubicBezTo>
                    <a:pt x="56902" y="71393"/>
                    <a:pt x="56652" y="66834"/>
                    <a:pt x="54091" y="64148"/>
                  </a:cubicBezTo>
                  <a:cubicBezTo>
                    <a:pt x="53904" y="63773"/>
                    <a:pt x="53716" y="63336"/>
                    <a:pt x="53591" y="62899"/>
                  </a:cubicBezTo>
                  <a:cubicBezTo>
                    <a:pt x="52779" y="60400"/>
                    <a:pt x="51905" y="57964"/>
                    <a:pt x="49969" y="55965"/>
                  </a:cubicBezTo>
                  <a:cubicBezTo>
                    <a:pt x="49032" y="54904"/>
                    <a:pt x="48282" y="53779"/>
                    <a:pt x="47907" y="52405"/>
                  </a:cubicBezTo>
                  <a:cubicBezTo>
                    <a:pt x="47595" y="51156"/>
                    <a:pt x="47658" y="49844"/>
                    <a:pt x="47470" y="48595"/>
                  </a:cubicBezTo>
                  <a:cubicBezTo>
                    <a:pt x="47158" y="45597"/>
                    <a:pt x="47345" y="42412"/>
                    <a:pt x="43660" y="40725"/>
                  </a:cubicBezTo>
                  <a:cubicBezTo>
                    <a:pt x="43598" y="38976"/>
                    <a:pt x="42473" y="37852"/>
                    <a:pt x="41349" y="36540"/>
                  </a:cubicBezTo>
                  <a:cubicBezTo>
                    <a:pt x="39725" y="34666"/>
                    <a:pt x="39100" y="32293"/>
                    <a:pt x="38226" y="29982"/>
                  </a:cubicBezTo>
                  <a:cubicBezTo>
                    <a:pt x="35853" y="26859"/>
                    <a:pt x="33416" y="23736"/>
                    <a:pt x="30106" y="21237"/>
                  </a:cubicBezTo>
                  <a:cubicBezTo>
                    <a:pt x="33416" y="23736"/>
                    <a:pt x="35790" y="26921"/>
                    <a:pt x="38288" y="30044"/>
                  </a:cubicBezTo>
                  <a:cubicBezTo>
                    <a:pt x="38851" y="34292"/>
                    <a:pt x="42036" y="37415"/>
                    <a:pt x="43972" y="41100"/>
                  </a:cubicBezTo>
                  <a:cubicBezTo>
                    <a:pt x="44410" y="42162"/>
                    <a:pt x="43910" y="42849"/>
                    <a:pt x="42848" y="43286"/>
                  </a:cubicBezTo>
                  <a:cubicBezTo>
                    <a:pt x="38976" y="43536"/>
                    <a:pt x="37976" y="40350"/>
                    <a:pt x="35728" y="38539"/>
                  </a:cubicBezTo>
                  <a:cubicBezTo>
                    <a:pt x="35165" y="37789"/>
                    <a:pt x="34666" y="37040"/>
                    <a:pt x="34229" y="36228"/>
                  </a:cubicBezTo>
                  <a:cubicBezTo>
                    <a:pt x="33042" y="33605"/>
                    <a:pt x="31105" y="31543"/>
                    <a:pt x="28794" y="29670"/>
                  </a:cubicBezTo>
                  <a:cubicBezTo>
                    <a:pt x="24235" y="25672"/>
                    <a:pt x="20175" y="21300"/>
                    <a:pt x="16052" y="16928"/>
                  </a:cubicBezTo>
                  <a:cubicBezTo>
                    <a:pt x="15678" y="15553"/>
                    <a:pt x="15490" y="13992"/>
                    <a:pt x="13242" y="14242"/>
                  </a:cubicBezTo>
                  <a:cubicBezTo>
                    <a:pt x="11993" y="13929"/>
                    <a:pt x="11181" y="13180"/>
                    <a:pt x="10743" y="12056"/>
                  </a:cubicBezTo>
                  <a:cubicBezTo>
                    <a:pt x="11306" y="9120"/>
                    <a:pt x="9307" y="7996"/>
                    <a:pt x="6683" y="7246"/>
                  </a:cubicBezTo>
                  <a:cubicBezTo>
                    <a:pt x="4497" y="5810"/>
                    <a:pt x="375" y="6622"/>
                    <a:pt x="0" y="2874"/>
                  </a:cubicBezTo>
                  <a:cubicBezTo>
                    <a:pt x="2311" y="-999"/>
                    <a:pt x="3061" y="-999"/>
                    <a:pt x="7121" y="3124"/>
                  </a:cubicBezTo>
                  <a:close/>
                </a:path>
              </a:pathLst>
            </a:custGeom>
            <a:grpFill/>
            <a:ln w="6246" cap="flat">
              <a:noFill/>
              <a:prstDash val="solid"/>
              <a:miter/>
            </a:ln>
          </p:spPr>
          <p:txBody>
            <a:bodyPr rtlCol="0" anchor="ctr"/>
            <a:lstStyle/>
            <a:p>
              <a:endParaRPr lang="fr-FR" sz="2400"/>
            </a:p>
          </p:txBody>
        </p:sp>
        <p:sp>
          <p:nvSpPr>
            <p:cNvPr id="97" name="Freeform: Shape 96">
              <a:extLst>
                <a:ext uri="{FF2B5EF4-FFF2-40B4-BE49-F238E27FC236}">
                  <a16:creationId xmlns:a16="http://schemas.microsoft.com/office/drawing/2014/main" id="{FB3B7B91-FDBB-446B-9489-534BDFCA43BC}"/>
                </a:ext>
              </a:extLst>
            </p:cNvPr>
            <p:cNvSpPr/>
            <p:nvPr/>
          </p:nvSpPr>
          <p:spPr>
            <a:xfrm>
              <a:off x="1417284" y="495687"/>
              <a:ext cx="6246" cy="12492"/>
            </a:xfrm>
            <a:custGeom>
              <a:avLst/>
              <a:gdLst>
                <a:gd name="connsiteX0" fmla="*/ 853 w 0"/>
                <a:gd name="connsiteY0" fmla="*/ 0 h 12492"/>
                <a:gd name="connsiteX1" fmla="*/ 4975 w 0"/>
                <a:gd name="connsiteY1" fmla="*/ 16427 h 12492"/>
                <a:gd name="connsiteX2" fmla="*/ 2976 w 0"/>
                <a:gd name="connsiteY2" fmla="*/ 18363 h 12492"/>
                <a:gd name="connsiteX3" fmla="*/ 103 w 0"/>
                <a:gd name="connsiteY3" fmla="*/ 3560 h 12492"/>
                <a:gd name="connsiteX4" fmla="*/ 853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853" y="0"/>
                  </a:moveTo>
                  <a:cubicBezTo>
                    <a:pt x="2227" y="5497"/>
                    <a:pt x="3664" y="10931"/>
                    <a:pt x="4975" y="16427"/>
                  </a:cubicBezTo>
                  <a:cubicBezTo>
                    <a:pt x="5288" y="17676"/>
                    <a:pt x="5350" y="19175"/>
                    <a:pt x="2976" y="18363"/>
                  </a:cubicBezTo>
                  <a:cubicBezTo>
                    <a:pt x="2040" y="13429"/>
                    <a:pt x="1165" y="8495"/>
                    <a:pt x="103" y="3560"/>
                  </a:cubicBezTo>
                  <a:cubicBezTo>
                    <a:pt x="-209" y="2186"/>
                    <a:pt x="228" y="1124"/>
                    <a:pt x="853" y="0"/>
                  </a:cubicBezTo>
                  <a:close/>
                </a:path>
              </a:pathLst>
            </a:custGeom>
            <a:grpFill/>
            <a:ln w="6246" cap="flat">
              <a:noFill/>
              <a:prstDash val="solid"/>
              <a:miter/>
            </a:ln>
          </p:spPr>
          <p:txBody>
            <a:bodyPr rtlCol="0" anchor="ctr"/>
            <a:lstStyle/>
            <a:p>
              <a:endParaRPr lang="fr-FR" sz="2400"/>
            </a:p>
          </p:txBody>
        </p:sp>
        <p:sp>
          <p:nvSpPr>
            <p:cNvPr id="98" name="Freeform: Shape 97">
              <a:extLst>
                <a:ext uri="{FF2B5EF4-FFF2-40B4-BE49-F238E27FC236}">
                  <a16:creationId xmlns:a16="http://schemas.microsoft.com/office/drawing/2014/main" id="{917D78A6-3A18-4380-A6B4-DFBE6E62C4A1}"/>
                </a:ext>
              </a:extLst>
            </p:cNvPr>
            <p:cNvSpPr/>
            <p:nvPr/>
          </p:nvSpPr>
          <p:spPr>
            <a:xfrm>
              <a:off x="1393709" y="458004"/>
              <a:ext cx="6246" cy="12492"/>
            </a:xfrm>
            <a:custGeom>
              <a:avLst/>
              <a:gdLst>
                <a:gd name="connsiteX0" fmla="*/ 9437 w 6246"/>
                <a:gd name="connsiteY0" fmla="*/ 17383 h 12492"/>
                <a:gd name="connsiteX1" fmla="*/ 2942 w 6246"/>
                <a:gd name="connsiteY1" fmla="*/ 5827 h 12492"/>
                <a:gd name="connsiteX2" fmla="*/ 1130 w 6246"/>
                <a:gd name="connsiteY2" fmla="*/ 4766 h 12492"/>
                <a:gd name="connsiteX3" fmla="*/ 6 w 6246"/>
                <a:gd name="connsiteY3" fmla="*/ 1580 h 12492"/>
                <a:gd name="connsiteX4" fmla="*/ 1942 w 6246"/>
                <a:gd name="connsiteY4" fmla="*/ 81 h 12492"/>
                <a:gd name="connsiteX5" fmla="*/ 11561 w 6246"/>
                <a:gd name="connsiteY5" fmla="*/ 16508 h 12492"/>
                <a:gd name="connsiteX6" fmla="*/ 9437 w 6246"/>
                <a:gd name="connsiteY6" fmla="*/ 1738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9437" y="17383"/>
                  </a:moveTo>
                  <a:cubicBezTo>
                    <a:pt x="7876" y="13260"/>
                    <a:pt x="6127" y="9200"/>
                    <a:pt x="2942" y="5827"/>
                  </a:cubicBezTo>
                  <a:cubicBezTo>
                    <a:pt x="2317" y="5515"/>
                    <a:pt x="1567" y="5328"/>
                    <a:pt x="1130" y="4766"/>
                  </a:cubicBezTo>
                  <a:cubicBezTo>
                    <a:pt x="381" y="3829"/>
                    <a:pt x="-56" y="2767"/>
                    <a:pt x="6" y="1580"/>
                  </a:cubicBezTo>
                  <a:cubicBezTo>
                    <a:pt x="256" y="706"/>
                    <a:pt x="443" y="-294"/>
                    <a:pt x="1942" y="81"/>
                  </a:cubicBezTo>
                  <a:cubicBezTo>
                    <a:pt x="5128" y="5578"/>
                    <a:pt x="8376" y="11012"/>
                    <a:pt x="11561" y="16508"/>
                  </a:cubicBezTo>
                  <a:cubicBezTo>
                    <a:pt x="11062" y="17133"/>
                    <a:pt x="10624" y="17945"/>
                    <a:pt x="9437" y="17383"/>
                  </a:cubicBezTo>
                  <a:close/>
                </a:path>
              </a:pathLst>
            </a:custGeom>
            <a:grpFill/>
            <a:ln w="6246" cap="flat">
              <a:noFill/>
              <a:prstDash val="solid"/>
              <a:miter/>
            </a:ln>
          </p:spPr>
          <p:txBody>
            <a:bodyPr rtlCol="0" anchor="ctr"/>
            <a:lstStyle/>
            <a:p>
              <a:endParaRPr lang="fr-FR" sz="2400"/>
            </a:p>
          </p:txBody>
        </p:sp>
        <p:sp>
          <p:nvSpPr>
            <p:cNvPr id="99" name="Freeform: Shape 98">
              <a:extLst>
                <a:ext uri="{FF2B5EF4-FFF2-40B4-BE49-F238E27FC236}">
                  <a16:creationId xmlns:a16="http://schemas.microsoft.com/office/drawing/2014/main" id="{1B6E553C-9840-4659-BDA0-09EA192FD9C6}"/>
                </a:ext>
              </a:extLst>
            </p:cNvPr>
            <p:cNvSpPr/>
            <p:nvPr/>
          </p:nvSpPr>
          <p:spPr>
            <a:xfrm>
              <a:off x="1401023" y="457024"/>
              <a:ext cx="6246" cy="12492"/>
            </a:xfrm>
            <a:custGeom>
              <a:avLst/>
              <a:gdLst>
                <a:gd name="connsiteX0" fmla="*/ 0 w 6246"/>
                <a:gd name="connsiteY0" fmla="*/ 0 h 12492"/>
                <a:gd name="connsiteX1" fmla="*/ 999 w 6246"/>
                <a:gd name="connsiteY1" fmla="*/ 0 h 12492"/>
                <a:gd name="connsiteX2" fmla="*/ 4185 w 6246"/>
                <a:gd name="connsiteY2" fmla="*/ 3935 h 12492"/>
                <a:gd name="connsiteX3" fmla="*/ 8432 w 6246"/>
                <a:gd name="connsiteY3" fmla="*/ 12742 h 12492"/>
                <a:gd name="connsiteX4" fmla="*/ 6059 w 6246"/>
                <a:gd name="connsiteY4" fmla="*/ 12492 h 12492"/>
                <a:gd name="connsiteX5" fmla="*/ 0 w 6246"/>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0"/>
                  </a:moveTo>
                  <a:cubicBezTo>
                    <a:pt x="312" y="0"/>
                    <a:pt x="687" y="0"/>
                    <a:pt x="999" y="0"/>
                  </a:cubicBezTo>
                  <a:cubicBezTo>
                    <a:pt x="1874" y="1437"/>
                    <a:pt x="2311" y="3186"/>
                    <a:pt x="4185" y="3935"/>
                  </a:cubicBezTo>
                  <a:cubicBezTo>
                    <a:pt x="5559" y="6871"/>
                    <a:pt x="7932" y="9432"/>
                    <a:pt x="8432" y="12742"/>
                  </a:cubicBezTo>
                  <a:cubicBezTo>
                    <a:pt x="7620" y="12929"/>
                    <a:pt x="6371" y="13429"/>
                    <a:pt x="6059" y="12492"/>
                  </a:cubicBezTo>
                  <a:cubicBezTo>
                    <a:pt x="4685" y="8057"/>
                    <a:pt x="687" y="4685"/>
                    <a:pt x="0" y="0"/>
                  </a:cubicBezTo>
                  <a:close/>
                </a:path>
              </a:pathLst>
            </a:custGeom>
            <a:grpFill/>
            <a:ln w="6246" cap="flat">
              <a:noFill/>
              <a:prstDash val="solid"/>
              <a:miter/>
            </a:ln>
          </p:spPr>
          <p:txBody>
            <a:bodyPr rtlCol="0" anchor="ctr"/>
            <a:lstStyle/>
            <a:p>
              <a:endParaRPr lang="fr-FR" sz="2400"/>
            </a:p>
          </p:txBody>
        </p:sp>
        <p:sp>
          <p:nvSpPr>
            <p:cNvPr id="100" name="Freeform: Shape 99">
              <a:extLst>
                <a:ext uri="{FF2B5EF4-FFF2-40B4-BE49-F238E27FC236}">
                  <a16:creationId xmlns:a16="http://schemas.microsoft.com/office/drawing/2014/main" id="{1F3B9FE3-2C44-47A7-B044-0C54536173E5}"/>
                </a:ext>
              </a:extLst>
            </p:cNvPr>
            <p:cNvSpPr/>
            <p:nvPr/>
          </p:nvSpPr>
          <p:spPr>
            <a:xfrm>
              <a:off x="1421260" y="518985"/>
              <a:ext cx="6246" cy="12492"/>
            </a:xfrm>
            <a:custGeom>
              <a:avLst/>
              <a:gdLst>
                <a:gd name="connsiteX0" fmla="*/ 125 w 0"/>
                <a:gd name="connsiteY0" fmla="*/ 14428 h 12492"/>
                <a:gd name="connsiteX1" fmla="*/ 63 w 0"/>
                <a:gd name="connsiteY1" fmla="*/ 8620 h 12492"/>
                <a:gd name="connsiteX2" fmla="*/ 0 w 0"/>
                <a:gd name="connsiteY2" fmla="*/ 937 h 12492"/>
                <a:gd name="connsiteX3" fmla="*/ 1999 w 0"/>
                <a:gd name="connsiteY3" fmla="*/ 0 h 12492"/>
                <a:gd name="connsiteX4" fmla="*/ 2998 w 0"/>
                <a:gd name="connsiteY4" fmla="*/ 1874 h 12492"/>
                <a:gd name="connsiteX5" fmla="*/ 2186 w 0"/>
                <a:gd name="connsiteY5" fmla="*/ 3748 h 12492"/>
                <a:gd name="connsiteX6" fmla="*/ 2623 w 0"/>
                <a:gd name="connsiteY6" fmla="*/ 11368 h 12492"/>
                <a:gd name="connsiteX7" fmla="*/ 125 w 0"/>
                <a:gd name="connsiteY7" fmla="*/ 1442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125" y="14428"/>
                  </a:moveTo>
                  <a:cubicBezTo>
                    <a:pt x="125" y="12492"/>
                    <a:pt x="63" y="10556"/>
                    <a:pt x="63" y="8620"/>
                  </a:cubicBezTo>
                  <a:cubicBezTo>
                    <a:pt x="187" y="6059"/>
                    <a:pt x="750" y="3498"/>
                    <a:pt x="0" y="937"/>
                  </a:cubicBezTo>
                  <a:cubicBezTo>
                    <a:pt x="687" y="625"/>
                    <a:pt x="1374" y="312"/>
                    <a:pt x="1999" y="0"/>
                  </a:cubicBezTo>
                  <a:cubicBezTo>
                    <a:pt x="2311" y="625"/>
                    <a:pt x="2686" y="1249"/>
                    <a:pt x="2998" y="1874"/>
                  </a:cubicBezTo>
                  <a:cubicBezTo>
                    <a:pt x="2748" y="2498"/>
                    <a:pt x="2499" y="3123"/>
                    <a:pt x="2186" y="3748"/>
                  </a:cubicBezTo>
                  <a:cubicBezTo>
                    <a:pt x="3248" y="6246"/>
                    <a:pt x="2623" y="8807"/>
                    <a:pt x="2623" y="11368"/>
                  </a:cubicBezTo>
                  <a:cubicBezTo>
                    <a:pt x="2623" y="12680"/>
                    <a:pt x="2374" y="14366"/>
                    <a:pt x="125" y="14428"/>
                  </a:cubicBezTo>
                  <a:close/>
                </a:path>
              </a:pathLst>
            </a:custGeom>
            <a:grpFill/>
            <a:ln w="6246" cap="flat">
              <a:noFill/>
              <a:prstDash val="solid"/>
              <a:miter/>
            </a:ln>
          </p:spPr>
          <p:txBody>
            <a:bodyPr rtlCol="0" anchor="ctr"/>
            <a:lstStyle/>
            <a:p>
              <a:endParaRPr lang="fr-FR" sz="2400"/>
            </a:p>
          </p:txBody>
        </p:sp>
        <p:sp>
          <p:nvSpPr>
            <p:cNvPr id="101" name="Freeform: Shape 100">
              <a:extLst>
                <a:ext uri="{FF2B5EF4-FFF2-40B4-BE49-F238E27FC236}">
                  <a16:creationId xmlns:a16="http://schemas.microsoft.com/office/drawing/2014/main" id="{03865AAC-3444-4055-BB7E-E4F28180662F}"/>
                </a:ext>
              </a:extLst>
            </p:cNvPr>
            <p:cNvSpPr/>
            <p:nvPr/>
          </p:nvSpPr>
          <p:spPr>
            <a:xfrm>
              <a:off x="1387094" y="452097"/>
              <a:ext cx="6246" cy="6246"/>
            </a:xfrm>
            <a:custGeom>
              <a:avLst/>
              <a:gdLst>
                <a:gd name="connsiteX0" fmla="*/ 7433 w 6246"/>
                <a:gd name="connsiteY0" fmla="*/ 7862 h 6246"/>
                <a:gd name="connsiteX1" fmla="*/ 8557 w 6246"/>
                <a:gd name="connsiteY1" fmla="*/ 10735 h 6246"/>
                <a:gd name="connsiteX2" fmla="*/ 6246 w 6246"/>
                <a:gd name="connsiteY2" fmla="*/ 10798 h 6246"/>
                <a:gd name="connsiteX3" fmla="*/ 0 w 6246"/>
                <a:gd name="connsiteY3" fmla="*/ 117 h 6246"/>
                <a:gd name="connsiteX4" fmla="*/ 0 w 6246"/>
                <a:gd name="connsiteY4" fmla="*/ 117 h 6246"/>
                <a:gd name="connsiteX5" fmla="*/ 1062 w 6246"/>
                <a:gd name="connsiteY5" fmla="*/ 117 h 6246"/>
                <a:gd name="connsiteX6" fmla="*/ 3560 w 6246"/>
                <a:gd name="connsiteY6" fmla="*/ 1866 h 6246"/>
                <a:gd name="connsiteX7" fmla="*/ 7433 w 6246"/>
                <a:gd name="connsiteY7" fmla="*/ 78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433" y="7862"/>
                  </a:moveTo>
                  <a:cubicBezTo>
                    <a:pt x="7808" y="8799"/>
                    <a:pt x="8182" y="9799"/>
                    <a:pt x="8557" y="10735"/>
                  </a:cubicBezTo>
                  <a:cubicBezTo>
                    <a:pt x="7808" y="11360"/>
                    <a:pt x="6683" y="11485"/>
                    <a:pt x="6246" y="10798"/>
                  </a:cubicBezTo>
                  <a:cubicBezTo>
                    <a:pt x="3873" y="7363"/>
                    <a:pt x="687" y="4364"/>
                    <a:pt x="0" y="117"/>
                  </a:cubicBezTo>
                  <a:lnTo>
                    <a:pt x="0" y="117"/>
                  </a:lnTo>
                  <a:cubicBezTo>
                    <a:pt x="375" y="117"/>
                    <a:pt x="687" y="117"/>
                    <a:pt x="1062" y="117"/>
                  </a:cubicBezTo>
                  <a:cubicBezTo>
                    <a:pt x="2936" y="-507"/>
                    <a:pt x="2499" y="1554"/>
                    <a:pt x="3560" y="1866"/>
                  </a:cubicBezTo>
                  <a:cubicBezTo>
                    <a:pt x="5559" y="3428"/>
                    <a:pt x="6933" y="5426"/>
                    <a:pt x="7433" y="7862"/>
                  </a:cubicBezTo>
                  <a:close/>
                </a:path>
              </a:pathLst>
            </a:custGeom>
            <a:grpFill/>
            <a:ln w="6246" cap="flat">
              <a:noFill/>
              <a:prstDash val="solid"/>
              <a:miter/>
            </a:ln>
          </p:spPr>
          <p:txBody>
            <a:bodyPr rtlCol="0" anchor="ctr"/>
            <a:lstStyle/>
            <a:p>
              <a:endParaRPr lang="fr-FR" sz="2400"/>
            </a:p>
          </p:txBody>
        </p:sp>
        <p:sp>
          <p:nvSpPr>
            <p:cNvPr id="102" name="Freeform: Shape 101">
              <a:extLst>
                <a:ext uri="{FF2B5EF4-FFF2-40B4-BE49-F238E27FC236}">
                  <a16:creationId xmlns:a16="http://schemas.microsoft.com/office/drawing/2014/main" id="{58EF2AFF-7C20-41A2-B859-9A7A53BB9BC6}"/>
                </a:ext>
              </a:extLst>
            </p:cNvPr>
            <p:cNvSpPr/>
            <p:nvPr/>
          </p:nvSpPr>
          <p:spPr>
            <a:xfrm>
              <a:off x="1405998" y="477323"/>
              <a:ext cx="6246" cy="6246"/>
            </a:xfrm>
            <a:custGeom>
              <a:avLst/>
              <a:gdLst>
                <a:gd name="connsiteX0" fmla="*/ 3520 w 0"/>
                <a:gd name="connsiteY0" fmla="*/ 10681 h 6246"/>
                <a:gd name="connsiteX1" fmla="*/ 334 w 0"/>
                <a:gd name="connsiteY1" fmla="*/ 999 h 6246"/>
                <a:gd name="connsiteX2" fmla="*/ 22 w 0"/>
                <a:gd name="connsiteY2" fmla="*/ 312 h 6246"/>
                <a:gd name="connsiteX3" fmla="*/ 334 w 0"/>
                <a:gd name="connsiteY3" fmla="*/ 0 h 6246"/>
                <a:gd name="connsiteX4" fmla="*/ 4581 w 0"/>
                <a:gd name="connsiteY4" fmla="*/ 9681 h 6246"/>
                <a:gd name="connsiteX5" fmla="*/ 3520 w 0"/>
                <a:gd name="connsiteY5"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520" y="10681"/>
                  </a:moveTo>
                  <a:cubicBezTo>
                    <a:pt x="896" y="7870"/>
                    <a:pt x="646" y="4435"/>
                    <a:pt x="334" y="999"/>
                  </a:cubicBezTo>
                  <a:cubicBezTo>
                    <a:pt x="22" y="750"/>
                    <a:pt x="-41" y="562"/>
                    <a:pt x="22" y="312"/>
                  </a:cubicBezTo>
                  <a:cubicBezTo>
                    <a:pt x="147" y="62"/>
                    <a:pt x="209" y="0"/>
                    <a:pt x="334" y="0"/>
                  </a:cubicBezTo>
                  <a:cubicBezTo>
                    <a:pt x="1771" y="3248"/>
                    <a:pt x="3145" y="6433"/>
                    <a:pt x="4581" y="9681"/>
                  </a:cubicBezTo>
                  <a:cubicBezTo>
                    <a:pt x="4269" y="10056"/>
                    <a:pt x="4207" y="10618"/>
                    <a:pt x="3520" y="10681"/>
                  </a:cubicBezTo>
                  <a:close/>
                </a:path>
              </a:pathLst>
            </a:custGeom>
            <a:grpFill/>
            <a:ln w="6246" cap="flat">
              <a:noFill/>
              <a:prstDash val="solid"/>
              <a:miter/>
            </a:ln>
          </p:spPr>
          <p:txBody>
            <a:bodyPr rtlCol="0" anchor="ctr"/>
            <a:lstStyle/>
            <a:p>
              <a:endParaRPr lang="fr-FR" sz="2400"/>
            </a:p>
          </p:txBody>
        </p:sp>
        <p:sp>
          <p:nvSpPr>
            <p:cNvPr id="103" name="Freeform: Shape 102">
              <a:extLst>
                <a:ext uri="{FF2B5EF4-FFF2-40B4-BE49-F238E27FC236}">
                  <a16:creationId xmlns:a16="http://schemas.microsoft.com/office/drawing/2014/main" id="{D2B15A80-4854-407B-B65B-E62752A41A92}"/>
                </a:ext>
              </a:extLst>
            </p:cNvPr>
            <p:cNvSpPr/>
            <p:nvPr/>
          </p:nvSpPr>
          <p:spPr>
            <a:xfrm>
              <a:off x="1389945" y="453151"/>
              <a:ext cx="6246" cy="6246"/>
            </a:xfrm>
            <a:custGeom>
              <a:avLst/>
              <a:gdLst>
                <a:gd name="connsiteX0" fmla="*/ 4581 w 0"/>
                <a:gd name="connsiteY0" fmla="*/ 6808 h 6246"/>
                <a:gd name="connsiteX1" fmla="*/ 334 w 0"/>
                <a:gd name="connsiteY1" fmla="*/ 999 h 6246"/>
                <a:gd name="connsiteX2" fmla="*/ 22 w 0"/>
                <a:gd name="connsiteY2" fmla="*/ 312 h 6246"/>
                <a:gd name="connsiteX3" fmla="*/ 334 w 0"/>
                <a:gd name="connsiteY3" fmla="*/ 0 h 6246"/>
                <a:gd name="connsiteX4" fmla="*/ 5643 w 0"/>
                <a:gd name="connsiteY4" fmla="*/ 4872 h 6246"/>
                <a:gd name="connsiteX5" fmla="*/ 4581 w 0"/>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581" y="6808"/>
                  </a:moveTo>
                  <a:cubicBezTo>
                    <a:pt x="3145" y="4872"/>
                    <a:pt x="1708" y="2936"/>
                    <a:pt x="334" y="999"/>
                  </a:cubicBezTo>
                  <a:cubicBezTo>
                    <a:pt x="22" y="749"/>
                    <a:pt x="-41" y="562"/>
                    <a:pt x="22" y="312"/>
                  </a:cubicBezTo>
                  <a:cubicBezTo>
                    <a:pt x="147" y="125"/>
                    <a:pt x="209" y="0"/>
                    <a:pt x="334" y="0"/>
                  </a:cubicBezTo>
                  <a:cubicBezTo>
                    <a:pt x="2520" y="1249"/>
                    <a:pt x="4332" y="2873"/>
                    <a:pt x="5643" y="4872"/>
                  </a:cubicBezTo>
                  <a:cubicBezTo>
                    <a:pt x="4831" y="5309"/>
                    <a:pt x="4644" y="5996"/>
                    <a:pt x="4581" y="6808"/>
                  </a:cubicBezTo>
                  <a:close/>
                </a:path>
              </a:pathLst>
            </a:custGeom>
            <a:grpFill/>
            <a:ln w="6246" cap="flat">
              <a:noFill/>
              <a:prstDash val="solid"/>
              <a:miter/>
            </a:ln>
          </p:spPr>
          <p:txBody>
            <a:bodyPr rtlCol="0" anchor="ctr"/>
            <a:lstStyle/>
            <a:p>
              <a:endParaRPr lang="fr-FR" sz="2400"/>
            </a:p>
          </p:txBody>
        </p:sp>
        <p:sp>
          <p:nvSpPr>
            <p:cNvPr id="104" name="Freeform: Shape 103">
              <a:extLst>
                <a:ext uri="{FF2B5EF4-FFF2-40B4-BE49-F238E27FC236}">
                  <a16:creationId xmlns:a16="http://schemas.microsoft.com/office/drawing/2014/main" id="{C7430801-3645-4177-88A9-F3D0FE292BFC}"/>
                </a:ext>
              </a:extLst>
            </p:cNvPr>
            <p:cNvSpPr/>
            <p:nvPr/>
          </p:nvSpPr>
          <p:spPr>
            <a:xfrm>
              <a:off x="1372978" y="427167"/>
              <a:ext cx="6246" cy="6246"/>
            </a:xfrm>
            <a:custGeom>
              <a:avLst/>
              <a:gdLst>
                <a:gd name="connsiteX0" fmla="*/ 0 w 0"/>
                <a:gd name="connsiteY0" fmla="*/ 0 h 0"/>
                <a:gd name="connsiteX1" fmla="*/ 5434 w 0"/>
                <a:gd name="connsiteY1" fmla="*/ 3061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2061" y="687"/>
                    <a:pt x="5621" y="-812"/>
                    <a:pt x="5434" y="3061"/>
                  </a:cubicBezTo>
                  <a:cubicBezTo>
                    <a:pt x="3310" y="2498"/>
                    <a:pt x="1374" y="1624"/>
                    <a:pt x="0" y="0"/>
                  </a:cubicBezTo>
                  <a:close/>
                </a:path>
              </a:pathLst>
            </a:custGeom>
            <a:grpFill/>
            <a:ln w="6246" cap="flat">
              <a:noFill/>
              <a:prstDash val="solid"/>
              <a:miter/>
            </a:ln>
          </p:spPr>
          <p:txBody>
            <a:bodyPr rtlCol="0" anchor="ctr"/>
            <a:lstStyle/>
            <a:p>
              <a:endParaRPr lang="fr-FR" sz="2400"/>
            </a:p>
          </p:txBody>
        </p:sp>
        <p:sp>
          <p:nvSpPr>
            <p:cNvPr id="105" name="Freeform: Shape 104">
              <a:extLst>
                <a:ext uri="{FF2B5EF4-FFF2-40B4-BE49-F238E27FC236}">
                  <a16:creationId xmlns:a16="http://schemas.microsoft.com/office/drawing/2014/main" id="{CE87FB08-435E-4AC8-9BD7-469EEFADE5B5}"/>
                </a:ext>
              </a:extLst>
            </p:cNvPr>
            <p:cNvSpPr/>
            <p:nvPr/>
          </p:nvSpPr>
          <p:spPr>
            <a:xfrm>
              <a:off x="1409517" y="487005"/>
              <a:ext cx="6246" cy="6246"/>
            </a:xfrm>
            <a:custGeom>
              <a:avLst/>
              <a:gdLst>
                <a:gd name="connsiteX0" fmla="*/ 0 w 0"/>
                <a:gd name="connsiteY0" fmla="*/ 999 h 0"/>
                <a:gd name="connsiteX1" fmla="*/ 1062 w 0"/>
                <a:gd name="connsiteY1" fmla="*/ 0 h 0"/>
                <a:gd name="connsiteX2" fmla="*/ 2186 w 0"/>
                <a:gd name="connsiteY2" fmla="*/ 580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12"/>
                    <a:pt x="1062" y="0"/>
                  </a:cubicBezTo>
                  <a:cubicBezTo>
                    <a:pt x="2311" y="1811"/>
                    <a:pt x="2186" y="3810"/>
                    <a:pt x="2186" y="5809"/>
                  </a:cubicBezTo>
                  <a:cubicBezTo>
                    <a:pt x="687" y="4497"/>
                    <a:pt x="500" y="2686"/>
                    <a:pt x="0" y="999"/>
                  </a:cubicBezTo>
                  <a:close/>
                </a:path>
              </a:pathLst>
            </a:custGeom>
            <a:grpFill/>
            <a:ln w="6246" cap="flat">
              <a:noFill/>
              <a:prstDash val="solid"/>
              <a:miter/>
            </a:ln>
          </p:spPr>
          <p:txBody>
            <a:bodyPr rtlCol="0" anchor="ctr"/>
            <a:lstStyle/>
            <a:p>
              <a:endParaRPr lang="fr-FR" sz="2400"/>
            </a:p>
          </p:txBody>
        </p:sp>
        <p:sp>
          <p:nvSpPr>
            <p:cNvPr id="106" name="Freeform: Shape 105">
              <a:extLst>
                <a:ext uri="{FF2B5EF4-FFF2-40B4-BE49-F238E27FC236}">
                  <a16:creationId xmlns:a16="http://schemas.microsoft.com/office/drawing/2014/main" id="{214074CC-CEAD-4F20-981B-9E31FA477D55}"/>
                </a:ext>
              </a:extLst>
            </p:cNvPr>
            <p:cNvSpPr/>
            <p:nvPr/>
          </p:nvSpPr>
          <p:spPr>
            <a:xfrm>
              <a:off x="1403146" y="474450"/>
              <a:ext cx="6246" cy="6246"/>
            </a:xfrm>
            <a:custGeom>
              <a:avLst/>
              <a:gdLst>
                <a:gd name="connsiteX0" fmla="*/ 3186 w 0"/>
                <a:gd name="connsiteY0" fmla="*/ 2873 h 0"/>
                <a:gd name="connsiteX1" fmla="*/ 3186 w 0"/>
                <a:gd name="connsiteY1" fmla="*/ 3873 h 0"/>
                <a:gd name="connsiteX2" fmla="*/ 0 w 0"/>
                <a:gd name="connsiteY2" fmla="*/ 937 h 0"/>
                <a:gd name="connsiteX3" fmla="*/ 2061 w 0"/>
                <a:gd name="connsiteY3" fmla="*/ 0 h 0"/>
                <a:gd name="connsiteX4" fmla="*/ 3186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6" y="2873"/>
                  </a:moveTo>
                  <a:cubicBezTo>
                    <a:pt x="3186" y="3186"/>
                    <a:pt x="3186" y="3560"/>
                    <a:pt x="3186" y="3873"/>
                  </a:cubicBezTo>
                  <a:cubicBezTo>
                    <a:pt x="2124" y="2873"/>
                    <a:pt x="1062" y="1936"/>
                    <a:pt x="0" y="937"/>
                  </a:cubicBezTo>
                  <a:cubicBezTo>
                    <a:pt x="687" y="625"/>
                    <a:pt x="1374" y="312"/>
                    <a:pt x="2061" y="0"/>
                  </a:cubicBezTo>
                  <a:cubicBezTo>
                    <a:pt x="2436" y="937"/>
                    <a:pt x="2811" y="1936"/>
                    <a:pt x="3186" y="2873"/>
                  </a:cubicBezTo>
                  <a:close/>
                </a:path>
              </a:pathLst>
            </a:custGeom>
            <a:grpFill/>
            <a:ln w="6246" cap="flat">
              <a:noFill/>
              <a:prstDash val="solid"/>
              <a:miter/>
            </a:ln>
          </p:spPr>
          <p:txBody>
            <a:bodyPr rtlCol="0" anchor="ctr"/>
            <a:lstStyle/>
            <a:p>
              <a:endParaRPr lang="fr-FR" sz="2400"/>
            </a:p>
          </p:txBody>
        </p:sp>
        <p:sp>
          <p:nvSpPr>
            <p:cNvPr id="107" name="Freeform: Shape 106">
              <a:extLst>
                <a:ext uri="{FF2B5EF4-FFF2-40B4-BE49-F238E27FC236}">
                  <a16:creationId xmlns:a16="http://schemas.microsoft.com/office/drawing/2014/main" id="{730C3CD8-E02B-45FA-9F93-8497A9B8E156}"/>
                </a:ext>
              </a:extLst>
            </p:cNvPr>
            <p:cNvSpPr/>
            <p:nvPr/>
          </p:nvSpPr>
          <p:spPr>
            <a:xfrm>
              <a:off x="1388156" y="451017"/>
              <a:ext cx="6246" cy="6246"/>
            </a:xfrm>
            <a:custGeom>
              <a:avLst/>
              <a:gdLst>
                <a:gd name="connsiteX0" fmla="*/ 2124 w 0"/>
                <a:gd name="connsiteY0" fmla="*/ 2135 h 0"/>
                <a:gd name="connsiteX1" fmla="*/ 2124 w 0"/>
                <a:gd name="connsiteY1" fmla="*/ 3134 h 0"/>
                <a:gd name="connsiteX2" fmla="*/ 0 w 0"/>
                <a:gd name="connsiteY2" fmla="*/ 1198 h 0"/>
                <a:gd name="connsiteX3" fmla="*/ 1062 w 0"/>
                <a:gd name="connsiteY3" fmla="*/ 136 h 0"/>
                <a:gd name="connsiteX4" fmla="*/ 2124 w 0"/>
                <a:gd name="connsiteY4" fmla="*/ 21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2135"/>
                  </a:moveTo>
                  <a:cubicBezTo>
                    <a:pt x="2124" y="2447"/>
                    <a:pt x="2124" y="2759"/>
                    <a:pt x="2124" y="3134"/>
                  </a:cubicBezTo>
                  <a:cubicBezTo>
                    <a:pt x="1437" y="2509"/>
                    <a:pt x="687" y="1822"/>
                    <a:pt x="0" y="1198"/>
                  </a:cubicBezTo>
                  <a:cubicBezTo>
                    <a:pt x="125" y="635"/>
                    <a:pt x="125" y="-364"/>
                    <a:pt x="1062" y="136"/>
                  </a:cubicBezTo>
                  <a:cubicBezTo>
                    <a:pt x="1624" y="386"/>
                    <a:pt x="1811" y="1447"/>
                    <a:pt x="2124" y="2135"/>
                  </a:cubicBezTo>
                  <a:close/>
                </a:path>
              </a:pathLst>
            </a:custGeom>
            <a:grpFill/>
            <a:ln w="6246" cap="flat">
              <a:noFill/>
              <a:prstDash val="solid"/>
              <a:miter/>
            </a:ln>
          </p:spPr>
          <p:txBody>
            <a:bodyPr rtlCol="0" anchor="ctr"/>
            <a:lstStyle/>
            <a:p>
              <a:endParaRPr lang="fr-FR" sz="2400"/>
            </a:p>
          </p:txBody>
        </p:sp>
        <p:sp>
          <p:nvSpPr>
            <p:cNvPr id="108" name="Freeform: Shape 107">
              <a:extLst>
                <a:ext uri="{FF2B5EF4-FFF2-40B4-BE49-F238E27FC236}">
                  <a16:creationId xmlns:a16="http://schemas.microsoft.com/office/drawing/2014/main" id="{87439216-9168-4F6C-A0A2-388462BFA230}"/>
                </a:ext>
              </a:extLst>
            </p:cNvPr>
            <p:cNvSpPr/>
            <p:nvPr/>
          </p:nvSpPr>
          <p:spPr>
            <a:xfrm>
              <a:off x="1168419" y="654326"/>
              <a:ext cx="143660" cy="18738"/>
            </a:xfrm>
            <a:custGeom>
              <a:avLst/>
              <a:gdLst>
                <a:gd name="connsiteX0" fmla="*/ 98813 w 143659"/>
                <a:gd name="connsiteY0" fmla="*/ 15438 h 18738"/>
                <a:gd name="connsiteX1" fmla="*/ 80699 w 143659"/>
                <a:gd name="connsiteY1" fmla="*/ 18374 h 18738"/>
                <a:gd name="connsiteX2" fmla="*/ 51780 w 143659"/>
                <a:gd name="connsiteY2" fmla="*/ 18311 h 18738"/>
                <a:gd name="connsiteX3" fmla="*/ 47907 w 143659"/>
                <a:gd name="connsiteY3" fmla="*/ 19311 h 18738"/>
                <a:gd name="connsiteX4" fmla="*/ 19925 w 143659"/>
                <a:gd name="connsiteY4" fmla="*/ 12940 h 18738"/>
                <a:gd name="connsiteX5" fmla="*/ 4747 w 143659"/>
                <a:gd name="connsiteY5" fmla="*/ 5132 h 18738"/>
                <a:gd name="connsiteX6" fmla="*/ 0 w 143659"/>
                <a:gd name="connsiteY6" fmla="*/ 1572 h 18738"/>
                <a:gd name="connsiteX7" fmla="*/ 8682 w 143659"/>
                <a:gd name="connsiteY7" fmla="*/ 1197 h 18738"/>
                <a:gd name="connsiteX8" fmla="*/ 35977 w 143659"/>
                <a:gd name="connsiteY8" fmla="*/ 8568 h 18738"/>
                <a:gd name="connsiteX9" fmla="*/ 68894 w 143659"/>
                <a:gd name="connsiteY9" fmla="*/ 11503 h 18738"/>
                <a:gd name="connsiteX10" fmla="*/ 84135 w 143659"/>
                <a:gd name="connsiteY10" fmla="*/ 10004 h 18738"/>
                <a:gd name="connsiteX11" fmla="*/ 79762 w 143659"/>
                <a:gd name="connsiteY11" fmla="*/ 8942 h 18738"/>
                <a:gd name="connsiteX12" fmla="*/ 83073 w 143659"/>
                <a:gd name="connsiteY12" fmla="*/ 6444 h 18738"/>
                <a:gd name="connsiteX13" fmla="*/ 89506 w 143659"/>
                <a:gd name="connsiteY13" fmla="*/ 4508 h 18738"/>
                <a:gd name="connsiteX14" fmla="*/ 100936 w 143659"/>
                <a:gd name="connsiteY14" fmla="*/ 3758 h 18738"/>
                <a:gd name="connsiteX15" fmla="*/ 98188 w 143659"/>
                <a:gd name="connsiteY15" fmla="*/ 6132 h 18738"/>
                <a:gd name="connsiteX16" fmla="*/ 97688 w 143659"/>
                <a:gd name="connsiteY16" fmla="*/ 6069 h 18738"/>
                <a:gd name="connsiteX17" fmla="*/ 98313 w 143659"/>
                <a:gd name="connsiteY17" fmla="*/ 6756 h 18738"/>
                <a:gd name="connsiteX18" fmla="*/ 102373 w 143659"/>
                <a:gd name="connsiteY18" fmla="*/ 9005 h 18738"/>
                <a:gd name="connsiteX19" fmla="*/ 99500 w 143659"/>
                <a:gd name="connsiteY19" fmla="*/ 10504 h 18738"/>
                <a:gd name="connsiteX20" fmla="*/ 102935 w 143659"/>
                <a:gd name="connsiteY20" fmla="*/ 9629 h 18738"/>
                <a:gd name="connsiteX21" fmla="*/ 116114 w 143659"/>
                <a:gd name="connsiteY21" fmla="*/ 6694 h 18738"/>
                <a:gd name="connsiteX22" fmla="*/ 127919 w 143659"/>
                <a:gd name="connsiteY22" fmla="*/ 4258 h 18738"/>
                <a:gd name="connsiteX23" fmla="*/ 140911 w 143659"/>
                <a:gd name="connsiteY23" fmla="*/ 1884 h 18738"/>
                <a:gd name="connsiteX24" fmla="*/ 145159 w 143659"/>
                <a:gd name="connsiteY24" fmla="*/ 3883 h 18738"/>
                <a:gd name="connsiteX25" fmla="*/ 118800 w 143659"/>
                <a:gd name="connsiteY25" fmla="*/ 13502 h 18738"/>
                <a:gd name="connsiteX26" fmla="*/ 110243 w 143659"/>
                <a:gd name="connsiteY26" fmla="*/ 14751 h 18738"/>
                <a:gd name="connsiteX27" fmla="*/ 98813 w 143659"/>
                <a:gd name="connsiteY27" fmla="*/ 1543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659" h="18738">
                  <a:moveTo>
                    <a:pt x="98813" y="15438"/>
                  </a:moveTo>
                  <a:cubicBezTo>
                    <a:pt x="92754" y="16375"/>
                    <a:pt x="86695" y="17187"/>
                    <a:pt x="80699" y="18374"/>
                  </a:cubicBezTo>
                  <a:cubicBezTo>
                    <a:pt x="71018" y="20248"/>
                    <a:pt x="61399" y="18624"/>
                    <a:pt x="51780" y="18311"/>
                  </a:cubicBezTo>
                  <a:cubicBezTo>
                    <a:pt x="50718" y="19373"/>
                    <a:pt x="49344" y="19498"/>
                    <a:pt x="47907" y="19311"/>
                  </a:cubicBezTo>
                  <a:cubicBezTo>
                    <a:pt x="38351" y="17999"/>
                    <a:pt x="28794" y="16687"/>
                    <a:pt x="19925" y="12940"/>
                  </a:cubicBezTo>
                  <a:cubicBezTo>
                    <a:pt x="16427" y="7943"/>
                    <a:pt x="10618" y="6506"/>
                    <a:pt x="4747" y="5132"/>
                  </a:cubicBezTo>
                  <a:cubicBezTo>
                    <a:pt x="2561" y="4570"/>
                    <a:pt x="250" y="4258"/>
                    <a:pt x="0" y="1572"/>
                  </a:cubicBezTo>
                  <a:cubicBezTo>
                    <a:pt x="2748" y="-1301"/>
                    <a:pt x="5871" y="510"/>
                    <a:pt x="8682" y="1197"/>
                  </a:cubicBezTo>
                  <a:cubicBezTo>
                    <a:pt x="17801" y="3508"/>
                    <a:pt x="26546" y="6944"/>
                    <a:pt x="35977" y="8568"/>
                  </a:cubicBezTo>
                  <a:cubicBezTo>
                    <a:pt x="46533" y="13065"/>
                    <a:pt x="57776" y="12253"/>
                    <a:pt x="68894" y="11503"/>
                  </a:cubicBezTo>
                  <a:cubicBezTo>
                    <a:pt x="74328" y="11128"/>
                    <a:pt x="79637" y="9754"/>
                    <a:pt x="84135" y="10004"/>
                  </a:cubicBezTo>
                  <a:cubicBezTo>
                    <a:pt x="83260" y="10129"/>
                    <a:pt x="81386" y="10192"/>
                    <a:pt x="79762" y="8942"/>
                  </a:cubicBezTo>
                  <a:cubicBezTo>
                    <a:pt x="79200" y="6319"/>
                    <a:pt x="81574" y="6569"/>
                    <a:pt x="83073" y="6444"/>
                  </a:cubicBezTo>
                  <a:cubicBezTo>
                    <a:pt x="85446" y="6257"/>
                    <a:pt x="87570" y="5632"/>
                    <a:pt x="89506" y="4508"/>
                  </a:cubicBezTo>
                  <a:cubicBezTo>
                    <a:pt x="93254" y="3696"/>
                    <a:pt x="96939" y="1822"/>
                    <a:pt x="100936" y="3758"/>
                  </a:cubicBezTo>
                  <a:cubicBezTo>
                    <a:pt x="101624" y="6069"/>
                    <a:pt x="99562" y="5757"/>
                    <a:pt x="98188" y="6132"/>
                  </a:cubicBezTo>
                  <a:cubicBezTo>
                    <a:pt x="97501" y="6319"/>
                    <a:pt x="97001" y="6319"/>
                    <a:pt x="97688" y="6069"/>
                  </a:cubicBezTo>
                  <a:cubicBezTo>
                    <a:pt x="97688" y="6381"/>
                    <a:pt x="97876" y="6631"/>
                    <a:pt x="98313" y="6756"/>
                  </a:cubicBezTo>
                  <a:cubicBezTo>
                    <a:pt x="99437" y="7818"/>
                    <a:pt x="101561" y="7443"/>
                    <a:pt x="102373" y="9005"/>
                  </a:cubicBezTo>
                  <a:cubicBezTo>
                    <a:pt x="102061" y="10566"/>
                    <a:pt x="100437" y="10004"/>
                    <a:pt x="99500" y="10504"/>
                  </a:cubicBezTo>
                  <a:cubicBezTo>
                    <a:pt x="100624" y="10192"/>
                    <a:pt x="101811" y="10004"/>
                    <a:pt x="102935" y="9629"/>
                  </a:cubicBezTo>
                  <a:cubicBezTo>
                    <a:pt x="107183" y="8193"/>
                    <a:pt x="111492" y="6944"/>
                    <a:pt x="116114" y="6694"/>
                  </a:cubicBezTo>
                  <a:cubicBezTo>
                    <a:pt x="120424" y="7318"/>
                    <a:pt x="124234" y="5694"/>
                    <a:pt x="127919" y="4258"/>
                  </a:cubicBezTo>
                  <a:cubicBezTo>
                    <a:pt x="132104" y="2571"/>
                    <a:pt x="136414" y="1884"/>
                    <a:pt x="140911" y="1884"/>
                  </a:cubicBezTo>
                  <a:cubicBezTo>
                    <a:pt x="142660" y="1884"/>
                    <a:pt x="144596" y="1634"/>
                    <a:pt x="145159" y="3883"/>
                  </a:cubicBezTo>
                  <a:cubicBezTo>
                    <a:pt x="137039" y="8568"/>
                    <a:pt x="127982" y="11191"/>
                    <a:pt x="118800" y="13502"/>
                  </a:cubicBezTo>
                  <a:cubicBezTo>
                    <a:pt x="115865" y="13377"/>
                    <a:pt x="113054" y="14002"/>
                    <a:pt x="110243" y="14751"/>
                  </a:cubicBezTo>
                  <a:cubicBezTo>
                    <a:pt x="106433" y="15188"/>
                    <a:pt x="102685" y="16438"/>
                    <a:pt x="98813" y="15438"/>
                  </a:cubicBezTo>
                  <a:close/>
                </a:path>
              </a:pathLst>
            </a:custGeom>
            <a:grpFill/>
            <a:ln w="6246" cap="flat">
              <a:noFill/>
              <a:prstDash val="solid"/>
              <a:miter/>
            </a:ln>
          </p:spPr>
          <p:txBody>
            <a:bodyPr rtlCol="0" anchor="ctr"/>
            <a:lstStyle/>
            <a:p>
              <a:endParaRPr lang="fr-FR" sz="2400"/>
            </a:p>
          </p:txBody>
        </p:sp>
        <p:sp>
          <p:nvSpPr>
            <p:cNvPr id="109" name="Freeform: Shape 108">
              <a:extLst>
                <a:ext uri="{FF2B5EF4-FFF2-40B4-BE49-F238E27FC236}">
                  <a16:creationId xmlns:a16="http://schemas.microsoft.com/office/drawing/2014/main" id="{94481EE4-3BF4-4939-9AE3-C914CD76DA78}"/>
                </a:ext>
              </a:extLst>
            </p:cNvPr>
            <p:cNvSpPr/>
            <p:nvPr/>
          </p:nvSpPr>
          <p:spPr>
            <a:xfrm>
              <a:off x="1267169" y="607304"/>
              <a:ext cx="118675" cy="62461"/>
            </a:xfrm>
            <a:custGeom>
              <a:avLst/>
              <a:gdLst>
                <a:gd name="connsiteX0" fmla="*/ 19300 w 118675"/>
                <a:gd name="connsiteY0" fmla="*/ 59525 h 62460"/>
                <a:gd name="connsiteX1" fmla="*/ 46033 w 118675"/>
                <a:gd name="connsiteY1" fmla="*/ 50843 h 62460"/>
                <a:gd name="connsiteX2" fmla="*/ 54778 w 118675"/>
                <a:gd name="connsiteY2" fmla="*/ 46408 h 62460"/>
                <a:gd name="connsiteX3" fmla="*/ 55465 w 118675"/>
                <a:gd name="connsiteY3" fmla="*/ 46221 h 62460"/>
                <a:gd name="connsiteX4" fmla="*/ 55028 w 118675"/>
                <a:gd name="connsiteY4" fmla="*/ 46221 h 62460"/>
                <a:gd name="connsiteX5" fmla="*/ 52967 w 118675"/>
                <a:gd name="connsiteY5" fmla="*/ 46783 h 62460"/>
                <a:gd name="connsiteX6" fmla="*/ 49344 w 118675"/>
                <a:gd name="connsiteY6" fmla="*/ 45659 h 62460"/>
                <a:gd name="connsiteX7" fmla="*/ 51967 w 118675"/>
                <a:gd name="connsiteY7" fmla="*/ 43035 h 62460"/>
                <a:gd name="connsiteX8" fmla="*/ 73266 w 118675"/>
                <a:gd name="connsiteY8" fmla="*/ 34228 h 62460"/>
                <a:gd name="connsiteX9" fmla="*/ 84322 w 118675"/>
                <a:gd name="connsiteY9" fmla="*/ 27608 h 62460"/>
                <a:gd name="connsiteX10" fmla="*/ 113991 w 118675"/>
                <a:gd name="connsiteY10" fmla="*/ 5372 h 62460"/>
                <a:gd name="connsiteX11" fmla="*/ 120986 w 118675"/>
                <a:gd name="connsiteY11" fmla="*/ 0 h 62460"/>
                <a:gd name="connsiteX12" fmla="*/ 122548 w 118675"/>
                <a:gd name="connsiteY12" fmla="*/ 2124 h 62460"/>
                <a:gd name="connsiteX13" fmla="*/ 95315 w 118675"/>
                <a:gd name="connsiteY13" fmla="*/ 24859 h 62460"/>
                <a:gd name="connsiteX14" fmla="*/ 108619 w 118675"/>
                <a:gd name="connsiteY14" fmla="*/ 16365 h 62460"/>
                <a:gd name="connsiteX15" fmla="*/ 114615 w 118675"/>
                <a:gd name="connsiteY15" fmla="*/ 13741 h 62460"/>
                <a:gd name="connsiteX16" fmla="*/ 111055 w 118675"/>
                <a:gd name="connsiteY16" fmla="*/ 21674 h 62460"/>
                <a:gd name="connsiteX17" fmla="*/ 104809 w 118675"/>
                <a:gd name="connsiteY17" fmla="*/ 25609 h 62460"/>
                <a:gd name="connsiteX18" fmla="*/ 100187 w 118675"/>
                <a:gd name="connsiteY18" fmla="*/ 31043 h 62460"/>
                <a:gd name="connsiteX19" fmla="*/ 85571 w 118675"/>
                <a:gd name="connsiteY19" fmla="*/ 39038 h 62460"/>
                <a:gd name="connsiteX20" fmla="*/ 82386 w 118675"/>
                <a:gd name="connsiteY20" fmla="*/ 39975 h 62460"/>
                <a:gd name="connsiteX21" fmla="*/ 82885 w 118675"/>
                <a:gd name="connsiteY21" fmla="*/ 38351 h 62460"/>
                <a:gd name="connsiteX22" fmla="*/ 81761 w 118675"/>
                <a:gd name="connsiteY22" fmla="*/ 38850 h 62460"/>
                <a:gd name="connsiteX23" fmla="*/ 52280 w 118675"/>
                <a:gd name="connsiteY23" fmla="*/ 51343 h 62460"/>
                <a:gd name="connsiteX24" fmla="*/ 49219 w 118675"/>
                <a:gd name="connsiteY24" fmla="*/ 51530 h 62460"/>
                <a:gd name="connsiteX25" fmla="*/ 27982 w 118675"/>
                <a:gd name="connsiteY25" fmla="*/ 58900 h 62460"/>
                <a:gd name="connsiteX26" fmla="*/ 6371 w 118675"/>
                <a:gd name="connsiteY26" fmla="*/ 63897 h 62460"/>
                <a:gd name="connsiteX27" fmla="*/ 0 w 118675"/>
                <a:gd name="connsiteY27" fmla="*/ 62211 h 62460"/>
                <a:gd name="connsiteX28" fmla="*/ 11743 w 118675"/>
                <a:gd name="connsiteY28" fmla="*/ 60274 h 62460"/>
                <a:gd name="connsiteX29" fmla="*/ 19300 w 118675"/>
                <a:gd name="connsiteY29" fmla="*/ 5952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8675" h="62460">
                  <a:moveTo>
                    <a:pt x="19300" y="59525"/>
                  </a:moveTo>
                  <a:cubicBezTo>
                    <a:pt x="28732" y="57901"/>
                    <a:pt x="37102" y="53654"/>
                    <a:pt x="46033" y="50843"/>
                  </a:cubicBezTo>
                  <a:cubicBezTo>
                    <a:pt x="47782" y="47283"/>
                    <a:pt x="51967" y="47782"/>
                    <a:pt x="54778" y="46408"/>
                  </a:cubicBezTo>
                  <a:cubicBezTo>
                    <a:pt x="55715" y="46158"/>
                    <a:pt x="55652" y="46845"/>
                    <a:pt x="55465" y="46221"/>
                  </a:cubicBezTo>
                  <a:cubicBezTo>
                    <a:pt x="55465" y="46158"/>
                    <a:pt x="55278" y="46158"/>
                    <a:pt x="55028" y="46221"/>
                  </a:cubicBezTo>
                  <a:cubicBezTo>
                    <a:pt x="54341" y="46471"/>
                    <a:pt x="53716" y="46721"/>
                    <a:pt x="52967" y="46783"/>
                  </a:cubicBezTo>
                  <a:cubicBezTo>
                    <a:pt x="51530" y="46908"/>
                    <a:pt x="49719" y="47158"/>
                    <a:pt x="49344" y="45659"/>
                  </a:cubicBezTo>
                  <a:cubicBezTo>
                    <a:pt x="48907" y="44160"/>
                    <a:pt x="50656" y="43535"/>
                    <a:pt x="51967" y="43035"/>
                  </a:cubicBezTo>
                  <a:cubicBezTo>
                    <a:pt x="59275" y="40474"/>
                    <a:pt x="66146" y="37039"/>
                    <a:pt x="73266" y="34228"/>
                  </a:cubicBezTo>
                  <a:cubicBezTo>
                    <a:pt x="77389" y="32604"/>
                    <a:pt x="81011" y="30293"/>
                    <a:pt x="84322" y="27608"/>
                  </a:cubicBezTo>
                  <a:cubicBezTo>
                    <a:pt x="94690" y="20737"/>
                    <a:pt x="105309" y="14116"/>
                    <a:pt x="113991" y="5372"/>
                  </a:cubicBezTo>
                  <a:cubicBezTo>
                    <a:pt x="116052" y="3310"/>
                    <a:pt x="117176" y="187"/>
                    <a:pt x="120986" y="0"/>
                  </a:cubicBezTo>
                  <a:cubicBezTo>
                    <a:pt x="122173" y="312"/>
                    <a:pt x="122610" y="1124"/>
                    <a:pt x="122548" y="2124"/>
                  </a:cubicBezTo>
                  <a:cubicBezTo>
                    <a:pt x="116801" y="12742"/>
                    <a:pt x="105808" y="18114"/>
                    <a:pt x="95315" y="24859"/>
                  </a:cubicBezTo>
                  <a:cubicBezTo>
                    <a:pt x="100124" y="21924"/>
                    <a:pt x="104434" y="19238"/>
                    <a:pt x="108619" y="16365"/>
                  </a:cubicBezTo>
                  <a:cubicBezTo>
                    <a:pt x="110368" y="15115"/>
                    <a:pt x="111992" y="13491"/>
                    <a:pt x="114615" y="13741"/>
                  </a:cubicBezTo>
                  <a:cubicBezTo>
                    <a:pt x="117738" y="17926"/>
                    <a:pt x="113866" y="19738"/>
                    <a:pt x="111055" y="21674"/>
                  </a:cubicBezTo>
                  <a:cubicBezTo>
                    <a:pt x="108994" y="23110"/>
                    <a:pt x="104622" y="24485"/>
                    <a:pt x="104809" y="25609"/>
                  </a:cubicBezTo>
                  <a:cubicBezTo>
                    <a:pt x="105496" y="29481"/>
                    <a:pt x="102061" y="29731"/>
                    <a:pt x="100187" y="31043"/>
                  </a:cubicBezTo>
                  <a:cubicBezTo>
                    <a:pt x="95690" y="34166"/>
                    <a:pt x="91130" y="37351"/>
                    <a:pt x="85571" y="39038"/>
                  </a:cubicBezTo>
                  <a:cubicBezTo>
                    <a:pt x="84509" y="39350"/>
                    <a:pt x="83447" y="39663"/>
                    <a:pt x="82386" y="39975"/>
                  </a:cubicBezTo>
                  <a:cubicBezTo>
                    <a:pt x="82011" y="39288"/>
                    <a:pt x="82261" y="38788"/>
                    <a:pt x="82885" y="38351"/>
                  </a:cubicBezTo>
                  <a:cubicBezTo>
                    <a:pt x="82323" y="38226"/>
                    <a:pt x="82073" y="38663"/>
                    <a:pt x="81761" y="38850"/>
                  </a:cubicBezTo>
                  <a:cubicBezTo>
                    <a:pt x="72517" y="44097"/>
                    <a:pt x="62835" y="48532"/>
                    <a:pt x="52280" y="51343"/>
                  </a:cubicBezTo>
                  <a:cubicBezTo>
                    <a:pt x="51280" y="51592"/>
                    <a:pt x="50281" y="52030"/>
                    <a:pt x="49219" y="51530"/>
                  </a:cubicBezTo>
                  <a:cubicBezTo>
                    <a:pt x="41661" y="52842"/>
                    <a:pt x="35290" y="56839"/>
                    <a:pt x="27982" y="58900"/>
                  </a:cubicBezTo>
                  <a:cubicBezTo>
                    <a:pt x="20862" y="60899"/>
                    <a:pt x="13616" y="62336"/>
                    <a:pt x="6371" y="63897"/>
                  </a:cubicBezTo>
                  <a:cubicBezTo>
                    <a:pt x="4060" y="64397"/>
                    <a:pt x="1874" y="63522"/>
                    <a:pt x="0" y="62211"/>
                  </a:cubicBezTo>
                  <a:cubicBezTo>
                    <a:pt x="3935" y="61586"/>
                    <a:pt x="7870" y="60899"/>
                    <a:pt x="11743" y="60274"/>
                  </a:cubicBezTo>
                  <a:cubicBezTo>
                    <a:pt x="14428" y="60837"/>
                    <a:pt x="16802" y="59775"/>
                    <a:pt x="19300" y="59525"/>
                  </a:cubicBezTo>
                  <a:close/>
                </a:path>
              </a:pathLst>
            </a:custGeom>
            <a:grpFill/>
            <a:ln w="6246" cap="flat">
              <a:noFill/>
              <a:prstDash val="solid"/>
              <a:miter/>
            </a:ln>
          </p:spPr>
          <p:txBody>
            <a:bodyPr rtlCol="0" anchor="ctr"/>
            <a:lstStyle/>
            <a:p>
              <a:endParaRPr lang="fr-FR" sz="2400"/>
            </a:p>
          </p:txBody>
        </p:sp>
        <p:sp>
          <p:nvSpPr>
            <p:cNvPr id="110" name="Freeform: Shape 109">
              <a:extLst>
                <a:ext uri="{FF2B5EF4-FFF2-40B4-BE49-F238E27FC236}">
                  <a16:creationId xmlns:a16="http://schemas.microsoft.com/office/drawing/2014/main" id="{36257A16-6604-4F0E-8C70-BEB7F723BF3E}"/>
                </a:ext>
              </a:extLst>
            </p:cNvPr>
            <p:cNvSpPr/>
            <p:nvPr/>
          </p:nvSpPr>
          <p:spPr>
            <a:xfrm>
              <a:off x="1172854" y="662592"/>
              <a:ext cx="56215" cy="12492"/>
            </a:xfrm>
            <a:custGeom>
              <a:avLst/>
              <a:gdLst>
                <a:gd name="connsiteX0" fmla="*/ 15178 w 56214"/>
                <a:gd name="connsiteY0" fmla="*/ 3300 h 12492"/>
                <a:gd name="connsiteX1" fmla="*/ 47283 w 56214"/>
                <a:gd name="connsiteY1" fmla="*/ 10046 h 12492"/>
                <a:gd name="connsiteX2" fmla="*/ 57963 w 56214"/>
                <a:gd name="connsiteY2" fmla="*/ 11982 h 12492"/>
                <a:gd name="connsiteX3" fmla="*/ 55840 w 56214"/>
                <a:gd name="connsiteY3" fmla="*/ 14918 h 12492"/>
                <a:gd name="connsiteX4" fmla="*/ 48469 w 56214"/>
                <a:gd name="connsiteY4" fmla="*/ 14730 h 12492"/>
                <a:gd name="connsiteX5" fmla="*/ 37664 w 56214"/>
                <a:gd name="connsiteY5" fmla="*/ 12544 h 12492"/>
                <a:gd name="connsiteX6" fmla="*/ 9806 w 56214"/>
                <a:gd name="connsiteY6" fmla="*/ 5236 h 12492"/>
                <a:gd name="connsiteX7" fmla="*/ 2311 w 56214"/>
                <a:gd name="connsiteY7" fmla="*/ 3237 h 12492"/>
                <a:gd name="connsiteX8" fmla="*/ 125 w 56214"/>
                <a:gd name="connsiteY8" fmla="*/ 2363 h 12492"/>
                <a:gd name="connsiteX9" fmla="*/ 0 w 56214"/>
                <a:gd name="connsiteY9" fmla="*/ 1489 h 12492"/>
                <a:gd name="connsiteX10" fmla="*/ 4247 w 56214"/>
                <a:gd name="connsiteY10" fmla="*/ 489 h 12492"/>
                <a:gd name="connsiteX11" fmla="*/ 15178 w 56214"/>
                <a:gd name="connsiteY11" fmla="*/ 33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14" h="12492">
                  <a:moveTo>
                    <a:pt x="15178" y="3300"/>
                  </a:moveTo>
                  <a:cubicBezTo>
                    <a:pt x="25484" y="6985"/>
                    <a:pt x="36290" y="8796"/>
                    <a:pt x="47283" y="10046"/>
                  </a:cubicBezTo>
                  <a:cubicBezTo>
                    <a:pt x="50218" y="13668"/>
                    <a:pt x="54403" y="11295"/>
                    <a:pt x="57963" y="11982"/>
                  </a:cubicBezTo>
                  <a:cubicBezTo>
                    <a:pt x="57276" y="12981"/>
                    <a:pt x="55715" y="13419"/>
                    <a:pt x="55840" y="14918"/>
                  </a:cubicBezTo>
                  <a:cubicBezTo>
                    <a:pt x="53341" y="15542"/>
                    <a:pt x="50905" y="15855"/>
                    <a:pt x="48469" y="14730"/>
                  </a:cubicBezTo>
                  <a:cubicBezTo>
                    <a:pt x="45097" y="13106"/>
                    <a:pt x="41349" y="12732"/>
                    <a:pt x="37664" y="12544"/>
                  </a:cubicBezTo>
                  <a:cubicBezTo>
                    <a:pt x="27670" y="12044"/>
                    <a:pt x="18863" y="8234"/>
                    <a:pt x="9806" y="5236"/>
                  </a:cubicBezTo>
                  <a:cubicBezTo>
                    <a:pt x="6871" y="5986"/>
                    <a:pt x="4622" y="4487"/>
                    <a:pt x="2311" y="3237"/>
                  </a:cubicBezTo>
                  <a:cubicBezTo>
                    <a:pt x="1562" y="2925"/>
                    <a:pt x="812" y="2613"/>
                    <a:pt x="125" y="2363"/>
                  </a:cubicBezTo>
                  <a:cubicBezTo>
                    <a:pt x="62" y="2051"/>
                    <a:pt x="62" y="1801"/>
                    <a:pt x="0" y="1489"/>
                  </a:cubicBezTo>
                  <a:cubicBezTo>
                    <a:pt x="937" y="-635"/>
                    <a:pt x="2498" y="-10"/>
                    <a:pt x="4247" y="489"/>
                  </a:cubicBezTo>
                  <a:cubicBezTo>
                    <a:pt x="7933" y="1364"/>
                    <a:pt x="11555" y="2363"/>
                    <a:pt x="15178" y="3300"/>
                  </a:cubicBezTo>
                  <a:close/>
                </a:path>
              </a:pathLst>
            </a:custGeom>
            <a:grpFill/>
            <a:ln w="6246" cap="flat">
              <a:noFill/>
              <a:prstDash val="solid"/>
              <a:miter/>
            </a:ln>
          </p:spPr>
          <p:txBody>
            <a:bodyPr rtlCol="0" anchor="ctr"/>
            <a:lstStyle/>
            <a:p>
              <a:endParaRPr lang="fr-FR" sz="2400"/>
            </a:p>
          </p:txBody>
        </p:sp>
        <p:sp>
          <p:nvSpPr>
            <p:cNvPr id="111" name="Freeform: Shape 110">
              <a:extLst>
                <a:ext uri="{FF2B5EF4-FFF2-40B4-BE49-F238E27FC236}">
                  <a16:creationId xmlns:a16="http://schemas.microsoft.com/office/drawing/2014/main" id="{C155A1B8-7925-41FD-A106-912AE567351A}"/>
                </a:ext>
              </a:extLst>
            </p:cNvPr>
            <p:cNvSpPr/>
            <p:nvPr/>
          </p:nvSpPr>
          <p:spPr>
            <a:xfrm>
              <a:off x="1316451" y="644468"/>
              <a:ext cx="31230" cy="12492"/>
            </a:xfrm>
            <a:custGeom>
              <a:avLst/>
              <a:gdLst>
                <a:gd name="connsiteX0" fmla="*/ 0 w 31230"/>
                <a:gd name="connsiteY0" fmla="*/ 14616 h 12492"/>
                <a:gd name="connsiteX1" fmla="*/ 21049 w 31230"/>
                <a:gd name="connsiteY1" fmla="*/ 6683 h 12492"/>
                <a:gd name="connsiteX2" fmla="*/ 36914 w 31230"/>
                <a:gd name="connsiteY2" fmla="*/ 0 h 12492"/>
                <a:gd name="connsiteX3" fmla="*/ 33104 w 31230"/>
                <a:gd name="connsiteY3" fmla="*/ 2998 h 12492"/>
                <a:gd name="connsiteX4" fmla="*/ 2061 w 31230"/>
                <a:gd name="connsiteY4" fmla="*/ 16552 h 12492"/>
                <a:gd name="connsiteX5" fmla="*/ 0 w 31230"/>
                <a:gd name="connsiteY5" fmla="*/ 1461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6"/>
                  </a:moveTo>
                  <a:cubicBezTo>
                    <a:pt x="6746" y="11430"/>
                    <a:pt x="14304" y="10056"/>
                    <a:pt x="21049" y="6683"/>
                  </a:cubicBezTo>
                  <a:cubicBezTo>
                    <a:pt x="26046" y="4185"/>
                    <a:pt x="30793" y="937"/>
                    <a:pt x="36914" y="0"/>
                  </a:cubicBezTo>
                  <a:cubicBezTo>
                    <a:pt x="35665" y="999"/>
                    <a:pt x="34416" y="1999"/>
                    <a:pt x="33104" y="2998"/>
                  </a:cubicBezTo>
                  <a:cubicBezTo>
                    <a:pt x="23298" y="8495"/>
                    <a:pt x="12680" y="12492"/>
                    <a:pt x="2061" y="16552"/>
                  </a:cubicBezTo>
                  <a:cubicBezTo>
                    <a:pt x="1437" y="15927"/>
                    <a:pt x="687" y="15303"/>
                    <a:pt x="0" y="14616"/>
                  </a:cubicBezTo>
                  <a:close/>
                </a:path>
              </a:pathLst>
            </a:custGeom>
            <a:grpFill/>
            <a:ln w="6246" cap="flat">
              <a:noFill/>
              <a:prstDash val="solid"/>
              <a:miter/>
            </a:ln>
          </p:spPr>
          <p:txBody>
            <a:bodyPr rtlCol="0" anchor="ctr"/>
            <a:lstStyle/>
            <a:p>
              <a:endParaRPr lang="fr-FR" sz="2400"/>
            </a:p>
          </p:txBody>
        </p:sp>
        <p:sp>
          <p:nvSpPr>
            <p:cNvPr id="112" name="Freeform: Shape 111">
              <a:extLst>
                <a:ext uri="{FF2B5EF4-FFF2-40B4-BE49-F238E27FC236}">
                  <a16:creationId xmlns:a16="http://schemas.microsoft.com/office/drawing/2014/main" id="{B0CBF30E-6075-4A50-B3A3-8AF179ABC12B}"/>
                </a:ext>
              </a:extLst>
            </p:cNvPr>
            <p:cNvSpPr/>
            <p:nvPr/>
          </p:nvSpPr>
          <p:spPr>
            <a:xfrm>
              <a:off x="1238313" y="674548"/>
              <a:ext cx="6246" cy="6246"/>
            </a:xfrm>
            <a:custGeom>
              <a:avLst/>
              <a:gdLst>
                <a:gd name="connsiteX0" fmla="*/ 5372 w 0"/>
                <a:gd name="connsiteY0" fmla="*/ 963 h 0"/>
                <a:gd name="connsiteX1" fmla="*/ 0 w 0"/>
                <a:gd name="connsiteY1" fmla="*/ 26 h 0"/>
                <a:gd name="connsiteX2" fmla="*/ 5372 w 0"/>
                <a:gd name="connsiteY2" fmla="*/ 963 h 0"/>
              </a:gdLst>
              <a:ahLst/>
              <a:cxnLst>
                <a:cxn ang="0">
                  <a:pos x="connsiteX0" y="connsiteY0"/>
                </a:cxn>
                <a:cxn ang="0">
                  <a:pos x="connsiteX1" y="connsiteY1"/>
                </a:cxn>
                <a:cxn ang="0">
                  <a:pos x="connsiteX2" y="connsiteY2"/>
                </a:cxn>
              </a:cxnLst>
              <a:rect l="l" t="t" r="r" b="b"/>
              <a:pathLst>
                <a:path>
                  <a:moveTo>
                    <a:pt x="5372" y="963"/>
                  </a:moveTo>
                  <a:cubicBezTo>
                    <a:pt x="3560" y="776"/>
                    <a:pt x="1562" y="1525"/>
                    <a:pt x="0" y="26"/>
                  </a:cubicBezTo>
                  <a:cubicBezTo>
                    <a:pt x="1811" y="213"/>
                    <a:pt x="3873" y="-536"/>
                    <a:pt x="5372" y="963"/>
                  </a:cubicBezTo>
                  <a:close/>
                </a:path>
              </a:pathLst>
            </a:custGeom>
            <a:grpFill/>
            <a:ln w="6246" cap="flat">
              <a:noFill/>
              <a:prstDash val="solid"/>
              <a:miter/>
            </a:ln>
          </p:spPr>
          <p:txBody>
            <a:bodyPr rtlCol="0" anchor="ctr"/>
            <a:lstStyle/>
            <a:p>
              <a:endParaRPr lang="fr-FR" sz="2400"/>
            </a:p>
          </p:txBody>
        </p:sp>
        <p:sp>
          <p:nvSpPr>
            <p:cNvPr id="113" name="Freeform: Shape 112">
              <a:extLst>
                <a:ext uri="{FF2B5EF4-FFF2-40B4-BE49-F238E27FC236}">
                  <a16:creationId xmlns:a16="http://schemas.microsoft.com/office/drawing/2014/main" id="{FF844C7E-3775-4A32-AF4A-2EF00C04EB68}"/>
                </a:ext>
              </a:extLst>
            </p:cNvPr>
            <p:cNvSpPr/>
            <p:nvPr/>
          </p:nvSpPr>
          <p:spPr>
            <a:xfrm>
              <a:off x="1352803" y="599838"/>
              <a:ext cx="43722" cy="43722"/>
            </a:xfrm>
            <a:custGeom>
              <a:avLst/>
              <a:gdLst>
                <a:gd name="connsiteX0" fmla="*/ 0 w 43722"/>
                <a:gd name="connsiteY0" fmla="*/ 46691 h 43722"/>
                <a:gd name="connsiteX1" fmla="*/ 18551 w 43722"/>
                <a:gd name="connsiteY1" fmla="*/ 35199 h 43722"/>
                <a:gd name="connsiteX2" fmla="*/ 15365 w 43722"/>
                <a:gd name="connsiteY2" fmla="*/ 33762 h 43722"/>
                <a:gd name="connsiteX3" fmla="*/ 24422 w 43722"/>
                <a:gd name="connsiteY3" fmla="*/ 28578 h 43722"/>
                <a:gd name="connsiteX4" fmla="*/ 28919 w 43722"/>
                <a:gd name="connsiteY4" fmla="*/ 21520 h 43722"/>
                <a:gd name="connsiteX5" fmla="*/ 36415 w 43722"/>
                <a:gd name="connsiteY5" fmla="*/ 11089 h 43722"/>
                <a:gd name="connsiteX6" fmla="*/ 41474 w 43722"/>
                <a:gd name="connsiteY6" fmla="*/ 3531 h 43722"/>
                <a:gd name="connsiteX7" fmla="*/ 47408 w 43722"/>
                <a:gd name="connsiteY7" fmla="*/ 1157 h 43722"/>
                <a:gd name="connsiteX8" fmla="*/ 46658 w 43722"/>
                <a:gd name="connsiteY8" fmla="*/ 3718 h 43722"/>
                <a:gd name="connsiteX9" fmla="*/ 38476 w 43722"/>
                <a:gd name="connsiteY9" fmla="*/ 18584 h 43722"/>
                <a:gd name="connsiteX10" fmla="*/ 22361 w 43722"/>
                <a:gd name="connsiteY10" fmla="*/ 34949 h 43722"/>
                <a:gd name="connsiteX11" fmla="*/ 21174 w 43722"/>
                <a:gd name="connsiteY11" fmla="*/ 35823 h 43722"/>
                <a:gd name="connsiteX12" fmla="*/ 20112 w 43722"/>
                <a:gd name="connsiteY12" fmla="*/ 36573 h 43722"/>
                <a:gd name="connsiteX13" fmla="*/ 11743 w 43722"/>
                <a:gd name="connsiteY13" fmla="*/ 41757 h 43722"/>
                <a:gd name="connsiteX14" fmla="*/ 125 w 43722"/>
                <a:gd name="connsiteY14" fmla="*/ 47878 h 43722"/>
                <a:gd name="connsiteX15" fmla="*/ 0 w 43722"/>
                <a:gd name="connsiteY15" fmla="*/ 4669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722" h="43722">
                  <a:moveTo>
                    <a:pt x="0" y="46691"/>
                  </a:moveTo>
                  <a:cubicBezTo>
                    <a:pt x="5871" y="42506"/>
                    <a:pt x="12992" y="39821"/>
                    <a:pt x="18551" y="35199"/>
                  </a:cubicBezTo>
                  <a:cubicBezTo>
                    <a:pt x="17926" y="33450"/>
                    <a:pt x="16115" y="35698"/>
                    <a:pt x="15365" y="33762"/>
                  </a:cubicBezTo>
                  <a:cubicBezTo>
                    <a:pt x="18301" y="32075"/>
                    <a:pt x="21174" y="29952"/>
                    <a:pt x="24422" y="28578"/>
                  </a:cubicBezTo>
                  <a:cubicBezTo>
                    <a:pt x="28045" y="27079"/>
                    <a:pt x="29294" y="24830"/>
                    <a:pt x="28919" y="21520"/>
                  </a:cubicBezTo>
                  <a:cubicBezTo>
                    <a:pt x="29794" y="17085"/>
                    <a:pt x="33791" y="14462"/>
                    <a:pt x="36415" y="11089"/>
                  </a:cubicBezTo>
                  <a:cubicBezTo>
                    <a:pt x="38788" y="8903"/>
                    <a:pt x="40287" y="6404"/>
                    <a:pt x="41474" y="3531"/>
                  </a:cubicBezTo>
                  <a:cubicBezTo>
                    <a:pt x="42348" y="1407"/>
                    <a:pt x="43722" y="-1716"/>
                    <a:pt x="47408" y="1157"/>
                  </a:cubicBezTo>
                  <a:cubicBezTo>
                    <a:pt x="47658" y="2157"/>
                    <a:pt x="47033" y="2906"/>
                    <a:pt x="46658" y="3718"/>
                  </a:cubicBezTo>
                  <a:cubicBezTo>
                    <a:pt x="44847" y="9090"/>
                    <a:pt x="43035" y="14462"/>
                    <a:pt x="38476" y="18584"/>
                  </a:cubicBezTo>
                  <a:cubicBezTo>
                    <a:pt x="33541" y="24393"/>
                    <a:pt x="26546" y="28515"/>
                    <a:pt x="22361" y="34949"/>
                  </a:cubicBezTo>
                  <a:cubicBezTo>
                    <a:pt x="21986" y="35261"/>
                    <a:pt x="21611" y="35511"/>
                    <a:pt x="21174" y="35823"/>
                  </a:cubicBezTo>
                  <a:cubicBezTo>
                    <a:pt x="20800" y="36073"/>
                    <a:pt x="20487" y="36323"/>
                    <a:pt x="20112" y="36573"/>
                  </a:cubicBezTo>
                  <a:cubicBezTo>
                    <a:pt x="16802" y="37572"/>
                    <a:pt x="14491" y="40008"/>
                    <a:pt x="11743" y="41757"/>
                  </a:cubicBezTo>
                  <a:cubicBezTo>
                    <a:pt x="7620" y="43443"/>
                    <a:pt x="4497" y="46629"/>
                    <a:pt x="125" y="47878"/>
                  </a:cubicBezTo>
                  <a:cubicBezTo>
                    <a:pt x="125" y="47503"/>
                    <a:pt x="63" y="47129"/>
                    <a:pt x="0" y="46691"/>
                  </a:cubicBezTo>
                  <a:close/>
                </a:path>
              </a:pathLst>
            </a:custGeom>
            <a:grpFill/>
            <a:ln w="6246" cap="flat">
              <a:noFill/>
              <a:prstDash val="solid"/>
              <a:miter/>
            </a:ln>
          </p:spPr>
          <p:txBody>
            <a:bodyPr rtlCol="0" anchor="ctr"/>
            <a:lstStyle/>
            <a:p>
              <a:endParaRPr lang="fr-FR" sz="2400"/>
            </a:p>
          </p:txBody>
        </p:sp>
        <p:sp>
          <p:nvSpPr>
            <p:cNvPr id="114" name="Freeform: Shape 113">
              <a:extLst>
                <a:ext uri="{FF2B5EF4-FFF2-40B4-BE49-F238E27FC236}">
                  <a16:creationId xmlns:a16="http://schemas.microsoft.com/office/drawing/2014/main" id="{53E40133-5173-4F50-800B-5F14A127C320}"/>
                </a:ext>
              </a:extLst>
            </p:cNvPr>
            <p:cNvSpPr/>
            <p:nvPr/>
          </p:nvSpPr>
          <p:spPr>
            <a:xfrm>
              <a:off x="1220074" y="677322"/>
              <a:ext cx="6246" cy="6246"/>
            </a:xfrm>
            <a:custGeom>
              <a:avLst/>
              <a:gdLst>
                <a:gd name="connsiteX0" fmla="*/ 1249 w 6246"/>
                <a:gd name="connsiteY0" fmla="*/ 0 h 0"/>
                <a:gd name="connsiteX1" fmla="*/ 8620 w 6246"/>
                <a:gd name="connsiteY1" fmla="*/ 187 h 0"/>
                <a:gd name="connsiteX2" fmla="*/ 9744 w 6246"/>
                <a:gd name="connsiteY2" fmla="*/ 999 h 0"/>
                <a:gd name="connsiteX3" fmla="*/ 5434 w 6246"/>
                <a:gd name="connsiteY3" fmla="*/ 1374 h 0"/>
                <a:gd name="connsiteX4" fmla="*/ 0 w 6246"/>
                <a:gd name="connsiteY4" fmla="*/ 187 h 0"/>
                <a:gd name="connsiteX5" fmla="*/ 1249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249" y="0"/>
                  </a:moveTo>
                  <a:cubicBezTo>
                    <a:pt x="3685" y="62"/>
                    <a:pt x="6184" y="125"/>
                    <a:pt x="8620" y="187"/>
                  </a:cubicBezTo>
                  <a:cubicBezTo>
                    <a:pt x="8994" y="437"/>
                    <a:pt x="9369" y="749"/>
                    <a:pt x="9744" y="999"/>
                  </a:cubicBezTo>
                  <a:cubicBezTo>
                    <a:pt x="8307" y="1124"/>
                    <a:pt x="6871" y="1249"/>
                    <a:pt x="5434" y="1374"/>
                  </a:cubicBezTo>
                  <a:cubicBezTo>
                    <a:pt x="3623" y="937"/>
                    <a:pt x="1562" y="1562"/>
                    <a:pt x="0" y="187"/>
                  </a:cubicBezTo>
                  <a:cubicBezTo>
                    <a:pt x="437" y="125"/>
                    <a:pt x="874" y="62"/>
                    <a:pt x="1249" y="0"/>
                  </a:cubicBezTo>
                  <a:close/>
                </a:path>
              </a:pathLst>
            </a:custGeom>
            <a:grpFill/>
            <a:ln w="6246" cap="flat">
              <a:noFill/>
              <a:prstDash val="solid"/>
              <a:miter/>
            </a:ln>
          </p:spPr>
          <p:txBody>
            <a:bodyPr rtlCol="0" anchor="ctr"/>
            <a:lstStyle/>
            <a:p>
              <a:endParaRPr lang="fr-FR" sz="2400"/>
            </a:p>
          </p:txBody>
        </p:sp>
        <p:sp>
          <p:nvSpPr>
            <p:cNvPr id="115" name="Freeform: Shape 114">
              <a:extLst>
                <a:ext uri="{FF2B5EF4-FFF2-40B4-BE49-F238E27FC236}">
                  <a16:creationId xmlns:a16="http://schemas.microsoft.com/office/drawing/2014/main" id="{981105C6-1E94-4B2A-A9AE-DE2FDA49B15E}"/>
                </a:ext>
              </a:extLst>
            </p:cNvPr>
            <p:cNvSpPr/>
            <p:nvPr/>
          </p:nvSpPr>
          <p:spPr>
            <a:xfrm>
              <a:off x="1391341" y="602984"/>
              <a:ext cx="6246" cy="12492"/>
            </a:xfrm>
            <a:custGeom>
              <a:avLst/>
              <a:gdLst>
                <a:gd name="connsiteX0" fmla="*/ 0 w 6246"/>
                <a:gd name="connsiteY0" fmla="*/ 15500 h 12492"/>
                <a:gd name="connsiteX1" fmla="*/ 7558 w 6246"/>
                <a:gd name="connsiteY1" fmla="*/ 72 h 12492"/>
                <a:gd name="connsiteX2" fmla="*/ 8619 w 6246"/>
                <a:gd name="connsiteY2" fmla="*/ 1072 h 12492"/>
                <a:gd name="connsiteX3" fmla="*/ 4247 w 6246"/>
                <a:gd name="connsiteY3" fmla="*/ 13564 h 12492"/>
                <a:gd name="connsiteX4" fmla="*/ 1249 w 6246"/>
                <a:gd name="connsiteY4" fmla="*/ 15750 h 12492"/>
                <a:gd name="connsiteX5" fmla="*/ 0 w 6246"/>
                <a:gd name="connsiteY5" fmla="*/ 1550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0" y="15500"/>
                  </a:moveTo>
                  <a:cubicBezTo>
                    <a:pt x="2498" y="10378"/>
                    <a:pt x="4997" y="5194"/>
                    <a:pt x="7558" y="72"/>
                  </a:cubicBezTo>
                  <a:cubicBezTo>
                    <a:pt x="8495" y="-115"/>
                    <a:pt x="9057" y="10"/>
                    <a:pt x="8619" y="1072"/>
                  </a:cubicBezTo>
                  <a:cubicBezTo>
                    <a:pt x="10368" y="6193"/>
                    <a:pt x="5122" y="9254"/>
                    <a:pt x="4247" y="13564"/>
                  </a:cubicBezTo>
                  <a:cubicBezTo>
                    <a:pt x="3248" y="14313"/>
                    <a:pt x="2248" y="15000"/>
                    <a:pt x="1249" y="15750"/>
                  </a:cubicBezTo>
                  <a:cubicBezTo>
                    <a:pt x="749" y="15625"/>
                    <a:pt x="375" y="15563"/>
                    <a:pt x="0" y="15500"/>
                  </a:cubicBezTo>
                  <a:close/>
                </a:path>
              </a:pathLst>
            </a:custGeom>
            <a:grpFill/>
            <a:ln w="6246" cap="flat">
              <a:noFill/>
              <a:prstDash val="solid"/>
              <a:miter/>
            </a:ln>
          </p:spPr>
          <p:txBody>
            <a:bodyPr rtlCol="0" anchor="ctr"/>
            <a:lstStyle/>
            <a:p>
              <a:endParaRPr lang="fr-FR" sz="2400"/>
            </a:p>
          </p:txBody>
        </p:sp>
        <p:sp>
          <p:nvSpPr>
            <p:cNvPr id="116" name="Freeform: Shape 115">
              <a:extLst>
                <a:ext uri="{FF2B5EF4-FFF2-40B4-BE49-F238E27FC236}">
                  <a16:creationId xmlns:a16="http://schemas.microsoft.com/office/drawing/2014/main" id="{092D9634-F6FD-4ED6-8659-1F5CAB8AE801}"/>
                </a:ext>
              </a:extLst>
            </p:cNvPr>
            <p:cNvSpPr/>
            <p:nvPr/>
          </p:nvSpPr>
          <p:spPr>
            <a:xfrm>
              <a:off x="1390373" y="621358"/>
              <a:ext cx="6246" cy="6246"/>
            </a:xfrm>
            <a:custGeom>
              <a:avLst/>
              <a:gdLst>
                <a:gd name="connsiteX0" fmla="*/ 968 w 0"/>
                <a:gd name="connsiteY0" fmla="*/ 0 h 0"/>
                <a:gd name="connsiteX1" fmla="*/ 906 w 0"/>
                <a:gd name="connsiteY1" fmla="*/ 2936 h 0"/>
                <a:gd name="connsiteX2" fmla="*/ 968 w 0"/>
                <a:gd name="connsiteY2" fmla="*/ 0 h 0"/>
              </a:gdLst>
              <a:ahLst/>
              <a:cxnLst>
                <a:cxn ang="0">
                  <a:pos x="connsiteX0" y="connsiteY0"/>
                </a:cxn>
                <a:cxn ang="0">
                  <a:pos x="connsiteX1" y="connsiteY1"/>
                </a:cxn>
                <a:cxn ang="0">
                  <a:pos x="connsiteX2" y="connsiteY2"/>
                </a:cxn>
              </a:cxnLst>
              <a:rect l="l" t="t" r="r" b="b"/>
              <a:pathLst>
                <a:path>
                  <a:moveTo>
                    <a:pt x="968" y="0"/>
                  </a:moveTo>
                  <a:cubicBezTo>
                    <a:pt x="2530" y="999"/>
                    <a:pt x="2342" y="1999"/>
                    <a:pt x="906" y="2936"/>
                  </a:cubicBezTo>
                  <a:cubicBezTo>
                    <a:pt x="-281" y="1999"/>
                    <a:pt x="-344" y="999"/>
                    <a:pt x="968" y="0"/>
                  </a:cubicBezTo>
                  <a:close/>
                </a:path>
              </a:pathLst>
            </a:custGeom>
            <a:grpFill/>
            <a:ln w="6246" cap="flat">
              <a:noFill/>
              <a:prstDash val="solid"/>
              <a:miter/>
            </a:ln>
          </p:spPr>
          <p:txBody>
            <a:bodyPr rtlCol="0" anchor="ctr"/>
            <a:lstStyle/>
            <a:p>
              <a:endParaRPr lang="fr-FR" sz="2400"/>
            </a:p>
          </p:txBody>
        </p:sp>
        <p:sp>
          <p:nvSpPr>
            <p:cNvPr id="117" name="Freeform: Shape 116">
              <a:extLst>
                <a:ext uri="{FF2B5EF4-FFF2-40B4-BE49-F238E27FC236}">
                  <a16:creationId xmlns:a16="http://schemas.microsoft.com/office/drawing/2014/main" id="{CC7270D2-A8BD-4193-85C8-5E028445FA2C}"/>
                </a:ext>
              </a:extLst>
            </p:cNvPr>
            <p:cNvSpPr/>
            <p:nvPr/>
          </p:nvSpPr>
          <p:spPr>
            <a:xfrm>
              <a:off x="1398899" y="593125"/>
              <a:ext cx="6246" cy="6246"/>
            </a:xfrm>
            <a:custGeom>
              <a:avLst/>
              <a:gdLst>
                <a:gd name="connsiteX0" fmla="*/ 1062 w 6246"/>
                <a:gd name="connsiteY0" fmla="*/ 10868 h 6246"/>
                <a:gd name="connsiteX1" fmla="*/ 0 w 6246"/>
                <a:gd name="connsiteY1" fmla="*/ 9869 h 6246"/>
                <a:gd name="connsiteX2" fmla="*/ 999 w 6246"/>
                <a:gd name="connsiteY2" fmla="*/ 7933 h 6246"/>
                <a:gd name="connsiteX3" fmla="*/ 5309 w 6246"/>
                <a:gd name="connsiteY3" fmla="*/ 0 h 6246"/>
                <a:gd name="connsiteX4" fmla="*/ 6558 w 6246"/>
                <a:gd name="connsiteY4" fmla="*/ 1999 h 6246"/>
                <a:gd name="connsiteX5" fmla="*/ 3248 w 6246"/>
                <a:gd name="connsiteY5" fmla="*/ 7933 h 6246"/>
                <a:gd name="connsiteX6" fmla="*/ 1062 w 6246"/>
                <a:gd name="connsiteY6" fmla="*/ 1086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10868"/>
                  </a:moveTo>
                  <a:cubicBezTo>
                    <a:pt x="687" y="10556"/>
                    <a:pt x="375" y="10181"/>
                    <a:pt x="0" y="9869"/>
                  </a:cubicBezTo>
                  <a:cubicBezTo>
                    <a:pt x="312" y="9244"/>
                    <a:pt x="687" y="8557"/>
                    <a:pt x="999" y="7933"/>
                  </a:cubicBezTo>
                  <a:cubicBezTo>
                    <a:pt x="-625" y="3935"/>
                    <a:pt x="1811" y="1749"/>
                    <a:pt x="5309" y="0"/>
                  </a:cubicBezTo>
                  <a:cubicBezTo>
                    <a:pt x="6059" y="500"/>
                    <a:pt x="6371" y="1187"/>
                    <a:pt x="6558" y="1999"/>
                  </a:cubicBezTo>
                  <a:cubicBezTo>
                    <a:pt x="6433" y="4435"/>
                    <a:pt x="5934" y="6683"/>
                    <a:pt x="3248" y="7933"/>
                  </a:cubicBezTo>
                  <a:cubicBezTo>
                    <a:pt x="2498" y="8932"/>
                    <a:pt x="1749" y="9931"/>
                    <a:pt x="1062" y="10868"/>
                  </a:cubicBezTo>
                  <a:close/>
                </a:path>
              </a:pathLst>
            </a:custGeom>
            <a:grpFill/>
            <a:ln w="6246" cap="flat">
              <a:noFill/>
              <a:prstDash val="solid"/>
              <a:miter/>
            </a:ln>
          </p:spPr>
          <p:txBody>
            <a:bodyPr rtlCol="0" anchor="ctr"/>
            <a:lstStyle/>
            <a:p>
              <a:endParaRPr lang="fr-FR" sz="2400"/>
            </a:p>
          </p:txBody>
        </p:sp>
        <p:sp>
          <p:nvSpPr>
            <p:cNvPr id="118" name="Freeform: Shape 117">
              <a:extLst>
                <a:ext uri="{FF2B5EF4-FFF2-40B4-BE49-F238E27FC236}">
                  <a16:creationId xmlns:a16="http://schemas.microsoft.com/office/drawing/2014/main" id="{CAE84660-9F51-4E1A-AD2D-34DA2B7B5B85}"/>
                </a:ext>
              </a:extLst>
            </p:cNvPr>
            <p:cNvSpPr/>
            <p:nvPr/>
          </p:nvSpPr>
          <p:spPr>
            <a:xfrm>
              <a:off x="1402084" y="591871"/>
              <a:ext cx="6246" cy="6246"/>
            </a:xfrm>
            <a:custGeom>
              <a:avLst/>
              <a:gdLst>
                <a:gd name="connsiteX0" fmla="*/ 0 w 6246"/>
                <a:gd name="connsiteY0" fmla="*/ 9249 h 6246"/>
                <a:gd name="connsiteX1" fmla="*/ 2124 w 6246"/>
                <a:gd name="connsiteY1" fmla="*/ 3565 h 6246"/>
                <a:gd name="connsiteX2" fmla="*/ 3061 w 6246"/>
                <a:gd name="connsiteY2" fmla="*/ 1816 h 6246"/>
                <a:gd name="connsiteX3" fmla="*/ 7245 w 6246"/>
                <a:gd name="connsiteY3" fmla="*/ 505 h 6246"/>
                <a:gd name="connsiteX4" fmla="*/ 5247 w 6246"/>
                <a:gd name="connsiteY4" fmla="*/ 4440 h 6246"/>
                <a:gd name="connsiteX5" fmla="*/ 3123 w 6246"/>
                <a:gd name="connsiteY5" fmla="*/ 7313 h 6246"/>
                <a:gd name="connsiteX6" fmla="*/ 1999 w 6246"/>
                <a:gd name="connsiteY6" fmla="*/ 10186 h 6246"/>
                <a:gd name="connsiteX7" fmla="*/ 1999 w 6246"/>
                <a:gd name="connsiteY7" fmla="*/ 10186 h 6246"/>
                <a:gd name="connsiteX8" fmla="*/ 0 w 6246"/>
                <a:gd name="connsiteY8" fmla="*/ 924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0" y="9249"/>
                  </a:moveTo>
                  <a:cubicBezTo>
                    <a:pt x="749" y="7375"/>
                    <a:pt x="2498" y="5751"/>
                    <a:pt x="2124" y="3565"/>
                  </a:cubicBezTo>
                  <a:cubicBezTo>
                    <a:pt x="2498" y="3003"/>
                    <a:pt x="2748" y="2379"/>
                    <a:pt x="3061" y="1816"/>
                  </a:cubicBezTo>
                  <a:cubicBezTo>
                    <a:pt x="4185" y="567"/>
                    <a:pt x="5247" y="-744"/>
                    <a:pt x="7245" y="505"/>
                  </a:cubicBezTo>
                  <a:cubicBezTo>
                    <a:pt x="6746" y="1879"/>
                    <a:pt x="5184" y="2816"/>
                    <a:pt x="5247" y="4440"/>
                  </a:cubicBezTo>
                  <a:cubicBezTo>
                    <a:pt x="4560" y="5377"/>
                    <a:pt x="3873" y="6376"/>
                    <a:pt x="3123" y="7313"/>
                  </a:cubicBezTo>
                  <a:cubicBezTo>
                    <a:pt x="1936" y="8000"/>
                    <a:pt x="3123" y="9499"/>
                    <a:pt x="1999" y="10186"/>
                  </a:cubicBezTo>
                  <a:cubicBezTo>
                    <a:pt x="1999" y="10186"/>
                    <a:pt x="1999" y="10186"/>
                    <a:pt x="1999" y="10186"/>
                  </a:cubicBezTo>
                  <a:cubicBezTo>
                    <a:pt x="1374" y="9874"/>
                    <a:pt x="687" y="9562"/>
                    <a:pt x="0" y="9249"/>
                  </a:cubicBezTo>
                  <a:close/>
                </a:path>
              </a:pathLst>
            </a:custGeom>
            <a:grpFill/>
            <a:ln w="6246" cap="flat">
              <a:noFill/>
              <a:prstDash val="solid"/>
              <a:miter/>
            </a:ln>
          </p:spPr>
          <p:txBody>
            <a:bodyPr rtlCol="0" anchor="ctr"/>
            <a:lstStyle/>
            <a:p>
              <a:endParaRPr lang="fr-FR" sz="2400"/>
            </a:p>
          </p:txBody>
        </p:sp>
        <p:sp>
          <p:nvSpPr>
            <p:cNvPr id="119" name="Freeform: Shape 118">
              <a:extLst>
                <a:ext uri="{FF2B5EF4-FFF2-40B4-BE49-F238E27FC236}">
                  <a16:creationId xmlns:a16="http://schemas.microsoft.com/office/drawing/2014/main" id="{E4CACD4E-4DEF-4E29-8505-B5D9AB9D0EC6}"/>
                </a:ext>
              </a:extLst>
            </p:cNvPr>
            <p:cNvSpPr/>
            <p:nvPr/>
          </p:nvSpPr>
          <p:spPr>
            <a:xfrm>
              <a:off x="1420323" y="522732"/>
              <a:ext cx="6246" cy="18738"/>
            </a:xfrm>
            <a:custGeom>
              <a:avLst/>
              <a:gdLst>
                <a:gd name="connsiteX0" fmla="*/ 1062 w 0"/>
                <a:gd name="connsiteY0" fmla="*/ 10681 h 18738"/>
                <a:gd name="connsiteX1" fmla="*/ 3186 w 0"/>
                <a:gd name="connsiteY1" fmla="*/ 0 h 18738"/>
                <a:gd name="connsiteX2" fmla="*/ 4060 w 0"/>
                <a:gd name="connsiteY2" fmla="*/ 19300 h 18738"/>
                <a:gd name="connsiteX3" fmla="*/ 3248 w 0"/>
                <a:gd name="connsiteY3" fmla="*/ 19363 h 18738"/>
                <a:gd name="connsiteX4" fmla="*/ 0 w 0"/>
                <a:gd name="connsiteY4" fmla="*/ 21299 h 18738"/>
                <a:gd name="connsiteX5" fmla="*/ 999 w 0"/>
                <a:gd name="connsiteY5" fmla="*/ 18426 h 18738"/>
                <a:gd name="connsiteX6" fmla="*/ 937 w 0"/>
                <a:gd name="connsiteY6" fmla="*/ 13554 h 18738"/>
                <a:gd name="connsiteX7" fmla="*/ 1062 w 0"/>
                <a:gd name="connsiteY7" fmla="*/ 106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8738">
                  <a:moveTo>
                    <a:pt x="1062" y="10681"/>
                  </a:moveTo>
                  <a:cubicBezTo>
                    <a:pt x="4560" y="7558"/>
                    <a:pt x="2623" y="3560"/>
                    <a:pt x="3186" y="0"/>
                  </a:cubicBezTo>
                  <a:cubicBezTo>
                    <a:pt x="5184" y="6371"/>
                    <a:pt x="3623" y="12867"/>
                    <a:pt x="4060" y="19300"/>
                  </a:cubicBezTo>
                  <a:cubicBezTo>
                    <a:pt x="3810" y="19300"/>
                    <a:pt x="3498" y="19363"/>
                    <a:pt x="3248" y="19363"/>
                  </a:cubicBezTo>
                  <a:cubicBezTo>
                    <a:pt x="2249" y="20050"/>
                    <a:pt x="2623" y="22736"/>
                    <a:pt x="0" y="21299"/>
                  </a:cubicBezTo>
                  <a:cubicBezTo>
                    <a:pt x="312" y="20362"/>
                    <a:pt x="687" y="19363"/>
                    <a:pt x="999" y="18426"/>
                  </a:cubicBezTo>
                  <a:cubicBezTo>
                    <a:pt x="2686" y="16802"/>
                    <a:pt x="-625" y="15178"/>
                    <a:pt x="937" y="13554"/>
                  </a:cubicBezTo>
                  <a:cubicBezTo>
                    <a:pt x="999" y="12617"/>
                    <a:pt x="999" y="11618"/>
                    <a:pt x="1062" y="10681"/>
                  </a:cubicBezTo>
                  <a:close/>
                </a:path>
              </a:pathLst>
            </a:custGeom>
            <a:grpFill/>
            <a:ln w="6246" cap="flat">
              <a:noFill/>
              <a:prstDash val="solid"/>
              <a:miter/>
            </a:ln>
          </p:spPr>
          <p:txBody>
            <a:bodyPr rtlCol="0" anchor="ctr"/>
            <a:lstStyle/>
            <a:p>
              <a:endParaRPr lang="fr-FR" sz="2400"/>
            </a:p>
          </p:txBody>
        </p:sp>
        <p:sp>
          <p:nvSpPr>
            <p:cNvPr id="120" name="Freeform: Shape 119">
              <a:extLst>
                <a:ext uri="{FF2B5EF4-FFF2-40B4-BE49-F238E27FC236}">
                  <a16:creationId xmlns:a16="http://schemas.microsoft.com/office/drawing/2014/main" id="{A416365D-FE80-4185-A735-7FD5BF9839EA}"/>
                </a:ext>
              </a:extLst>
            </p:cNvPr>
            <p:cNvSpPr/>
            <p:nvPr/>
          </p:nvSpPr>
          <p:spPr>
            <a:xfrm>
              <a:off x="1404205" y="599184"/>
              <a:ext cx="6246" cy="6246"/>
            </a:xfrm>
            <a:custGeom>
              <a:avLst/>
              <a:gdLst>
                <a:gd name="connsiteX0" fmla="*/ 3 w 0"/>
                <a:gd name="connsiteY0" fmla="*/ 2873 h 0"/>
                <a:gd name="connsiteX1" fmla="*/ 1128 w 0"/>
                <a:gd name="connsiteY1" fmla="*/ 0 h 0"/>
                <a:gd name="connsiteX2" fmla="*/ 2065 w 0"/>
                <a:gd name="connsiteY2" fmla="*/ 1562 h 0"/>
                <a:gd name="connsiteX3" fmla="*/ 3751 w 0"/>
                <a:gd name="connsiteY3" fmla="*/ 2436 h 0"/>
                <a:gd name="connsiteX4" fmla="*/ 1128 w 0"/>
                <a:gd name="connsiteY4" fmla="*/ 2873 h 0"/>
                <a:gd name="connsiteX5" fmla="*/ 3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 y="2873"/>
                  </a:moveTo>
                  <a:cubicBezTo>
                    <a:pt x="3" y="1811"/>
                    <a:pt x="-122" y="687"/>
                    <a:pt x="1128" y="0"/>
                  </a:cubicBezTo>
                  <a:cubicBezTo>
                    <a:pt x="1190" y="625"/>
                    <a:pt x="1253" y="1249"/>
                    <a:pt x="2065" y="1562"/>
                  </a:cubicBezTo>
                  <a:cubicBezTo>
                    <a:pt x="2689" y="1811"/>
                    <a:pt x="4188" y="999"/>
                    <a:pt x="3751" y="2436"/>
                  </a:cubicBezTo>
                  <a:cubicBezTo>
                    <a:pt x="3376" y="3748"/>
                    <a:pt x="2127" y="3310"/>
                    <a:pt x="1128" y="2873"/>
                  </a:cubicBezTo>
                  <a:cubicBezTo>
                    <a:pt x="753" y="2873"/>
                    <a:pt x="378" y="2873"/>
                    <a:pt x="3" y="2873"/>
                  </a:cubicBezTo>
                  <a:close/>
                </a:path>
              </a:pathLst>
            </a:custGeom>
            <a:grpFill/>
            <a:ln w="6246" cap="flat">
              <a:noFill/>
              <a:prstDash val="solid"/>
              <a:miter/>
            </a:ln>
          </p:spPr>
          <p:txBody>
            <a:bodyPr rtlCol="0" anchor="ctr"/>
            <a:lstStyle/>
            <a:p>
              <a:endParaRPr lang="fr-FR" sz="2400"/>
            </a:p>
          </p:txBody>
        </p:sp>
        <p:sp>
          <p:nvSpPr>
            <p:cNvPr id="121" name="Freeform: Shape 120">
              <a:extLst>
                <a:ext uri="{FF2B5EF4-FFF2-40B4-BE49-F238E27FC236}">
                  <a16:creationId xmlns:a16="http://schemas.microsoft.com/office/drawing/2014/main" id="{F55BBAC8-42FE-423A-9814-23456D0F377C}"/>
                </a:ext>
              </a:extLst>
            </p:cNvPr>
            <p:cNvSpPr/>
            <p:nvPr/>
          </p:nvSpPr>
          <p:spPr>
            <a:xfrm>
              <a:off x="1408830" y="577446"/>
              <a:ext cx="6246" cy="6246"/>
            </a:xfrm>
            <a:custGeom>
              <a:avLst/>
              <a:gdLst>
                <a:gd name="connsiteX0" fmla="*/ 7121 w 6246"/>
                <a:gd name="connsiteY0" fmla="*/ 439 h 6246"/>
                <a:gd name="connsiteX1" fmla="*/ 4747 w 6246"/>
                <a:gd name="connsiteY1" fmla="*/ 7060 h 6246"/>
                <a:gd name="connsiteX2" fmla="*/ 2811 w 6246"/>
                <a:gd name="connsiteY2" fmla="*/ 9184 h 6246"/>
                <a:gd name="connsiteX3" fmla="*/ 500 w 6246"/>
                <a:gd name="connsiteY3" fmla="*/ 9309 h 6246"/>
                <a:gd name="connsiteX4" fmla="*/ 125 w 6246"/>
                <a:gd name="connsiteY4" fmla="*/ 7122 h 6246"/>
                <a:gd name="connsiteX5" fmla="*/ 3061 w 6246"/>
                <a:gd name="connsiteY5" fmla="*/ 2126 h 6246"/>
                <a:gd name="connsiteX6" fmla="*/ 7121 w 6246"/>
                <a:gd name="connsiteY6" fmla="*/ 43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7121" y="439"/>
                  </a:moveTo>
                  <a:cubicBezTo>
                    <a:pt x="7495" y="3000"/>
                    <a:pt x="5434" y="4811"/>
                    <a:pt x="4747" y="7060"/>
                  </a:cubicBezTo>
                  <a:cubicBezTo>
                    <a:pt x="4122" y="7747"/>
                    <a:pt x="3435" y="8434"/>
                    <a:pt x="2811" y="9184"/>
                  </a:cubicBezTo>
                  <a:cubicBezTo>
                    <a:pt x="2061" y="9746"/>
                    <a:pt x="1312" y="9746"/>
                    <a:pt x="500" y="9309"/>
                  </a:cubicBezTo>
                  <a:cubicBezTo>
                    <a:pt x="0" y="8622"/>
                    <a:pt x="-125" y="7934"/>
                    <a:pt x="125" y="7122"/>
                  </a:cubicBezTo>
                  <a:cubicBezTo>
                    <a:pt x="1187" y="5499"/>
                    <a:pt x="1936" y="3687"/>
                    <a:pt x="3061" y="2126"/>
                  </a:cubicBezTo>
                  <a:cubicBezTo>
                    <a:pt x="3998" y="876"/>
                    <a:pt x="4809" y="-810"/>
                    <a:pt x="7121" y="439"/>
                  </a:cubicBezTo>
                  <a:close/>
                </a:path>
              </a:pathLst>
            </a:custGeom>
            <a:grpFill/>
            <a:ln w="6246" cap="flat">
              <a:noFill/>
              <a:prstDash val="solid"/>
              <a:miter/>
            </a:ln>
          </p:spPr>
          <p:txBody>
            <a:bodyPr rtlCol="0" anchor="ctr"/>
            <a:lstStyle/>
            <a:p>
              <a:endParaRPr lang="fr-FR" sz="2400"/>
            </a:p>
          </p:txBody>
        </p:sp>
        <p:sp>
          <p:nvSpPr>
            <p:cNvPr id="122" name="Freeform: Shape 121">
              <a:extLst>
                <a:ext uri="{FF2B5EF4-FFF2-40B4-BE49-F238E27FC236}">
                  <a16:creationId xmlns:a16="http://schemas.microsoft.com/office/drawing/2014/main" id="{4DF132DB-10BA-4889-95F9-015B69E1EAAC}"/>
                </a:ext>
              </a:extLst>
            </p:cNvPr>
            <p:cNvSpPr/>
            <p:nvPr/>
          </p:nvSpPr>
          <p:spPr>
            <a:xfrm>
              <a:off x="1404684" y="586567"/>
              <a:ext cx="6246" cy="6246"/>
            </a:xfrm>
            <a:custGeom>
              <a:avLst/>
              <a:gdLst>
                <a:gd name="connsiteX0" fmla="*/ 4958 w 6246"/>
                <a:gd name="connsiteY0" fmla="*/ 62 h 6246"/>
                <a:gd name="connsiteX1" fmla="*/ 6957 w 6246"/>
                <a:gd name="connsiteY1" fmla="*/ 0 h 6246"/>
                <a:gd name="connsiteX2" fmla="*/ 4708 w 6246"/>
                <a:gd name="connsiteY2" fmla="*/ 5809 h 6246"/>
                <a:gd name="connsiteX3" fmla="*/ 648 w 6246"/>
                <a:gd name="connsiteY3" fmla="*/ 7745 h 6246"/>
                <a:gd name="connsiteX4" fmla="*/ 2460 w 6246"/>
                <a:gd name="connsiteY4" fmla="*/ 1499 h 6246"/>
                <a:gd name="connsiteX5" fmla="*/ 4958 w 6246"/>
                <a:gd name="connsiteY5" fmla="*/ 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4958" y="62"/>
                  </a:moveTo>
                  <a:cubicBezTo>
                    <a:pt x="5645" y="62"/>
                    <a:pt x="6332" y="62"/>
                    <a:pt x="6957" y="0"/>
                  </a:cubicBezTo>
                  <a:cubicBezTo>
                    <a:pt x="6207" y="1936"/>
                    <a:pt x="5458" y="3873"/>
                    <a:pt x="4708" y="5809"/>
                  </a:cubicBezTo>
                  <a:cubicBezTo>
                    <a:pt x="2959" y="5746"/>
                    <a:pt x="2022" y="7183"/>
                    <a:pt x="648" y="7745"/>
                  </a:cubicBezTo>
                  <a:cubicBezTo>
                    <a:pt x="-1163" y="5122"/>
                    <a:pt x="1273" y="3498"/>
                    <a:pt x="2460" y="1499"/>
                  </a:cubicBezTo>
                  <a:cubicBezTo>
                    <a:pt x="3084" y="812"/>
                    <a:pt x="3834" y="125"/>
                    <a:pt x="4958" y="62"/>
                  </a:cubicBezTo>
                  <a:close/>
                </a:path>
              </a:pathLst>
            </a:custGeom>
            <a:grpFill/>
            <a:ln w="6246" cap="flat">
              <a:noFill/>
              <a:prstDash val="solid"/>
              <a:miter/>
            </a:ln>
          </p:spPr>
          <p:txBody>
            <a:bodyPr rtlCol="0" anchor="ctr"/>
            <a:lstStyle/>
            <a:p>
              <a:endParaRPr lang="fr-FR" sz="2400"/>
            </a:p>
          </p:txBody>
        </p:sp>
        <p:sp>
          <p:nvSpPr>
            <p:cNvPr id="123" name="Freeform: Shape 122">
              <a:extLst>
                <a:ext uri="{FF2B5EF4-FFF2-40B4-BE49-F238E27FC236}">
                  <a16:creationId xmlns:a16="http://schemas.microsoft.com/office/drawing/2014/main" id="{11221D51-7C72-46CD-8024-DD92AA5082CB}"/>
                </a:ext>
              </a:extLst>
            </p:cNvPr>
            <p:cNvSpPr/>
            <p:nvPr/>
          </p:nvSpPr>
          <p:spPr>
            <a:xfrm>
              <a:off x="1414140" y="551663"/>
              <a:ext cx="6246" cy="18738"/>
            </a:xfrm>
            <a:custGeom>
              <a:avLst/>
              <a:gdLst>
                <a:gd name="connsiteX0" fmla="*/ 4059 w 6246"/>
                <a:gd name="connsiteY0" fmla="*/ 3049 h 18738"/>
                <a:gd name="connsiteX1" fmla="*/ 4996 w 6246"/>
                <a:gd name="connsiteY1" fmla="*/ 988 h 18738"/>
                <a:gd name="connsiteX2" fmla="*/ 8057 w 6246"/>
                <a:gd name="connsiteY2" fmla="*/ 51 h 18738"/>
                <a:gd name="connsiteX3" fmla="*/ 6058 w 6246"/>
                <a:gd name="connsiteY3" fmla="*/ 12668 h 18738"/>
                <a:gd name="connsiteX4" fmla="*/ 4059 w 6246"/>
                <a:gd name="connsiteY4" fmla="*/ 21537 h 18738"/>
                <a:gd name="connsiteX5" fmla="*/ 3060 w 6246"/>
                <a:gd name="connsiteY5" fmla="*/ 23411 h 18738"/>
                <a:gd name="connsiteX6" fmla="*/ 187 w 6246"/>
                <a:gd name="connsiteY6" fmla="*/ 19164 h 18738"/>
                <a:gd name="connsiteX7" fmla="*/ 1873 w 6246"/>
                <a:gd name="connsiteY7" fmla="*/ 11356 h 18738"/>
                <a:gd name="connsiteX8" fmla="*/ 2498 w 6246"/>
                <a:gd name="connsiteY8" fmla="*/ 10107 h 18738"/>
                <a:gd name="connsiteX9" fmla="*/ 4059 w 6246"/>
                <a:gd name="connsiteY9" fmla="*/ 304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4059" y="3049"/>
                  </a:moveTo>
                  <a:cubicBezTo>
                    <a:pt x="3997" y="2237"/>
                    <a:pt x="4247" y="1487"/>
                    <a:pt x="4996" y="988"/>
                  </a:cubicBezTo>
                  <a:cubicBezTo>
                    <a:pt x="6558" y="2174"/>
                    <a:pt x="6745" y="-386"/>
                    <a:pt x="8057" y="51"/>
                  </a:cubicBezTo>
                  <a:cubicBezTo>
                    <a:pt x="7307" y="4236"/>
                    <a:pt x="7494" y="8545"/>
                    <a:pt x="6058" y="12668"/>
                  </a:cubicBezTo>
                  <a:cubicBezTo>
                    <a:pt x="4996" y="15541"/>
                    <a:pt x="4996" y="18602"/>
                    <a:pt x="4059" y="21537"/>
                  </a:cubicBezTo>
                  <a:cubicBezTo>
                    <a:pt x="3747" y="22162"/>
                    <a:pt x="3372" y="22787"/>
                    <a:pt x="3060" y="23411"/>
                  </a:cubicBezTo>
                  <a:cubicBezTo>
                    <a:pt x="-625" y="23536"/>
                    <a:pt x="-63" y="21287"/>
                    <a:pt x="187" y="19164"/>
                  </a:cubicBezTo>
                  <a:cubicBezTo>
                    <a:pt x="374" y="16478"/>
                    <a:pt x="1373" y="13917"/>
                    <a:pt x="1873" y="11356"/>
                  </a:cubicBezTo>
                  <a:cubicBezTo>
                    <a:pt x="2060" y="10919"/>
                    <a:pt x="2248" y="10544"/>
                    <a:pt x="2498" y="10107"/>
                  </a:cubicBezTo>
                  <a:cubicBezTo>
                    <a:pt x="3434" y="7858"/>
                    <a:pt x="5995" y="5860"/>
                    <a:pt x="4059" y="3049"/>
                  </a:cubicBezTo>
                  <a:close/>
                </a:path>
              </a:pathLst>
            </a:custGeom>
            <a:grpFill/>
            <a:ln w="6246" cap="flat">
              <a:noFill/>
              <a:prstDash val="solid"/>
              <a:miter/>
            </a:ln>
          </p:spPr>
          <p:txBody>
            <a:bodyPr rtlCol="0" anchor="ctr"/>
            <a:lstStyle/>
            <a:p>
              <a:endParaRPr lang="fr-FR" sz="2400"/>
            </a:p>
          </p:txBody>
        </p:sp>
        <p:sp>
          <p:nvSpPr>
            <p:cNvPr id="124" name="Freeform: Shape 123">
              <a:extLst>
                <a:ext uri="{FF2B5EF4-FFF2-40B4-BE49-F238E27FC236}">
                  <a16:creationId xmlns:a16="http://schemas.microsoft.com/office/drawing/2014/main" id="{F349A7A0-96F6-46C3-8229-22D2804A6542}"/>
                </a:ext>
              </a:extLst>
            </p:cNvPr>
            <p:cNvSpPr/>
            <p:nvPr/>
          </p:nvSpPr>
          <p:spPr>
            <a:xfrm>
              <a:off x="1419893" y="542095"/>
              <a:ext cx="6246" cy="6246"/>
            </a:xfrm>
            <a:custGeom>
              <a:avLst/>
              <a:gdLst>
                <a:gd name="connsiteX0" fmla="*/ 430 w 0"/>
                <a:gd name="connsiteY0" fmla="*/ 1936 h 6246"/>
                <a:gd name="connsiteX1" fmla="*/ 3678 w 0"/>
                <a:gd name="connsiteY1" fmla="*/ 0 h 6246"/>
                <a:gd name="connsiteX2" fmla="*/ 3678 w 0"/>
                <a:gd name="connsiteY2" fmla="*/ 1936 h 6246"/>
                <a:gd name="connsiteX3" fmla="*/ 3428 w 0"/>
                <a:gd name="connsiteY3" fmla="*/ 5746 h 6246"/>
                <a:gd name="connsiteX4" fmla="*/ 2429 w 0"/>
                <a:gd name="connsiteY4" fmla="*/ 7808 h 6246"/>
                <a:gd name="connsiteX5" fmla="*/ 367 w 0"/>
                <a:gd name="connsiteY5" fmla="*/ 5809 h 6246"/>
                <a:gd name="connsiteX6" fmla="*/ 430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30" y="1936"/>
                  </a:moveTo>
                  <a:cubicBezTo>
                    <a:pt x="2054" y="1999"/>
                    <a:pt x="2491" y="562"/>
                    <a:pt x="3678" y="0"/>
                  </a:cubicBezTo>
                  <a:cubicBezTo>
                    <a:pt x="3678" y="625"/>
                    <a:pt x="3678" y="1312"/>
                    <a:pt x="3678" y="1936"/>
                  </a:cubicBezTo>
                  <a:cubicBezTo>
                    <a:pt x="3615" y="3186"/>
                    <a:pt x="3490" y="4435"/>
                    <a:pt x="3428" y="5746"/>
                  </a:cubicBezTo>
                  <a:cubicBezTo>
                    <a:pt x="3116" y="6433"/>
                    <a:pt x="2741" y="7121"/>
                    <a:pt x="2429" y="7808"/>
                  </a:cubicBezTo>
                  <a:cubicBezTo>
                    <a:pt x="180" y="8432"/>
                    <a:pt x="-507" y="7808"/>
                    <a:pt x="367" y="5809"/>
                  </a:cubicBezTo>
                  <a:cubicBezTo>
                    <a:pt x="367" y="4560"/>
                    <a:pt x="367" y="3248"/>
                    <a:pt x="430" y="1936"/>
                  </a:cubicBezTo>
                  <a:close/>
                </a:path>
              </a:pathLst>
            </a:custGeom>
            <a:grpFill/>
            <a:ln w="6246" cap="flat">
              <a:noFill/>
              <a:prstDash val="solid"/>
              <a:miter/>
            </a:ln>
          </p:spPr>
          <p:txBody>
            <a:bodyPr rtlCol="0" anchor="ctr"/>
            <a:lstStyle/>
            <a:p>
              <a:endParaRPr lang="fr-FR" sz="2400"/>
            </a:p>
          </p:txBody>
        </p:sp>
        <p:sp>
          <p:nvSpPr>
            <p:cNvPr id="125" name="Freeform: Shape 124">
              <a:extLst>
                <a:ext uri="{FF2B5EF4-FFF2-40B4-BE49-F238E27FC236}">
                  <a16:creationId xmlns:a16="http://schemas.microsoft.com/office/drawing/2014/main" id="{707CB938-6BB5-4BBA-9B0A-27E89B017582}"/>
                </a:ext>
              </a:extLst>
            </p:cNvPr>
            <p:cNvSpPr/>
            <p:nvPr/>
          </p:nvSpPr>
          <p:spPr>
            <a:xfrm>
              <a:off x="1418116" y="564331"/>
              <a:ext cx="6246" cy="6246"/>
            </a:xfrm>
            <a:custGeom>
              <a:avLst/>
              <a:gdLst>
                <a:gd name="connsiteX0" fmla="*/ 83 w 0"/>
                <a:gd name="connsiteY0" fmla="*/ 8869 h 6246"/>
                <a:gd name="connsiteX1" fmla="*/ 2082 w 0"/>
                <a:gd name="connsiteY1" fmla="*/ 0 h 6246"/>
                <a:gd name="connsiteX2" fmla="*/ 2144 w 0"/>
                <a:gd name="connsiteY2" fmla="*/ 2998 h 6246"/>
                <a:gd name="connsiteX3" fmla="*/ 958 w 0"/>
                <a:gd name="connsiteY3" fmla="*/ 8682 h 6246"/>
                <a:gd name="connsiteX4" fmla="*/ 83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83" y="8869"/>
                  </a:moveTo>
                  <a:cubicBezTo>
                    <a:pt x="-104" y="5746"/>
                    <a:pt x="-167" y="2686"/>
                    <a:pt x="2082" y="0"/>
                  </a:cubicBezTo>
                  <a:cubicBezTo>
                    <a:pt x="2082" y="999"/>
                    <a:pt x="2144" y="1999"/>
                    <a:pt x="2144" y="2998"/>
                  </a:cubicBezTo>
                  <a:cubicBezTo>
                    <a:pt x="1769" y="4872"/>
                    <a:pt x="1332" y="6808"/>
                    <a:pt x="958" y="8682"/>
                  </a:cubicBezTo>
                  <a:cubicBezTo>
                    <a:pt x="645" y="8682"/>
                    <a:pt x="333" y="8745"/>
                    <a:pt x="83" y="8869"/>
                  </a:cubicBezTo>
                  <a:close/>
                </a:path>
              </a:pathLst>
            </a:custGeom>
            <a:grpFill/>
            <a:ln w="6246" cap="flat">
              <a:noFill/>
              <a:prstDash val="solid"/>
              <a:miter/>
            </a:ln>
          </p:spPr>
          <p:txBody>
            <a:bodyPr rtlCol="0" anchor="ctr"/>
            <a:lstStyle/>
            <a:p>
              <a:endParaRPr lang="fr-FR" sz="2400"/>
            </a:p>
          </p:txBody>
        </p:sp>
        <p:sp>
          <p:nvSpPr>
            <p:cNvPr id="126" name="Freeform: Shape 125">
              <a:extLst>
                <a:ext uri="{FF2B5EF4-FFF2-40B4-BE49-F238E27FC236}">
                  <a16:creationId xmlns:a16="http://schemas.microsoft.com/office/drawing/2014/main" id="{E8D96115-9793-413F-9127-935023FDACAB}"/>
                </a:ext>
              </a:extLst>
            </p:cNvPr>
            <p:cNvSpPr/>
            <p:nvPr/>
          </p:nvSpPr>
          <p:spPr>
            <a:xfrm>
              <a:off x="1419074" y="547904"/>
              <a:ext cx="6246" cy="6246"/>
            </a:xfrm>
            <a:custGeom>
              <a:avLst/>
              <a:gdLst>
                <a:gd name="connsiteX0" fmla="*/ 1124 w 0"/>
                <a:gd name="connsiteY0" fmla="*/ 0 h 0"/>
                <a:gd name="connsiteX1" fmla="*/ 3185 w 0"/>
                <a:gd name="connsiteY1" fmla="*/ 1999 h 0"/>
                <a:gd name="connsiteX2" fmla="*/ 3061 w 0"/>
                <a:gd name="connsiteY2" fmla="*/ 3810 h 0"/>
                <a:gd name="connsiteX3" fmla="*/ 0 w 0"/>
                <a:gd name="connsiteY3" fmla="*/ 4747 h 0"/>
                <a:gd name="connsiteX4" fmla="*/ 1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24" y="0"/>
                  </a:moveTo>
                  <a:cubicBezTo>
                    <a:pt x="1249" y="1187"/>
                    <a:pt x="1874" y="1874"/>
                    <a:pt x="3185" y="1999"/>
                  </a:cubicBezTo>
                  <a:cubicBezTo>
                    <a:pt x="3123" y="2623"/>
                    <a:pt x="3123" y="3186"/>
                    <a:pt x="3061" y="3810"/>
                  </a:cubicBezTo>
                  <a:cubicBezTo>
                    <a:pt x="2248" y="4685"/>
                    <a:pt x="1562" y="5871"/>
                    <a:pt x="0" y="4747"/>
                  </a:cubicBezTo>
                  <a:cubicBezTo>
                    <a:pt x="312" y="3186"/>
                    <a:pt x="-500" y="1374"/>
                    <a:pt x="1124" y="0"/>
                  </a:cubicBezTo>
                  <a:close/>
                </a:path>
              </a:pathLst>
            </a:custGeom>
            <a:grpFill/>
            <a:ln w="6246" cap="flat">
              <a:noFill/>
              <a:prstDash val="solid"/>
              <a:miter/>
            </a:ln>
          </p:spPr>
          <p:txBody>
            <a:bodyPr rtlCol="0" anchor="ctr"/>
            <a:lstStyle/>
            <a:p>
              <a:endParaRPr lang="fr-FR" sz="2400"/>
            </a:p>
          </p:txBody>
        </p:sp>
        <p:sp>
          <p:nvSpPr>
            <p:cNvPr id="127" name="Freeform: Shape 126">
              <a:extLst>
                <a:ext uri="{FF2B5EF4-FFF2-40B4-BE49-F238E27FC236}">
                  <a16:creationId xmlns:a16="http://schemas.microsoft.com/office/drawing/2014/main" id="{D1841F1E-3D26-424F-A9B2-CFBBC088E36B}"/>
                </a:ext>
              </a:extLst>
            </p:cNvPr>
            <p:cNvSpPr/>
            <p:nvPr/>
          </p:nvSpPr>
          <p:spPr>
            <a:xfrm>
              <a:off x="1408539" y="570689"/>
              <a:ext cx="6246" cy="12492"/>
            </a:xfrm>
            <a:custGeom>
              <a:avLst/>
              <a:gdLst>
                <a:gd name="connsiteX0" fmla="*/ 7411 w 6246"/>
                <a:gd name="connsiteY0" fmla="*/ 388 h 12492"/>
                <a:gd name="connsiteX1" fmla="*/ 8661 w 6246"/>
                <a:gd name="connsiteY1" fmla="*/ 4385 h 12492"/>
                <a:gd name="connsiteX2" fmla="*/ 7411 w 6246"/>
                <a:gd name="connsiteY2" fmla="*/ 7196 h 12492"/>
                <a:gd name="connsiteX3" fmla="*/ 3789 w 6246"/>
                <a:gd name="connsiteY3" fmla="*/ 10944 h 12492"/>
                <a:gd name="connsiteX4" fmla="*/ 978 w 6246"/>
                <a:gd name="connsiteY4" fmla="*/ 14004 h 12492"/>
                <a:gd name="connsiteX5" fmla="*/ 103 w 6246"/>
                <a:gd name="connsiteY5" fmla="*/ 12755 h 12492"/>
                <a:gd name="connsiteX6" fmla="*/ 41 w 6246"/>
                <a:gd name="connsiteY6" fmla="*/ 11256 h 12492"/>
                <a:gd name="connsiteX7" fmla="*/ 3789 w 6246"/>
                <a:gd name="connsiteY7" fmla="*/ 2012 h 12492"/>
                <a:gd name="connsiteX8" fmla="*/ 7411 w 6246"/>
                <a:gd name="connsiteY8" fmla="*/ 38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7411" y="388"/>
                  </a:moveTo>
                  <a:cubicBezTo>
                    <a:pt x="6287" y="2074"/>
                    <a:pt x="6350" y="3511"/>
                    <a:pt x="8661" y="4385"/>
                  </a:cubicBezTo>
                  <a:cubicBezTo>
                    <a:pt x="8661" y="5510"/>
                    <a:pt x="8161" y="6384"/>
                    <a:pt x="7411" y="7196"/>
                  </a:cubicBezTo>
                  <a:cubicBezTo>
                    <a:pt x="4913" y="7446"/>
                    <a:pt x="4725" y="9507"/>
                    <a:pt x="3789" y="10944"/>
                  </a:cubicBezTo>
                  <a:cubicBezTo>
                    <a:pt x="3039" y="12130"/>
                    <a:pt x="3164" y="13942"/>
                    <a:pt x="978" y="14004"/>
                  </a:cubicBezTo>
                  <a:cubicBezTo>
                    <a:pt x="541" y="13692"/>
                    <a:pt x="228" y="13255"/>
                    <a:pt x="103" y="12755"/>
                  </a:cubicBezTo>
                  <a:cubicBezTo>
                    <a:pt x="-21" y="12255"/>
                    <a:pt x="-21" y="11756"/>
                    <a:pt x="41" y="11256"/>
                  </a:cubicBezTo>
                  <a:cubicBezTo>
                    <a:pt x="541" y="7945"/>
                    <a:pt x="1540" y="4760"/>
                    <a:pt x="3789" y="2012"/>
                  </a:cubicBezTo>
                  <a:cubicBezTo>
                    <a:pt x="4663" y="825"/>
                    <a:pt x="5350" y="-737"/>
                    <a:pt x="7411" y="388"/>
                  </a:cubicBezTo>
                  <a:close/>
                </a:path>
              </a:pathLst>
            </a:custGeom>
            <a:grpFill/>
            <a:ln w="6246" cap="flat">
              <a:noFill/>
              <a:prstDash val="solid"/>
              <a:miter/>
            </a:ln>
          </p:spPr>
          <p:txBody>
            <a:bodyPr rtlCol="0" anchor="ctr"/>
            <a:lstStyle/>
            <a:p>
              <a:endParaRPr lang="fr-FR" sz="2400"/>
            </a:p>
          </p:txBody>
        </p:sp>
        <p:sp>
          <p:nvSpPr>
            <p:cNvPr id="128" name="Freeform: Shape 127">
              <a:extLst>
                <a:ext uri="{FF2B5EF4-FFF2-40B4-BE49-F238E27FC236}">
                  <a16:creationId xmlns:a16="http://schemas.microsoft.com/office/drawing/2014/main" id="{57A5F283-7649-46B2-8979-7F5D3D00BE56}"/>
                </a:ext>
              </a:extLst>
            </p:cNvPr>
            <p:cNvSpPr/>
            <p:nvPr/>
          </p:nvSpPr>
          <p:spPr>
            <a:xfrm>
              <a:off x="1171476" y="415362"/>
              <a:ext cx="24984" cy="18738"/>
            </a:xfrm>
            <a:custGeom>
              <a:avLst/>
              <a:gdLst>
                <a:gd name="connsiteX0" fmla="*/ 1627 w 24984"/>
                <a:gd name="connsiteY0" fmla="*/ 14616 h 18738"/>
                <a:gd name="connsiteX1" fmla="*/ 24051 w 24984"/>
                <a:gd name="connsiteY1" fmla="*/ 1062 h 18738"/>
                <a:gd name="connsiteX2" fmla="*/ 29235 w 24984"/>
                <a:gd name="connsiteY2" fmla="*/ 0 h 18738"/>
                <a:gd name="connsiteX3" fmla="*/ 29672 w 24984"/>
                <a:gd name="connsiteY3" fmla="*/ 562 h 18738"/>
                <a:gd name="connsiteX4" fmla="*/ 23738 w 24984"/>
                <a:gd name="connsiteY4" fmla="*/ 5934 h 18738"/>
                <a:gd name="connsiteX5" fmla="*/ 6562 w 24984"/>
                <a:gd name="connsiteY5" fmla="*/ 17302 h 18738"/>
                <a:gd name="connsiteX6" fmla="*/ 1752 w 24984"/>
                <a:gd name="connsiteY6" fmla="*/ 18988 h 18738"/>
                <a:gd name="connsiteX7" fmla="*/ 3 w 24984"/>
                <a:gd name="connsiteY7" fmla="*/ 16802 h 18738"/>
                <a:gd name="connsiteX8" fmla="*/ 1627 w 24984"/>
                <a:gd name="connsiteY8" fmla="*/ 1461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627" y="14616"/>
                  </a:moveTo>
                  <a:cubicBezTo>
                    <a:pt x="9123" y="10119"/>
                    <a:pt x="16618" y="5559"/>
                    <a:pt x="24051" y="1062"/>
                  </a:cubicBezTo>
                  <a:cubicBezTo>
                    <a:pt x="25800" y="687"/>
                    <a:pt x="27549" y="375"/>
                    <a:pt x="29235" y="0"/>
                  </a:cubicBezTo>
                  <a:cubicBezTo>
                    <a:pt x="29360" y="187"/>
                    <a:pt x="29485" y="375"/>
                    <a:pt x="29672" y="562"/>
                  </a:cubicBezTo>
                  <a:cubicBezTo>
                    <a:pt x="29110" y="3623"/>
                    <a:pt x="25238" y="3685"/>
                    <a:pt x="23738" y="5934"/>
                  </a:cubicBezTo>
                  <a:cubicBezTo>
                    <a:pt x="18429" y="10244"/>
                    <a:pt x="11559" y="12680"/>
                    <a:pt x="6562" y="17302"/>
                  </a:cubicBezTo>
                  <a:cubicBezTo>
                    <a:pt x="5188" y="18363"/>
                    <a:pt x="3813" y="19488"/>
                    <a:pt x="1752" y="18988"/>
                  </a:cubicBezTo>
                  <a:cubicBezTo>
                    <a:pt x="753" y="18551"/>
                    <a:pt x="253" y="17739"/>
                    <a:pt x="3" y="16802"/>
                  </a:cubicBezTo>
                  <a:cubicBezTo>
                    <a:pt x="-59" y="15615"/>
                    <a:pt x="753" y="15115"/>
                    <a:pt x="1627" y="14616"/>
                  </a:cubicBezTo>
                  <a:close/>
                </a:path>
              </a:pathLst>
            </a:custGeom>
            <a:grpFill/>
            <a:ln w="6246" cap="flat">
              <a:noFill/>
              <a:prstDash val="solid"/>
              <a:miter/>
            </a:ln>
          </p:spPr>
          <p:txBody>
            <a:bodyPr rtlCol="0" anchor="ctr"/>
            <a:lstStyle/>
            <a:p>
              <a:endParaRPr lang="fr-FR" sz="2400"/>
            </a:p>
          </p:txBody>
        </p:sp>
        <p:sp>
          <p:nvSpPr>
            <p:cNvPr id="129" name="Freeform: Shape 128">
              <a:extLst>
                <a:ext uri="{FF2B5EF4-FFF2-40B4-BE49-F238E27FC236}">
                  <a16:creationId xmlns:a16="http://schemas.microsoft.com/office/drawing/2014/main" id="{93B09942-7596-4168-AD99-C39E727E40AF}"/>
                </a:ext>
              </a:extLst>
            </p:cNvPr>
            <p:cNvSpPr/>
            <p:nvPr/>
          </p:nvSpPr>
          <p:spPr>
            <a:xfrm>
              <a:off x="1208097" y="403870"/>
              <a:ext cx="18738" cy="6246"/>
            </a:xfrm>
            <a:custGeom>
              <a:avLst/>
              <a:gdLst>
                <a:gd name="connsiteX0" fmla="*/ 16349 w 18738"/>
                <a:gd name="connsiteY0" fmla="*/ 0 h 6246"/>
                <a:gd name="connsiteX1" fmla="*/ 19472 w 18738"/>
                <a:gd name="connsiteY1" fmla="*/ 0 h 6246"/>
                <a:gd name="connsiteX2" fmla="*/ 17723 w 18738"/>
                <a:gd name="connsiteY2" fmla="*/ 2686 h 6246"/>
                <a:gd name="connsiteX3" fmla="*/ 4731 w 18738"/>
                <a:gd name="connsiteY3" fmla="*/ 7620 h 6246"/>
                <a:gd name="connsiteX4" fmla="*/ 234 w 18738"/>
                <a:gd name="connsiteY4" fmla="*/ 7932 h 6246"/>
                <a:gd name="connsiteX5" fmla="*/ 234 w 18738"/>
                <a:gd name="connsiteY5" fmla="*/ 6746 h 6246"/>
                <a:gd name="connsiteX6" fmla="*/ 8791 w 18738"/>
                <a:gd name="connsiteY6" fmla="*/ 1936 h 6246"/>
                <a:gd name="connsiteX7" fmla="*/ 14163 w 18738"/>
                <a:gd name="connsiteY7" fmla="*/ 999 h 6246"/>
                <a:gd name="connsiteX8" fmla="*/ 16349 w 18738"/>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6246">
                  <a:moveTo>
                    <a:pt x="16349" y="0"/>
                  </a:moveTo>
                  <a:cubicBezTo>
                    <a:pt x="17411" y="0"/>
                    <a:pt x="18473" y="0"/>
                    <a:pt x="19472" y="0"/>
                  </a:cubicBezTo>
                  <a:cubicBezTo>
                    <a:pt x="20159" y="1562"/>
                    <a:pt x="18660" y="1999"/>
                    <a:pt x="17723" y="2686"/>
                  </a:cubicBezTo>
                  <a:cubicBezTo>
                    <a:pt x="13476" y="4435"/>
                    <a:pt x="9041" y="5996"/>
                    <a:pt x="4731" y="7620"/>
                  </a:cubicBezTo>
                  <a:cubicBezTo>
                    <a:pt x="3295" y="8182"/>
                    <a:pt x="1858" y="8807"/>
                    <a:pt x="234" y="7932"/>
                  </a:cubicBezTo>
                  <a:cubicBezTo>
                    <a:pt x="-78" y="7495"/>
                    <a:pt x="-78" y="7121"/>
                    <a:pt x="234" y="6746"/>
                  </a:cubicBezTo>
                  <a:cubicBezTo>
                    <a:pt x="2608" y="4435"/>
                    <a:pt x="6855" y="4809"/>
                    <a:pt x="8791" y="1936"/>
                  </a:cubicBezTo>
                  <a:cubicBezTo>
                    <a:pt x="10353" y="749"/>
                    <a:pt x="11914" y="-562"/>
                    <a:pt x="14163" y="999"/>
                  </a:cubicBezTo>
                  <a:cubicBezTo>
                    <a:pt x="14912" y="625"/>
                    <a:pt x="15600" y="312"/>
                    <a:pt x="16349" y="0"/>
                  </a:cubicBezTo>
                  <a:close/>
                </a:path>
              </a:pathLst>
            </a:custGeom>
            <a:grpFill/>
            <a:ln w="6246" cap="flat">
              <a:noFill/>
              <a:prstDash val="solid"/>
              <a:miter/>
            </a:ln>
          </p:spPr>
          <p:txBody>
            <a:bodyPr rtlCol="0" anchor="ctr"/>
            <a:lstStyle/>
            <a:p>
              <a:endParaRPr lang="fr-FR" sz="2400"/>
            </a:p>
          </p:txBody>
        </p:sp>
        <p:sp>
          <p:nvSpPr>
            <p:cNvPr id="130" name="Freeform: Shape 129">
              <a:extLst>
                <a:ext uri="{FF2B5EF4-FFF2-40B4-BE49-F238E27FC236}">
                  <a16:creationId xmlns:a16="http://schemas.microsoft.com/office/drawing/2014/main" id="{47733C31-4F48-447A-96C3-4422FB84E40E}"/>
                </a:ext>
              </a:extLst>
            </p:cNvPr>
            <p:cNvSpPr/>
            <p:nvPr/>
          </p:nvSpPr>
          <p:spPr>
            <a:xfrm>
              <a:off x="1200774" y="410615"/>
              <a:ext cx="6246" cy="6246"/>
            </a:xfrm>
            <a:custGeom>
              <a:avLst/>
              <a:gdLst>
                <a:gd name="connsiteX0" fmla="*/ 7620 w 6246"/>
                <a:gd name="connsiteY0" fmla="*/ 0 h 0"/>
                <a:gd name="connsiteX1" fmla="*/ 7620 w 6246"/>
                <a:gd name="connsiteY1" fmla="*/ 1124 h 0"/>
                <a:gd name="connsiteX2" fmla="*/ 250 w 6246"/>
                <a:gd name="connsiteY2" fmla="*/ 4934 h 0"/>
                <a:gd name="connsiteX3" fmla="*/ 0 w 6246"/>
                <a:gd name="connsiteY3" fmla="*/ 4685 h 0"/>
                <a:gd name="connsiteX4" fmla="*/ 762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7620" y="0"/>
                  </a:moveTo>
                  <a:cubicBezTo>
                    <a:pt x="7620" y="375"/>
                    <a:pt x="7620" y="750"/>
                    <a:pt x="7620" y="1124"/>
                  </a:cubicBezTo>
                  <a:cubicBezTo>
                    <a:pt x="6996" y="5309"/>
                    <a:pt x="4060" y="5809"/>
                    <a:pt x="250" y="4934"/>
                  </a:cubicBezTo>
                  <a:cubicBezTo>
                    <a:pt x="250" y="4934"/>
                    <a:pt x="0" y="4685"/>
                    <a:pt x="0" y="4685"/>
                  </a:cubicBezTo>
                  <a:cubicBezTo>
                    <a:pt x="1624" y="1936"/>
                    <a:pt x="4372" y="687"/>
                    <a:pt x="7620" y="0"/>
                  </a:cubicBezTo>
                  <a:close/>
                </a:path>
              </a:pathLst>
            </a:custGeom>
            <a:grpFill/>
            <a:ln w="6246" cap="flat">
              <a:noFill/>
              <a:prstDash val="solid"/>
              <a:miter/>
            </a:ln>
          </p:spPr>
          <p:txBody>
            <a:bodyPr rtlCol="0" anchor="ctr"/>
            <a:lstStyle/>
            <a:p>
              <a:endParaRPr lang="fr-FR" sz="2400"/>
            </a:p>
          </p:txBody>
        </p:sp>
        <p:sp>
          <p:nvSpPr>
            <p:cNvPr id="131" name="Freeform: Shape 130">
              <a:extLst>
                <a:ext uri="{FF2B5EF4-FFF2-40B4-BE49-F238E27FC236}">
                  <a16:creationId xmlns:a16="http://schemas.microsoft.com/office/drawing/2014/main" id="{F6202723-14AE-43D4-9A05-047EB45BBC64}"/>
                </a:ext>
              </a:extLst>
            </p:cNvPr>
            <p:cNvSpPr/>
            <p:nvPr/>
          </p:nvSpPr>
          <p:spPr>
            <a:xfrm>
              <a:off x="1146308" y="425106"/>
              <a:ext cx="12492" cy="6246"/>
            </a:xfrm>
            <a:custGeom>
              <a:avLst/>
              <a:gdLst>
                <a:gd name="connsiteX0" fmla="*/ 0 w 12492"/>
                <a:gd name="connsiteY0" fmla="*/ 9681 h 6246"/>
                <a:gd name="connsiteX1" fmla="*/ 13929 w 12492"/>
                <a:gd name="connsiteY1" fmla="*/ 0 h 6246"/>
                <a:gd name="connsiteX2" fmla="*/ 11243 w 12492"/>
                <a:gd name="connsiteY2" fmla="*/ 4185 h 6246"/>
                <a:gd name="connsiteX3" fmla="*/ 8869 w 12492"/>
                <a:gd name="connsiteY3" fmla="*/ 7121 h 6246"/>
                <a:gd name="connsiteX4" fmla="*/ 0 w 12492"/>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681"/>
                  </a:moveTo>
                  <a:cubicBezTo>
                    <a:pt x="5184" y="7058"/>
                    <a:pt x="8120" y="1874"/>
                    <a:pt x="13929" y="0"/>
                  </a:cubicBezTo>
                  <a:cubicBezTo>
                    <a:pt x="14179" y="1999"/>
                    <a:pt x="15365" y="4497"/>
                    <a:pt x="11243" y="4185"/>
                  </a:cubicBezTo>
                  <a:cubicBezTo>
                    <a:pt x="8620" y="3997"/>
                    <a:pt x="9369" y="5996"/>
                    <a:pt x="8869" y="7121"/>
                  </a:cubicBezTo>
                  <a:cubicBezTo>
                    <a:pt x="6871" y="11493"/>
                    <a:pt x="3373" y="12492"/>
                    <a:pt x="0" y="9681"/>
                  </a:cubicBezTo>
                  <a:close/>
                </a:path>
              </a:pathLst>
            </a:custGeom>
            <a:grpFill/>
            <a:ln w="6246" cap="flat">
              <a:noFill/>
              <a:prstDash val="solid"/>
              <a:miter/>
            </a:ln>
          </p:spPr>
          <p:txBody>
            <a:bodyPr rtlCol="0" anchor="ctr"/>
            <a:lstStyle/>
            <a:p>
              <a:endParaRPr lang="fr-FR" sz="2400"/>
            </a:p>
          </p:txBody>
        </p:sp>
        <p:sp>
          <p:nvSpPr>
            <p:cNvPr id="132" name="Freeform: Shape 131">
              <a:extLst>
                <a:ext uri="{FF2B5EF4-FFF2-40B4-BE49-F238E27FC236}">
                  <a16:creationId xmlns:a16="http://schemas.microsoft.com/office/drawing/2014/main" id="{0C2C7519-477C-417D-842A-236A1F51C2F1}"/>
                </a:ext>
              </a:extLst>
            </p:cNvPr>
            <p:cNvSpPr/>
            <p:nvPr/>
          </p:nvSpPr>
          <p:spPr>
            <a:xfrm>
              <a:off x="1141499" y="448049"/>
              <a:ext cx="6246" cy="6246"/>
            </a:xfrm>
            <a:custGeom>
              <a:avLst/>
              <a:gdLst>
                <a:gd name="connsiteX0" fmla="*/ 562 w 6246"/>
                <a:gd name="connsiteY0" fmla="*/ 2229 h 6246"/>
                <a:gd name="connsiteX1" fmla="*/ 6933 w 6246"/>
                <a:gd name="connsiteY1" fmla="*/ 293 h 6246"/>
                <a:gd name="connsiteX2" fmla="*/ 8245 w 6246"/>
                <a:gd name="connsiteY2" fmla="*/ 105 h 6246"/>
                <a:gd name="connsiteX3" fmla="*/ 9681 w 6246"/>
                <a:gd name="connsiteY3" fmla="*/ 2354 h 6246"/>
                <a:gd name="connsiteX4" fmla="*/ 8807 w 6246"/>
                <a:gd name="connsiteY4" fmla="*/ 5539 h 6246"/>
                <a:gd name="connsiteX5" fmla="*/ 5434 w 6246"/>
                <a:gd name="connsiteY5" fmla="*/ 8975 h 6246"/>
                <a:gd name="connsiteX6" fmla="*/ 1312 w 6246"/>
                <a:gd name="connsiteY6" fmla="*/ 8538 h 6246"/>
                <a:gd name="connsiteX7" fmla="*/ 187 w 6246"/>
                <a:gd name="connsiteY7" fmla="*/ 6851 h 6246"/>
                <a:gd name="connsiteX8" fmla="*/ 0 w 6246"/>
                <a:gd name="connsiteY8" fmla="*/ 5602 h 6246"/>
                <a:gd name="connsiteX9" fmla="*/ 562 w 6246"/>
                <a:gd name="connsiteY9" fmla="*/ 222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562" y="2229"/>
                  </a:moveTo>
                  <a:cubicBezTo>
                    <a:pt x="1624" y="-1206"/>
                    <a:pt x="5434" y="2541"/>
                    <a:pt x="6933" y="293"/>
                  </a:cubicBezTo>
                  <a:cubicBezTo>
                    <a:pt x="7308" y="-20"/>
                    <a:pt x="7745" y="-82"/>
                    <a:pt x="8245" y="105"/>
                  </a:cubicBezTo>
                  <a:cubicBezTo>
                    <a:pt x="9057" y="668"/>
                    <a:pt x="9494" y="1417"/>
                    <a:pt x="9681" y="2354"/>
                  </a:cubicBezTo>
                  <a:cubicBezTo>
                    <a:pt x="9744" y="3478"/>
                    <a:pt x="9307" y="4540"/>
                    <a:pt x="8807" y="5539"/>
                  </a:cubicBezTo>
                  <a:cubicBezTo>
                    <a:pt x="7995" y="6914"/>
                    <a:pt x="7058" y="8225"/>
                    <a:pt x="5434" y="8975"/>
                  </a:cubicBezTo>
                  <a:cubicBezTo>
                    <a:pt x="3935" y="9599"/>
                    <a:pt x="2561" y="9662"/>
                    <a:pt x="1312" y="8538"/>
                  </a:cubicBezTo>
                  <a:cubicBezTo>
                    <a:pt x="812" y="8038"/>
                    <a:pt x="437" y="7476"/>
                    <a:pt x="187" y="6851"/>
                  </a:cubicBezTo>
                  <a:cubicBezTo>
                    <a:pt x="63" y="6476"/>
                    <a:pt x="0" y="6039"/>
                    <a:pt x="0" y="5602"/>
                  </a:cubicBezTo>
                  <a:cubicBezTo>
                    <a:pt x="125" y="4478"/>
                    <a:pt x="1562" y="3478"/>
                    <a:pt x="562" y="2229"/>
                  </a:cubicBezTo>
                  <a:close/>
                </a:path>
              </a:pathLst>
            </a:custGeom>
            <a:grpFill/>
            <a:ln w="6246" cap="flat">
              <a:noFill/>
              <a:prstDash val="solid"/>
              <a:miter/>
            </a:ln>
          </p:spPr>
          <p:txBody>
            <a:bodyPr rtlCol="0" anchor="ctr"/>
            <a:lstStyle/>
            <a:p>
              <a:endParaRPr lang="fr-FR" sz="2400"/>
            </a:p>
          </p:txBody>
        </p:sp>
        <p:sp>
          <p:nvSpPr>
            <p:cNvPr id="133" name="Freeform: Shape 132">
              <a:extLst>
                <a:ext uri="{FF2B5EF4-FFF2-40B4-BE49-F238E27FC236}">
                  <a16:creationId xmlns:a16="http://schemas.microsoft.com/office/drawing/2014/main" id="{1B1E7F8F-4D55-4BDB-82CE-0AEC36383378}"/>
                </a:ext>
              </a:extLst>
            </p:cNvPr>
            <p:cNvSpPr/>
            <p:nvPr/>
          </p:nvSpPr>
          <p:spPr>
            <a:xfrm>
              <a:off x="1133441" y="452152"/>
              <a:ext cx="6246" cy="6246"/>
            </a:xfrm>
            <a:custGeom>
              <a:avLst/>
              <a:gdLst>
                <a:gd name="connsiteX0" fmla="*/ 0 w 6246"/>
                <a:gd name="connsiteY0" fmla="*/ 10618 h 6246"/>
                <a:gd name="connsiteX1" fmla="*/ 0 w 6246"/>
                <a:gd name="connsiteY1" fmla="*/ 8745 h 6246"/>
                <a:gd name="connsiteX2" fmla="*/ 3248 w 6246"/>
                <a:gd name="connsiteY2" fmla="*/ 4872 h 6246"/>
                <a:gd name="connsiteX3" fmla="*/ 6496 w 6246"/>
                <a:gd name="connsiteY3" fmla="*/ 0 h 6246"/>
                <a:gd name="connsiteX4" fmla="*/ 7558 w 6246"/>
                <a:gd name="connsiteY4" fmla="*/ 0 h 6246"/>
                <a:gd name="connsiteX5" fmla="*/ 8620 w 6246"/>
                <a:gd name="connsiteY5" fmla="*/ 1874 h 6246"/>
                <a:gd name="connsiteX6" fmla="*/ 8620 w 6246"/>
                <a:gd name="connsiteY6" fmla="*/ 1936 h 6246"/>
                <a:gd name="connsiteX7" fmla="*/ 8182 w 6246"/>
                <a:gd name="connsiteY7" fmla="*/ 5809 h 6246"/>
                <a:gd name="connsiteX8" fmla="*/ 4872 w 6246"/>
                <a:gd name="connsiteY8" fmla="*/ 10181 h 6246"/>
                <a:gd name="connsiteX9" fmla="*/ 2936 w 6246"/>
                <a:gd name="connsiteY9" fmla="*/ 11305 h 6246"/>
                <a:gd name="connsiteX10" fmla="*/ 0 w 6246"/>
                <a:gd name="connsiteY10"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6246">
                  <a:moveTo>
                    <a:pt x="0" y="10618"/>
                  </a:moveTo>
                  <a:cubicBezTo>
                    <a:pt x="0" y="9994"/>
                    <a:pt x="0" y="9369"/>
                    <a:pt x="0" y="8745"/>
                  </a:cubicBezTo>
                  <a:cubicBezTo>
                    <a:pt x="999" y="7433"/>
                    <a:pt x="2249" y="6246"/>
                    <a:pt x="3248" y="4872"/>
                  </a:cubicBezTo>
                  <a:cubicBezTo>
                    <a:pt x="4310" y="3248"/>
                    <a:pt x="5372" y="1624"/>
                    <a:pt x="6496" y="0"/>
                  </a:cubicBezTo>
                  <a:cubicBezTo>
                    <a:pt x="6871" y="0"/>
                    <a:pt x="7183" y="0"/>
                    <a:pt x="7558" y="0"/>
                  </a:cubicBezTo>
                  <a:cubicBezTo>
                    <a:pt x="8432" y="375"/>
                    <a:pt x="8057" y="1374"/>
                    <a:pt x="8620" y="1874"/>
                  </a:cubicBezTo>
                  <a:lnTo>
                    <a:pt x="8620" y="1936"/>
                  </a:lnTo>
                  <a:cubicBezTo>
                    <a:pt x="8932" y="3248"/>
                    <a:pt x="8744" y="4560"/>
                    <a:pt x="8182" y="5809"/>
                  </a:cubicBezTo>
                  <a:cubicBezTo>
                    <a:pt x="6933" y="7183"/>
                    <a:pt x="5996" y="8745"/>
                    <a:pt x="4872" y="10181"/>
                  </a:cubicBezTo>
                  <a:cubicBezTo>
                    <a:pt x="4310" y="10681"/>
                    <a:pt x="3685" y="11118"/>
                    <a:pt x="2936" y="11305"/>
                  </a:cubicBezTo>
                  <a:cubicBezTo>
                    <a:pt x="1811" y="11618"/>
                    <a:pt x="749" y="11493"/>
                    <a:pt x="0" y="10618"/>
                  </a:cubicBezTo>
                  <a:close/>
                </a:path>
              </a:pathLst>
            </a:custGeom>
            <a:grpFill/>
            <a:ln w="6246" cap="flat">
              <a:noFill/>
              <a:prstDash val="solid"/>
              <a:miter/>
            </a:ln>
          </p:spPr>
          <p:txBody>
            <a:bodyPr rtlCol="0" anchor="ctr"/>
            <a:lstStyle/>
            <a:p>
              <a:endParaRPr lang="fr-FR" sz="2400"/>
            </a:p>
          </p:txBody>
        </p:sp>
        <p:sp>
          <p:nvSpPr>
            <p:cNvPr id="134" name="Freeform: Shape 133">
              <a:extLst>
                <a:ext uri="{FF2B5EF4-FFF2-40B4-BE49-F238E27FC236}">
                  <a16:creationId xmlns:a16="http://schemas.microsoft.com/office/drawing/2014/main" id="{65C35096-FFC2-4234-94F6-75C6FF672559}"/>
                </a:ext>
              </a:extLst>
            </p:cNvPr>
            <p:cNvSpPr/>
            <p:nvPr/>
          </p:nvSpPr>
          <p:spPr>
            <a:xfrm>
              <a:off x="1149544" y="441355"/>
              <a:ext cx="6246" cy="6246"/>
            </a:xfrm>
            <a:custGeom>
              <a:avLst/>
              <a:gdLst>
                <a:gd name="connsiteX0" fmla="*/ 1074 w 6246"/>
                <a:gd name="connsiteY0" fmla="*/ 8923 h 6246"/>
                <a:gd name="connsiteX1" fmla="*/ 12 w 6246"/>
                <a:gd name="connsiteY1" fmla="*/ 6986 h 6246"/>
                <a:gd name="connsiteX2" fmla="*/ 1074 w 6246"/>
                <a:gd name="connsiteY2" fmla="*/ 3114 h 6246"/>
                <a:gd name="connsiteX3" fmla="*/ 6446 w 6246"/>
                <a:gd name="connsiteY3" fmla="*/ 1177 h 6246"/>
                <a:gd name="connsiteX4" fmla="*/ 7195 w 6246"/>
                <a:gd name="connsiteY4" fmla="*/ 3114 h 6246"/>
                <a:gd name="connsiteX5" fmla="*/ 7695 w 6246"/>
                <a:gd name="connsiteY5" fmla="*/ 3551 h 6246"/>
                <a:gd name="connsiteX6" fmla="*/ 5571 w 6246"/>
                <a:gd name="connsiteY6" fmla="*/ 6736 h 6246"/>
                <a:gd name="connsiteX7" fmla="*/ 1074 w 6246"/>
                <a:gd name="connsiteY7" fmla="*/ 89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74" y="8923"/>
                  </a:moveTo>
                  <a:cubicBezTo>
                    <a:pt x="262" y="8485"/>
                    <a:pt x="12" y="7798"/>
                    <a:pt x="12" y="6986"/>
                  </a:cubicBezTo>
                  <a:cubicBezTo>
                    <a:pt x="-113" y="5612"/>
                    <a:pt x="762" y="4425"/>
                    <a:pt x="1074" y="3114"/>
                  </a:cubicBezTo>
                  <a:cubicBezTo>
                    <a:pt x="2698" y="2177"/>
                    <a:pt x="2948" y="-2008"/>
                    <a:pt x="6446" y="1177"/>
                  </a:cubicBezTo>
                  <a:cubicBezTo>
                    <a:pt x="6695" y="1802"/>
                    <a:pt x="6945" y="2427"/>
                    <a:pt x="7195" y="3114"/>
                  </a:cubicBezTo>
                  <a:cubicBezTo>
                    <a:pt x="7382" y="3239"/>
                    <a:pt x="7570" y="3426"/>
                    <a:pt x="7695" y="3551"/>
                  </a:cubicBezTo>
                  <a:cubicBezTo>
                    <a:pt x="7757" y="4988"/>
                    <a:pt x="6695" y="5862"/>
                    <a:pt x="5571" y="6736"/>
                  </a:cubicBezTo>
                  <a:cubicBezTo>
                    <a:pt x="4010" y="7236"/>
                    <a:pt x="3323" y="9422"/>
                    <a:pt x="1074" y="8923"/>
                  </a:cubicBezTo>
                  <a:close/>
                </a:path>
              </a:pathLst>
            </a:custGeom>
            <a:grpFill/>
            <a:ln w="6246" cap="flat">
              <a:noFill/>
              <a:prstDash val="solid"/>
              <a:miter/>
            </a:ln>
          </p:spPr>
          <p:txBody>
            <a:bodyPr rtlCol="0" anchor="ctr"/>
            <a:lstStyle/>
            <a:p>
              <a:endParaRPr lang="fr-FR" sz="2400"/>
            </a:p>
          </p:txBody>
        </p:sp>
        <p:sp>
          <p:nvSpPr>
            <p:cNvPr id="135" name="Freeform: Shape 134">
              <a:extLst>
                <a:ext uri="{FF2B5EF4-FFF2-40B4-BE49-F238E27FC236}">
                  <a16:creationId xmlns:a16="http://schemas.microsoft.com/office/drawing/2014/main" id="{1E06FC0F-360A-4361-9876-A6C3EA547380}"/>
                </a:ext>
              </a:extLst>
            </p:cNvPr>
            <p:cNvSpPr/>
            <p:nvPr/>
          </p:nvSpPr>
          <p:spPr>
            <a:xfrm>
              <a:off x="1147351" y="439097"/>
              <a:ext cx="6246" cy="6246"/>
            </a:xfrm>
            <a:custGeom>
              <a:avLst/>
              <a:gdLst>
                <a:gd name="connsiteX0" fmla="*/ 3267 w 0"/>
                <a:gd name="connsiteY0" fmla="*/ 5372 h 6246"/>
                <a:gd name="connsiteX1" fmla="*/ 2205 w 0"/>
                <a:gd name="connsiteY1" fmla="*/ 9244 h 6246"/>
                <a:gd name="connsiteX2" fmla="*/ 1081 w 0"/>
                <a:gd name="connsiteY2" fmla="*/ 9244 h 6246"/>
                <a:gd name="connsiteX3" fmla="*/ 4141 w 0"/>
                <a:gd name="connsiteY3" fmla="*/ 0 h 6246"/>
                <a:gd name="connsiteX4" fmla="*/ 2455 w 0"/>
                <a:gd name="connsiteY4" fmla="*/ 3498 h 6246"/>
                <a:gd name="connsiteX5" fmla="*/ 3267 w 0"/>
                <a:gd name="connsiteY5" fmla="*/ 53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3267" y="5372"/>
                  </a:moveTo>
                  <a:cubicBezTo>
                    <a:pt x="6640" y="7495"/>
                    <a:pt x="2642" y="7995"/>
                    <a:pt x="2205" y="9244"/>
                  </a:cubicBezTo>
                  <a:cubicBezTo>
                    <a:pt x="1830" y="9244"/>
                    <a:pt x="1455" y="9244"/>
                    <a:pt x="1081" y="9244"/>
                  </a:cubicBezTo>
                  <a:cubicBezTo>
                    <a:pt x="-1043" y="5497"/>
                    <a:pt x="-44" y="2498"/>
                    <a:pt x="4141" y="0"/>
                  </a:cubicBezTo>
                  <a:cubicBezTo>
                    <a:pt x="4891" y="1811"/>
                    <a:pt x="3017" y="2498"/>
                    <a:pt x="2455" y="3498"/>
                  </a:cubicBezTo>
                  <a:cubicBezTo>
                    <a:pt x="1893" y="4560"/>
                    <a:pt x="1518" y="5247"/>
                    <a:pt x="3267" y="5372"/>
                  </a:cubicBezTo>
                  <a:close/>
                </a:path>
              </a:pathLst>
            </a:custGeom>
            <a:grpFill/>
            <a:ln w="6246" cap="flat">
              <a:noFill/>
              <a:prstDash val="solid"/>
              <a:miter/>
            </a:ln>
          </p:spPr>
          <p:txBody>
            <a:bodyPr rtlCol="0" anchor="ctr"/>
            <a:lstStyle/>
            <a:p>
              <a:endParaRPr lang="fr-FR" sz="2400"/>
            </a:p>
          </p:txBody>
        </p:sp>
        <p:sp>
          <p:nvSpPr>
            <p:cNvPr id="136" name="Freeform: Shape 135">
              <a:extLst>
                <a:ext uri="{FF2B5EF4-FFF2-40B4-BE49-F238E27FC236}">
                  <a16:creationId xmlns:a16="http://schemas.microsoft.com/office/drawing/2014/main" id="{40ADED31-73A5-4B18-9494-985BE9FA8A63}"/>
                </a:ext>
              </a:extLst>
            </p:cNvPr>
            <p:cNvSpPr/>
            <p:nvPr/>
          </p:nvSpPr>
          <p:spPr>
            <a:xfrm>
              <a:off x="1128132" y="455087"/>
              <a:ext cx="6246" cy="6246"/>
            </a:xfrm>
            <a:custGeom>
              <a:avLst/>
              <a:gdLst>
                <a:gd name="connsiteX0" fmla="*/ 4310 w 0"/>
                <a:gd name="connsiteY0" fmla="*/ 0 h 0"/>
                <a:gd name="connsiteX1" fmla="*/ 0 w 0"/>
                <a:gd name="connsiteY1" fmla="*/ 4809 h 0"/>
                <a:gd name="connsiteX2" fmla="*/ 4310 w 0"/>
                <a:gd name="connsiteY2" fmla="*/ 0 h 0"/>
              </a:gdLst>
              <a:ahLst/>
              <a:cxnLst>
                <a:cxn ang="0">
                  <a:pos x="connsiteX0" y="connsiteY0"/>
                </a:cxn>
                <a:cxn ang="0">
                  <a:pos x="connsiteX1" y="connsiteY1"/>
                </a:cxn>
                <a:cxn ang="0">
                  <a:pos x="connsiteX2" y="connsiteY2"/>
                </a:cxn>
              </a:cxnLst>
              <a:rect l="l" t="t" r="r" b="b"/>
              <a:pathLst>
                <a:path>
                  <a:moveTo>
                    <a:pt x="4310" y="0"/>
                  </a:moveTo>
                  <a:cubicBezTo>
                    <a:pt x="3748" y="2249"/>
                    <a:pt x="3248" y="4497"/>
                    <a:pt x="0" y="4809"/>
                  </a:cubicBezTo>
                  <a:cubicBezTo>
                    <a:pt x="1374" y="3186"/>
                    <a:pt x="1249" y="437"/>
                    <a:pt x="4310" y="0"/>
                  </a:cubicBezTo>
                  <a:close/>
                </a:path>
              </a:pathLst>
            </a:custGeom>
            <a:grpFill/>
            <a:ln w="6246" cap="flat">
              <a:noFill/>
              <a:prstDash val="solid"/>
              <a:miter/>
            </a:ln>
          </p:spPr>
          <p:txBody>
            <a:bodyPr rtlCol="0" anchor="ctr"/>
            <a:lstStyle/>
            <a:p>
              <a:endParaRPr lang="fr-FR" sz="2400"/>
            </a:p>
          </p:txBody>
        </p:sp>
        <p:sp>
          <p:nvSpPr>
            <p:cNvPr id="137" name="Freeform: Shape 136">
              <a:extLst>
                <a:ext uri="{FF2B5EF4-FFF2-40B4-BE49-F238E27FC236}">
                  <a16:creationId xmlns:a16="http://schemas.microsoft.com/office/drawing/2014/main" id="{273F5951-D334-4506-BA2A-4D601BA71C88}"/>
                </a:ext>
              </a:extLst>
            </p:cNvPr>
            <p:cNvSpPr/>
            <p:nvPr/>
          </p:nvSpPr>
          <p:spPr>
            <a:xfrm>
              <a:off x="1125550" y="459959"/>
              <a:ext cx="6246" cy="6246"/>
            </a:xfrm>
            <a:custGeom>
              <a:avLst/>
              <a:gdLst>
                <a:gd name="connsiteX0" fmla="*/ 458 w 0"/>
                <a:gd name="connsiteY0" fmla="*/ 4809 h 0"/>
                <a:gd name="connsiteX1" fmla="*/ 458 w 0"/>
                <a:gd name="connsiteY1" fmla="*/ 937 h 0"/>
                <a:gd name="connsiteX2" fmla="*/ 2582 w 0"/>
                <a:gd name="connsiteY2" fmla="*/ 0 h 0"/>
                <a:gd name="connsiteX3" fmla="*/ 458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458" y="4809"/>
                  </a:moveTo>
                  <a:cubicBezTo>
                    <a:pt x="396" y="3498"/>
                    <a:pt x="-541" y="2249"/>
                    <a:pt x="458" y="937"/>
                  </a:cubicBezTo>
                  <a:cubicBezTo>
                    <a:pt x="1145" y="625"/>
                    <a:pt x="1895" y="312"/>
                    <a:pt x="2582" y="0"/>
                  </a:cubicBezTo>
                  <a:cubicBezTo>
                    <a:pt x="2145" y="1686"/>
                    <a:pt x="1895" y="3435"/>
                    <a:pt x="458" y="4809"/>
                  </a:cubicBezTo>
                  <a:close/>
                </a:path>
              </a:pathLst>
            </a:custGeom>
            <a:grpFill/>
            <a:ln w="6246" cap="flat">
              <a:noFill/>
              <a:prstDash val="solid"/>
              <a:miter/>
            </a:ln>
          </p:spPr>
          <p:txBody>
            <a:bodyPr rtlCol="0" anchor="ctr"/>
            <a:lstStyle/>
            <a:p>
              <a:endParaRPr lang="fr-FR" sz="2400"/>
            </a:p>
          </p:txBody>
        </p:sp>
        <p:sp>
          <p:nvSpPr>
            <p:cNvPr id="138" name="Freeform: Shape 137">
              <a:extLst>
                <a:ext uri="{FF2B5EF4-FFF2-40B4-BE49-F238E27FC236}">
                  <a16:creationId xmlns:a16="http://schemas.microsoft.com/office/drawing/2014/main" id="{952F978D-60AC-4188-B369-1550E26ED982}"/>
                </a:ext>
              </a:extLst>
            </p:cNvPr>
            <p:cNvSpPr/>
            <p:nvPr/>
          </p:nvSpPr>
          <p:spPr>
            <a:xfrm>
              <a:off x="1126008" y="453143"/>
              <a:ext cx="6246" cy="6246"/>
            </a:xfrm>
            <a:custGeom>
              <a:avLst/>
              <a:gdLst>
                <a:gd name="connsiteX0" fmla="*/ 0 w 0"/>
                <a:gd name="connsiteY0" fmla="*/ 3880 h 0"/>
                <a:gd name="connsiteX1" fmla="*/ 0 w 0"/>
                <a:gd name="connsiteY1" fmla="*/ 1944 h 0"/>
                <a:gd name="connsiteX2" fmla="*/ 3185 w 0"/>
                <a:gd name="connsiteY2" fmla="*/ 8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6"/>
                    <a:pt x="0" y="2569"/>
                    <a:pt x="0" y="1944"/>
                  </a:cubicBezTo>
                  <a:cubicBezTo>
                    <a:pt x="1062" y="1319"/>
                    <a:pt x="1562" y="-117"/>
                    <a:pt x="3185" y="8"/>
                  </a:cubicBezTo>
                  <a:cubicBezTo>
                    <a:pt x="2311" y="1444"/>
                    <a:pt x="1874" y="3131"/>
                    <a:pt x="0" y="3880"/>
                  </a:cubicBezTo>
                  <a:close/>
                </a:path>
              </a:pathLst>
            </a:custGeom>
            <a:grpFill/>
            <a:ln w="6246" cap="flat">
              <a:noFill/>
              <a:prstDash val="solid"/>
              <a:miter/>
            </a:ln>
          </p:spPr>
          <p:txBody>
            <a:bodyPr rtlCol="0" anchor="ctr"/>
            <a:lstStyle/>
            <a:p>
              <a:endParaRPr lang="fr-FR" sz="2400"/>
            </a:p>
          </p:txBody>
        </p:sp>
        <p:sp>
          <p:nvSpPr>
            <p:cNvPr id="139" name="Freeform: Shape 138">
              <a:extLst>
                <a:ext uri="{FF2B5EF4-FFF2-40B4-BE49-F238E27FC236}">
                  <a16:creationId xmlns:a16="http://schemas.microsoft.com/office/drawing/2014/main" id="{87F7EBDC-41DF-4FAC-9A94-6CD8406CB89A}"/>
                </a:ext>
              </a:extLst>
            </p:cNvPr>
            <p:cNvSpPr/>
            <p:nvPr/>
          </p:nvSpPr>
          <p:spPr>
            <a:xfrm>
              <a:off x="1153926" y="437609"/>
              <a:ext cx="6246" cy="6246"/>
            </a:xfrm>
            <a:custGeom>
              <a:avLst/>
              <a:gdLst>
                <a:gd name="connsiteX0" fmla="*/ 3125 w 0"/>
                <a:gd name="connsiteY0" fmla="*/ 114 h 0"/>
                <a:gd name="connsiteX1" fmla="*/ 2063 w 0"/>
                <a:gd name="connsiteY1" fmla="*/ 2051 h 0"/>
                <a:gd name="connsiteX2" fmla="*/ 2 w 0"/>
                <a:gd name="connsiteY2" fmla="*/ 801 h 0"/>
                <a:gd name="connsiteX3" fmla="*/ 3125 w 0"/>
                <a:gd name="connsiteY3" fmla="*/ 114 h 0"/>
              </a:gdLst>
              <a:ahLst/>
              <a:cxnLst>
                <a:cxn ang="0">
                  <a:pos x="connsiteX0" y="connsiteY0"/>
                </a:cxn>
                <a:cxn ang="0">
                  <a:pos x="connsiteX1" y="connsiteY1"/>
                </a:cxn>
                <a:cxn ang="0">
                  <a:pos x="connsiteX2" y="connsiteY2"/>
                </a:cxn>
                <a:cxn ang="0">
                  <a:pos x="connsiteX3" y="connsiteY3"/>
                </a:cxn>
              </a:cxnLst>
              <a:rect l="l" t="t" r="r" b="b"/>
              <a:pathLst>
                <a:path>
                  <a:moveTo>
                    <a:pt x="3125" y="114"/>
                  </a:moveTo>
                  <a:cubicBezTo>
                    <a:pt x="2750" y="739"/>
                    <a:pt x="2438" y="1426"/>
                    <a:pt x="2063" y="2051"/>
                  </a:cubicBezTo>
                  <a:cubicBezTo>
                    <a:pt x="1376" y="1613"/>
                    <a:pt x="-60" y="926"/>
                    <a:pt x="2" y="801"/>
                  </a:cubicBezTo>
                  <a:cubicBezTo>
                    <a:pt x="564" y="-698"/>
                    <a:pt x="2063" y="427"/>
                    <a:pt x="3125" y="114"/>
                  </a:cubicBezTo>
                  <a:close/>
                </a:path>
              </a:pathLst>
            </a:custGeom>
            <a:grpFill/>
            <a:ln w="6246" cap="flat">
              <a:noFill/>
              <a:prstDash val="solid"/>
              <a:miter/>
            </a:ln>
          </p:spPr>
          <p:txBody>
            <a:bodyPr rtlCol="0" anchor="ctr"/>
            <a:lstStyle/>
            <a:p>
              <a:endParaRPr lang="fr-FR" sz="2400"/>
            </a:p>
          </p:txBody>
        </p:sp>
        <p:sp>
          <p:nvSpPr>
            <p:cNvPr id="140" name="Freeform: Shape 139">
              <a:extLst>
                <a:ext uri="{FF2B5EF4-FFF2-40B4-BE49-F238E27FC236}">
                  <a16:creationId xmlns:a16="http://schemas.microsoft.com/office/drawing/2014/main" id="{54FD1A89-A984-4535-A188-AA81DFD03E56}"/>
                </a:ext>
              </a:extLst>
            </p:cNvPr>
            <p:cNvSpPr/>
            <p:nvPr/>
          </p:nvSpPr>
          <p:spPr>
            <a:xfrm>
              <a:off x="1136682" y="438660"/>
              <a:ext cx="6246" cy="6246"/>
            </a:xfrm>
            <a:custGeom>
              <a:avLst/>
              <a:gdLst>
                <a:gd name="connsiteX0" fmla="*/ 7 w 0"/>
                <a:gd name="connsiteY0" fmla="*/ 3873 h 0"/>
                <a:gd name="connsiteX1" fmla="*/ 7 w 0"/>
                <a:gd name="connsiteY1" fmla="*/ 1936 h 0"/>
                <a:gd name="connsiteX2" fmla="*/ 1069 w 0"/>
                <a:gd name="connsiteY2" fmla="*/ 0 h 0"/>
                <a:gd name="connsiteX3" fmla="*/ 2130 w 0"/>
                <a:gd name="connsiteY3" fmla="*/ 2873 h 0"/>
                <a:gd name="connsiteX4" fmla="*/ 7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3873"/>
                  </a:moveTo>
                  <a:cubicBezTo>
                    <a:pt x="7" y="3248"/>
                    <a:pt x="7" y="2561"/>
                    <a:pt x="7" y="1936"/>
                  </a:cubicBezTo>
                  <a:cubicBezTo>
                    <a:pt x="-56" y="1124"/>
                    <a:pt x="319" y="500"/>
                    <a:pt x="1069" y="0"/>
                  </a:cubicBezTo>
                  <a:cubicBezTo>
                    <a:pt x="2255" y="687"/>
                    <a:pt x="2130" y="1811"/>
                    <a:pt x="2130" y="2873"/>
                  </a:cubicBezTo>
                  <a:cubicBezTo>
                    <a:pt x="1443" y="3248"/>
                    <a:pt x="756" y="3560"/>
                    <a:pt x="7" y="3873"/>
                  </a:cubicBezTo>
                  <a:close/>
                </a:path>
              </a:pathLst>
            </a:custGeom>
            <a:grpFill/>
            <a:ln w="6246" cap="flat">
              <a:noFill/>
              <a:prstDash val="solid"/>
              <a:miter/>
            </a:ln>
          </p:spPr>
          <p:txBody>
            <a:bodyPr rtlCol="0" anchor="ctr"/>
            <a:lstStyle/>
            <a:p>
              <a:endParaRPr lang="fr-FR" sz="2400"/>
            </a:p>
          </p:txBody>
        </p:sp>
        <p:sp>
          <p:nvSpPr>
            <p:cNvPr id="141" name="Freeform: Shape 140">
              <a:extLst>
                <a:ext uri="{FF2B5EF4-FFF2-40B4-BE49-F238E27FC236}">
                  <a16:creationId xmlns:a16="http://schemas.microsoft.com/office/drawing/2014/main" id="{5A441C4E-91B4-4735-8C07-964A9065042B}"/>
                </a:ext>
              </a:extLst>
            </p:cNvPr>
            <p:cNvSpPr/>
            <p:nvPr/>
          </p:nvSpPr>
          <p:spPr>
            <a:xfrm>
              <a:off x="1230817" y="400497"/>
              <a:ext cx="12492" cy="6246"/>
            </a:xfrm>
            <a:custGeom>
              <a:avLst/>
              <a:gdLst>
                <a:gd name="connsiteX0" fmla="*/ 16302 w 12492"/>
                <a:gd name="connsiteY0" fmla="*/ 1498 h 0"/>
                <a:gd name="connsiteX1" fmla="*/ 16052 w 12492"/>
                <a:gd name="connsiteY1" fmla="*/ 2186 h 0"/>
                <a:gd name="connsiteX2" fmla="*/ 2561 w 12492"/>
                <a:gd name="connsiteY2" fmla="*/ 5371 h 0"/>
                <a:gd name="connsiteX3" fmla="*/ 0 w 12492"/>
                <a:gd name="connsiteY3" fmla="*/ 3310 h 0"/>
                <a:gd name="connsiteX4" fmla="*/ 8620 w 12492"/>
                <a:gd name="connsiteY4" fmla="*/ 437 h 0"/>
                <a:gd name="connsiteX5" fmla="*/ 16302 w 12492"/>
                <a:gd name="connsiteY5" fmla="*/ 14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6302" y="1498"/>
                  </a:moveTo>
                  <a:cubicBezTo>
                    <a:pt x="16177" y="1748"/>
                    <a:pt x="16115" y="1998"/>
                    <a:pt x="16052" y="2186"/>
                  </a:cubicBezTo>
                  <a:cubicBezTo>
                    <a:pt x="11743" y="3872"/>
                    <a:pt x="7495" y="5808"/>
                    <a:pt x="2561" y="5371"/>
                  </a:cubicBezTo>
                  <a:cubicBezTo>
                    <a:pt x="1312" y="5059"/>
                    <a:pt x="375" y="4497"/>
                    <a:pt x="0" y="3310"/>
                  </a:cubicBezTo>
                  <a:cubicBezTo>
                    <a:pt x="2311" y="1061"/>
                    <a:pt x="5809" y="1498"/>
                    <a:pt x="8620" y="437"/>
                  </a:cubicBezTo>
                  <a:cubicBezTo>
                    <a:pt x="11243" y="-1"/>
                    <a:pt x="13991" y="-625"/>
                    <a:pt x="16302" y="1498"/>
                  </a:cubicBezTo>
                  <a:close/>
                </a:path>
              </a:pathLst>
            </a:custGeom>
            <a:grpFill/>
            <a:ln w="6246" cap="flat">
              <a:noFill/>
              <a:prstDash val="solid"/>
              <a:miter/>
            </a:ln>
          </p:spPr>
          <p:txBody>
            <a:bodyPr rtlCol="0" anchor="ctr"/>
            <a:lstStyle/>
            <a:p>
              <a:endParaRPr lang="fr-FR" sz="2400"/>
            </a:p>
          </p:txBody>
        </p:sp>
        <p:sp>
          <p:nvSpPr>
            <p:cNvPr id="142" name="Freeform: Shape 141">
              <a:extLst>
                <a:ext uri="{FF2B5EF4-FFF2-40B4-BE49-F238E27FC236}">
                  <a16:creationId xmlns:a16="http://schemas.microsoft.com/office/drawing/2014/main" id="{1D1D65A7-ECE0-4E28-8BB1-70541739907A}"/>
                </a:ext>
              </a:extLst>
            </p:cNvPr>
            <p:cNvSpPr/>
            <p:nvPr/>
          </p:nvSpPr>
          <p:spPr>
            <a:xfrm>
              <a:off x="1239437" y="397998"/>
              <a:ext cx="12492" cy="6246"/>
            </a:xfrm>
            <a:custGeom>
              <a:avLst/>
              <a:gdLst>
                <a:gd name="connsiteX0" fmla="*/ 7683 w 12492"/>
                <a:gd name="connsiteY0" fmla="*/ 3997 h 0"/>
                <a:gd name="connsiteX1" fmla="*/ 0 w 12492"/>
                <a:gd name="connsiteY1" fmla="*/ 2936 h 0"/>
                <a:gd name="connsiteX2" fmla="*/ 17114 w 12492"/>
                <a:gd name="connsiteY2" fmla="*/ 0 h 0"/>
                <a:gd name="connsiteX3" fmla="*/ 17114 w 12492"/>
                <a:gd name="connsiteY3" fmla="*/ 125 h 0"/>
                <a:gd name="connsiteX4" fmla="*/ 13929 w 12492"/>
                <a:gd name="connsiteY4" fmla="*/ 2936 h 0"/>
                <a:gd name="connsiteX5" fmla="*/ 7683 w 12492"/>
                <a:gd name="connsiteY5" fmla="*/ 399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7683" y="3997"/>
                  </a:moveTo>
                  <a:cubicBezTo>
                    <a:pt x="5122" y="3623"/>
                    <a:pt x="2561" y="3310"/>
                    <a:pt x="0" y="2936"/>
                  </a:cubicBezTo>
                  <a:cubicBezTo>
                    <a:pt x="5684" y="1686"/>
                    <a:pt x="11305" y="437"/>
                    <a:pt x="17114" y="0"/>
                  </a:cubicBezTo>
                  <a:cubicBezTo>
                    <a:pt x="17114" y="0"/>
                    <a:pt x="17114" y="125"/>
                    <a:pt x="17114" y="125"/>
                  </a:cubicBezTo>
                  <a:cubicBezTo>
                    <a:pt x="17551" y="2436"/>
                    <a:pt x="14803" y="1811"/>
                    <a:pt x="13929" y="2936"/>
                  </a:cubicBezTo>
                  <a:cubicBezTo>
                    <a:pt x="11930" y="3810"/>
                    <a:pt x="9869" y="4185"/>
                    <a:pt x="7683" y="3997"/>
                  </a:cubicBezTo>
                  <a:close/>
                </a:path>
              </a:pathLst>
            </a:custGeom>
            <a:grpFill/>
            <a:ln w="6246" cap="flat">
              <a:noFill/>
              <a:prstDash val="solid"/>
              <a:miter/>
            </a:ln>
          </p:spPr>
          <p:txBody>
            <a:bodyPr rtlCol="0" anchor="ctr"/>
            <a:lstStyle/>
            <a:p>
              <a:endParaRPr lang="fr-FR" sz="2400"/>
            </a:p>
          </p:txBody>
        </p:sp>
        <p:sp>
          <p:nvSpPr>
            <p:cNvPr id="143" name="Freeform: Shape 142">
              <a:extLst>
                <a:ext uri="{FF2B5EF4-FFF2-40B4-BE49-F238E27FC236}">
                  <a16:creationId xmlns:a16="http://schemas.microsoft.com/office/drawing/2014/main" id="{38E6A0E8-3DF5-440E-8B77-F789DA288154}"/>
                </a:ext>
              </a:extLst>
            </p:cNvPr>
            <p:cNvSpPr/>
            <p:nvPr/>
          </p:nvSpPr>
          <p:spPr>
            <a:xfrm>
              <a:off x="1225383" y="403807"/>
              <a:ext cx="6246" cy="6246"/>
            </a:xfrm>
            <a:custGeom>
              <a:avLst/>
              <a:gdLst>
                <a:gd name="connsiteX0" fmla="*/ 5372 w 6246"/>
                <a:gd name="connsiteY0" fmla="*/ 0 h 0"/>
                <a:gd name="connsiteX1" fmla="*/ 7870 w 6246"/>
                <a:gd name="connsiteY1" fmla="*/ 1187 h 0"/>
                <a:gd name="connsiteX2" fmla="*/ 5184 w 6246"/>
                <a:gd name="connsiteY2" fmla="*/ 3186 h 0"/>
                <a:gd name="connsiteX3" fmla="*/ 0 w 6246"/>
                <a:gd name="connsiteY3" fmla="*/ 1936 h 0"/>
                <a:gd name="connsiteX4" fmla="*/ 2124 w 6246"/>
                <a:gd name="connsiteY4" fmla="*/ 0 h 0"/>
                <a:gd name="connsiteX5" fmla="*/ 5372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5372" y="0"/>
                  </a:moveTo>
                  <a:cubicBezTo>
                    <a:pt x="6184" y="375"/>
                    <a:pt x="7058" y="812"/>
                    <a:pt x="7870" y="1187"/>
                  </a:cubicBezTo>
                  <a:cubicBezTo>
                    <a:pt x="7620" y="2561"/>
                    <a:pt x="6433" y="2936"/>
                    <a:pt x="5184" y="3186"/>
                  </a:cubicBezTo>
                  <a:cubicBezTo>
                    <a:pt x="3310" y="3248"/>
                    <a:pt x="1374" y="3498"/>
                    <a:pt x="0" y="1936"/>
                  </a:cubicBezTo>
                  <a:cubicBezTo>
                    <a:pt x="687" y="1312"/>
                    <a:pt x="1437" y="687"/>
                    <a:pt x="2124" y="0"/>
                  </a:cubicBezTo>
                  <a:cubicBezTo>
                    <a:pt x="3248" y="0"/>
                    <a:pt x="4310" y="0"/>
                    <a:pt x="5372" y="0"/>
                  </a:cubicBezTo>
                  <a:close/>
                </a:path>
              </a:pathLst>
            </a:custGeom>
            <a:grpFill/>
            <a:ln w="6246" cap="flat">
              <a:noFill/>
              <a:prstDash val="solid"/>
              <a:miter/>
            </a:ln>
          </p:spPr>
          <p:txBody>
            <a:bodyPr rtlCol="0" anchor="ctr"/>
            <a:lstStyle/>
            <a:p>
              <a:endParaRPr lang="fr-FR" sz="2400"/>
            </a:p>
          </p:txBody>
        </p:sp>
        <p:sp>
          <p:nvSpPr>
            <p:cNvPr id="144" name="Freeform: Shape 143">
              <a:extLst>
                <a:ext uri="{FF2B5EF4-FFF2-40B4-BE49-F238E27FC236}">
                  <a16:creationId xmlns:a16="http://schemas.microsoft.com/office/drawing/2014/main" id="{6C9C5D4A-1FF5-456D-BEFD-CD1F4F572859}"/>
                </a:ext>
              </a:extLst>
            </p:cNvPr>
            <p:cNvSpPr/>
            <p:nvPr/>
          </p:nvSpPr>
          <p:spPr>
            <a:xfrm>
              <a:off x="1171979" y="412552"/>
              <a:ext cx="6246" cy="6246"/>
            </a:xfrm>
            <a:custGeom>
              <a:avLst/>
              <a:gdLst>
                <a:gd name="connsiteX0" fmla="*/ 0 w 0"/>
                <a:gd name="connsiteY0" fmla="*/ 4809 h 0"/>
                <a:gd name="connsiteX1" fmla="*/ 2124 w 0"/>
                <a:gd name="connsiteY1" fmla="*/ 0 h 0"/>
                <a:gd name="connsiteX2" fmla="*/ 5309 w 0"/>
                <a:gd name="connsiteY2" fmla="*/ 2873 h 0"/>
                <a:gd name="connsiteX3" fmla="*/ 1062 w 0"/>
                <a:gd name="connsiteY3" fmla="*/ 5809 h 0"/>
                <a:gd name="connsiteX4" fmla="*/ 0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809"/>
                  </a:moveTo>
                  <a:cubicBezTo>
                    <a:pt x="687" y="3185"/>
                    <a:pt x="1437" y="1562"/>
                    <a:pt x="2124" y="0"/>
                  </a:cubicBezTo>
                  <a:cubicBezTo>
                    <a:pt x="2748" y="1374"/>
                    <a:pt x="5309" y="999"/>
                    <a:pt x="5309" y="2873"/>
                  </a:cubicBezTo>
                  <a:cubicBezTo>
                    <a:pt x="3873" y="3873"/>
                    <a:pt x="3373" y="5934"/>
                    <a:pt x="1062" y="5809"/>
                  </a:cubicBezTo>
                  <a:cubicBezTo>
                    <a:pt x="749" y="5497"/>
                    <a:pt x="375" y="5184"/>
                    <a:pt x="0" y="4809"/>
                  </a:cubicBezTo>
                  <a:close/>
                </a:path>
              </a:pathLst>
            </a:custGeom>
            <a:grpFill/>
            <a:ln w="6246" cap="flat">
              <a:noFill/>
              <a:prstDash val="solid"/>
              <a:miter/>
            </a:ln>
          </p:spPr>
          <p:txBody>
            <a:bodyPr rtlCol="0" anchor="ctr"/>
            <a:lstStyle/>
            <a:p>
              <a:endParaRPr lang="fr-FR" sz="2400"/>
            </a:p>
          </p:txBody>
        </p:sp>
        <p:sp>
          <p:nvSpPr>
            <p:cNvPr id="145" name="Freeform: Shape 144">
              <a:extLst>
                <a:ext uri="{FF2B5EF4-FFF2-40B4-BE49-F238E27FC236}">
                  <a16:creationId xmlns:a16="http://schemas.microsoft.com/office/drawing/2014/main" id="{BF3AA687-A40C-4D28-BAB9-7F5103FC563C}"/>
                </a:ext>
              </a:extLst>
            </p:cNvPr>
            <p:cNvSpPr/>
            <p:nvPr/>
          </p:nvSpPr>
          <p:spPr>
            <a:xfrm>
              <a:off x="1343122" y="407742"/>
              <a:ext cx="6246" cy="6246"/>
            </a:xfrm>
            <a:custGeom>
              <a:avLst/>
              <a:gdLst>
                <a:gd name="connsiteX0" fmla="*/ 1124 w 0"/>
                <a:gd name="connsiteY0" fmla="*/ 2936 h 0"/>
                <a:gd name="connsiteX1" fmla="*/ 0 w 0"/>
                <a:gd name="connsiteY1" fmla="*/ 1999 h 0"/>
                <a:gd name="connsiteX2" fmla="*/ 2186 w 0"/>
                <a:gd name="connsiteY2" fmla="*/ 0 h 0"/>
                <a:gd name="connsiteX3" fmla="*/ 4247 w 0"/>
                <a:gd name="connsiteY3" fmla="*/ 1062 h 0"/>
                <a:gd name="connsiteX4" fmla="*/ 3185 w 0"/>
                <a:gd name="connsiteY4" fmla="*/ 2998 h 0"/>
                <a:gd name="connsiteX5" fmla="*/ 1124 w 0"/>
                <a:gd name="connsiteY5" fmla="*/ 293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2936"/>
                  </a:moveTo>
                  <a:cubicBezTo>
                    <a:pt x="749" y="2623"/>
                    <a:pt x="375" y="2311"/>
                    <a:pt x="0" y="1999"/>
                  </a:cubicBezTo>
                  <a:cubicBezTo>
                    <a:pt x="749" y="1312"/>
                    <a:pt x="1499" y="687"/>
                    <a:pt x="2186" y="0"/>
                  </a:cubicBezTo>
                  <a:cubicBezTo>
                    <a:pt x="2873" y="375"/>
                    <a:pt x="3560" y="687"/>
                    <a:pt x="4247" y="1062"/>
                  </a:cubicBezTo>
                  <a:cubicBezTo>
                    <a:pt x="3873" y="1686"/>
                    <a:pt x="3560" y="2374"/>
                    <a:pt x="3185" y="2998"/>
                  </a:cubicBezTo>
                  <a:cubicBezTo>
                    <a:pt x="2561" y="3498"/>
                    <a:pt x="1811" y="3435"/>
                    <a:pt x="1124" y="2936"/>
                  </a:cubicBezTo>
                  <a:close/>
                </a:path>
              </a:pathLst>
            </a:custGeom>
            <a:grpFill/>
            <a:ln w="6246" cap="flat">
              <a:noFill/>
              <a:prstDash val="solid"/>
              <a:miter/>
            </a:ln>
          </p:spPr>
          <p:txBody>
            <a:bodyPr rtlCol="0" anchor="ctr"/>
            <a:lstStyle/>
            <a:p>
              <a:endParaRPr lang="fr-FR" sz="2400"/>
            </a:p>
          </p:txBody>
        </p:sp>
        <p:sp>
          <p:nvSpPr>
            <p:cNvPr id="146" name="Freeform: Shape 145">
              <a:extLst>
                <a:ext uri="{FF2B5EF4-FFF2-40B4-BE49-F238E27FC236}">
                  <a16:creationId xmlns:a16="http://schemas.microsoft.com/office/drawing/2014/main" id="{5888DB90-AE5B-4153-B2B8-42DA05CB5DB8}"/>
                </a:ext>
              </a:extLst>
            </p:cNvPr>
            <p:cNvSpPr/>
            <p:nvPr/>
          </p:nvSpPr>
          <p:spPr>
            <a:xfrm>
              <a:off x="1365423" y="419172"/>
              <a:ext cx="6246" cy="6246"/>
            </a:xfrm>
            <a:custGeom>
              <a:avLst/>
              <a:gdLst>
                <a:gd name="connsiteX0" fmla="*/ 4494 w 0"/>
                <a:gd name="connsiteY0" fmla="*/ 6059 h 0"/>
                <a:gd name="connsiteX1" fmla="*/ 3619 w 0"/>
                <a:gd name="connsiteY1" fmla="*/ 5809 h 0"/>
                <a:gd name="connsiteX2" fmla="*/ 372 w 0"/>
                <a:gd name="connsiteY2" fmla="*/ 0 h 0"/>
                <a:gd name="connsiteX3" fmla="*/ 5681 w 0"/>
                <a:gd name="connsiteY3" fmla="*/ 2936 h 0"/>
                <a:gd name="connsiteX4" fmla="*/ 4494 w 0"/>
                <a:gd name="connsiteY4" fmla="*/ 605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4" y="6059"/>
                  </a:moveTo>
                  <a:cubicBezTo>
                    <a:pt x="4182" y="5996"/>
                    <a:pt x="3869" y="5934"/>
                    <a:pt x="3619" y="5809"/>
                  </a:cubicBezTo>
                  <a:cubicBezTo>
                    <a:pt x="2932" y="3685"/>
                    <a:pt x="-1252" y="3186"/>
                    <a:pt x="372" y="0"/>
                  </a:cubicBezTo>
                  <a:cubicBezTo>
                    <a:pt x="1808" y="1437"/>
                    <a:pt x="4869" y="562"/>
                    <a:pt x="5681" y="2936"/>
                  </a:cubicBezTo>
                  <a:cubicBezTo>
                    <a:pt x="5243" y="4060"/>
                    <a:pt x="4869" y="5059"/>
                    <a:pt x="4494" y="6059"/>
                  </a:cubicBezTo>
                  <a:close/>
                </a:path>
              </a:pathLst>
            </a:custGeom>
            <a:grpFill/>
            <a:ln w="6246" cap="flat">
              <a:noFill/>
              <a:prstDash val="solid"/>
              <a:miter/>
            </a:ln>
          </p:spPr>
          <p:txBody>
            <a:bodyPr rtlCol="0" anchor="ctr"/>
            <a:lstStyle/>
            <a:p>
              <a:endParaRPr lang="fr-FR" sz="2400"/>
            </a:p>
          </p:txBody>
        </p:sp>
        <p:sp>
          <p:nvSpPr>
            <p:cNvPr id="147" name="Freeform: Shape 146">
              <a:extLst>
                <a:ext uri="{FF2B5EF4-FFF2-40B4-BE49-F238E27FC236}">
                  <a16:creationId xmlns:a16="http://schemas.microsoft.com/office/drawing/2014/main" id="{DA68E055-F76D-4ACB-BAA8-4613ED4E6C8C}"/>
                </a:ext>
              </a:extLst>
            </p:cNvPr>
            <p:cNvSpPr/>
            <p:nvPr/>
          </p:nvSpPr>
          <p:spPr>
            <a:xfrm>
              <a:off x="1350742" y="412752"/>
              <a:ext cx="12492" cy="6246"/>
            </a:xfrm>
            <a:custGeom>
              <a:avLst/>
              <a:gdLst>
                <a:gd name="connsiteX0" fmla="*/ 8495 w 12492"/>
                <a:gd name="connsiteY0" fmla="*/ 5671 h 6246"/>
                <a:gd name="connsiteX1" fmla="*/ 0 w 12492"/>
                <a:gd name="connsiteY1" fmla="*/ 237 h 6246"/>
                <a:gd name="connsiteX2" fmla="*/ 3185 w 12492"/>
                <a:gd name="connsiteY2" fmla="*/ 799 h 6246"/>
                <a:gd name="connsiteX3" fmla="*/ 10618 w 12492"/>
                <a:gd name="connsiteY3" fmla="*/ 2736 h 6246"/>
                <a:gd name="connsiteX4" fmla="*/ 12617 w 12492"/>
                <a:gd name="connsiteY4" fmla="*/ 3797 h 6246"/>
                <a:gd name="connsiteX5" fmla="*/ 13929 w 12492"/>
                <a:gd name="connsiteY5" fmla="*/ 5609 h 6246"/>
                <a:gd name="connsiteX6" fmla="*/ 8495 w 12492"/>
                <a:gd name="connsiteY6" fmla="*/ 56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8495" y="5671"/>
                  </a:moveTo>
                  <a:cubicBezTo>
                    <a:pt x="4622" y="5172"/>
                    <a:pt x="2436" y="2548"/>
                    <a:pt x="0" y="237"/>
                  </a:cubicBezTo>
                  <a:cubicBezTo>
                    <a:pt x="1249" y="-450"/>
                    <a:pt x="2124" y="549"/>
                    <a:pt x="3185" y="799"/>
                  </a:cubicBezTo>
                  <a:cubicBezTo>
                    <a:pt x="5496" y="2049"/>
                    <a:pt x="7995" y="2486"/>
                    <a:pt x="10618" y="2736"/>
                  </a:cubicBezTo>
                  <a:cubicBezTo>
                    <a:pt x="11305" y="3110"/>
                    <a:pt x="11930" y="3423"/>
                    <a:pt x="12617" y="3797"/>
                  </a:cubicBezTo>
                  <a:cubicBezTo>
                    <a:pt x="13054" y="4422"/>
                    <a:pt x="13492" y="4984"/>
                    <a:pt x="13929" y="5609"/>
                  </a:cubicBezTo>
                  <a:cubicBezTo>
                    <a:pt x="12055" y="6983"/>
                    <a:pt x="10243" y="5984"/>
                    <a:pt x="8495" y="5671"/>
                  </a:cubicBezTo>
                  <a:close/>
                </a:path>
              </a:pathLst>
            </a:custGeom>
            <a:grpFill/>
            <a:ln w="6246" cap="flat">
              <a:noFill/>
              <a:prstDash val="solid"/>
              <a:miter/>
            </a:ln>
          </p:spPr>
          <p:txBody>
            <a:bodyPr rtlCol="0" anchor="ctr"/>
            <a:lstStyle/>
            <a:p>
              <a:endParaRPr lang="fr-FR" sz="2400"/>
            </a:p>
          </p:txBody>
        </p:sp>
        <p:sp>
          <p:nvSpPr>
            <p:cNvPr id="148" name="Freeform: Shape 147">
              <a:extLst>
                <a:ext uri="{FF2B5EF4-FFF2-40B4-BE49-F238E27FC236}">
                  <a16:creationId xmlns:a16="http://schemas.microsoft.com/office/drawing/2014/main" id="{51980A04-EF0F-450D-B669-7C989CB6EAB5}"/>
                </a:ext>
              </a:extLst>
            </p:cNvPr>
            <p:cNvSpPr/>
            <p:nvPr/>
          </p:nvSpPr>
          <p:spPr>
            <a:xfrm>
              <a:off x="1359236" y="417750"/>
              <a:ext cx="6246" cy="6246"/>
            </a:xfrm>
            <a:custGeom>
              <a:avLst/>
              <a:gdLst>
                <a:gd name="connsiteX0" fmla="*/ 0 w 6246"/>
                <a:gd name="connsiteY0" fmla="*/ 673 h 6246"/>
                <a:gd name="connsiteX1" fmla="*/ 5434 w 6246"/>
                <a:gd name="connsiteY1" fmla="*/ 611 h 6246"/>
                <a:gd name="connsiteX2" fmla="*/ 6558 w 6246"/>
                <a:gd name="connsiteY2" fmla="*/ 1485 h 6246"/>
                <a:gd name="connsiteX3" fmla="*/ 9806 w 6246"/>
                <a:gd name="connsiteY3" fmla="*/ 7294 h 6246"/>
                <a:gd name="connsiteX4" fmla="*/ 0 w 6246"/>
                <a:gd name="connsiteY4" fmla="*/ 6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673"/>
                  </a:moveTo>
                  <a:cubicBezTo>
                    <a:pt x="1811" y="-701"/>
                    <a:pt x="3623" y="423"/>
                    <a:pt x="5434" y="611"/>
                  </a:cubicBezTo>
                  <a:cubicBezTo>
                    <a:pt x="5809" y="923"/>
                    <a:pt x="6184" y="1173"/>
                    <a:pt x="6558" y="1485"/>
                  </a:cubicBezTo>
                  <a:cubicBezTo>
                    <a:pt x="6746" y="3796"/>
                    <a:pt x="9869" y="4796"/>
                    <a:pt x="9806" y="7294"/>
                  </a:cubicBezTo>
                  <a:cubicBezTo>
                    <a:pt x="6808" y="4733"/>
                    <a:pt x="2311" y="3921"/>
                    <a:pt x="0" y="673"/>
                  </a:cubicBezTo>
                  <a:close/>
                </a:path>
              </a:pathLst>
            </a:custGeom>
            <a:grpFill/>
            <a:ln w="6246" cap="flat">
              <a:noFill/>
              <a:prstDash val="solid"/>
              <a:miter/>
            </a:ln>
          </p:spPr>
          <p:txBody>
            <a:bodyPr rtlCol="0" anchor="ctr"/>
            <a:lstStyle/>
            <a:p>
              <a:endParaRPr lang="fr-FR" sz="2400"/>
            </a:p>
          </p:txBody>
        </p:sp>
        <p:sp>
          <p:nvSpPr>
            <p:cNvPr id="149" name="Freeform: Shape 148">
              <a:extLst>
                <a:ext uri="{FF2B5EF4-FFF2-40B4-BE49-F238E27FC236}">
                  <a16:creationId xmlns:a16="http://schemas.microsoft.com/office/drawing/2014/main" id="{F0EF8CFB-F9C0-4F08-BE0C-E57780A2A0CD}"/>
                </a:ext>
              </a:extLst>
            </p:cNvPr>
            <p:cNvSpPr/>
            <p:nvPr/>
          </p:nvSpPr>
          <p:spPr>
            <a:xfrm>
              <a:off x="1253303" y="398123"/>
              <a:ext cx="6246" cy="6246"/>
            </a:xfrm>
            <a:custGeom>
              <a:avLst/>
              <a:gdLst>
                <a:gd name="connsiteX0" fmla="*/ 0 w 0"/>
                <a:gd name="connsiteY0" fmla="*/ 2811 h 0"/>
                <a:gd name="connsiteX1" fmla="*/ 3185 w 0"/>
                <a:gd name="connsiteY1" fmla="*/ 0 h 0"/>
                <a:gd name="connsiteX2" fmla="*/ 5372 w 0"/>
                <a:gd name="connsiteY2" fmla="*/ 1936 h 0"/>
                <a:gd name="connsiteX3" fmla="*/ 0 w 0"/>
                <a:gd name="connsiteY3" fmla="*/ 2811 h 0"/>
              </a:gdLst>
              <a:ahLst/>
              <a:cxnLst>
                <a:cxn ang="0">
                  <a:pos x="connsiteX0" y="connsiteY0"/>
                </a:cxn>
                <a:cxn ang="0">
                  <a:pos x="connsiteX1" y="connsiteY1"/>
                </a:cxn>
                <a:cxn ang="0">
                  <a:pos x="connsiteX2" y="connsiteY2"/>
                </a:cxn>
                <a:cxn ang="0">
                  <a:pos x="connsiteX3" y="connsiteY3"/>
                </a:cxn>
              </a:cxnLst>
              <a:rect l="l" t="t" r="r" b="b"/>
              <a:pathLst>
                <a:path>
                  <a:moveTo>
                    <a:pt x="0" y="2811"/>
                  </a:moveTo>
                  <a:cubicBezTo>
                    <a:pt x="1062" y="1874"/>
                    <a:pt x="2124" y="937"/>
                    <a:pt x="3185" y="0"/>
                  </a:cubicBezTo>
                  <a:cubicBezTo>
                    <a:pt x="4685" y="0"/>
                    <a:pt x="5309" y="687"/>
                    <a:pt x="5372" y="1936"/>
                  </a:cubicBezTo>
                  <a:cubicBezTo>
                    <a:pt x="3748" y="2998"/>
                    <a:pt x="1811" y="2686"/>
                    <a:pt x="0" y="2811"/>
                  </a:cubicBezTo>
                  <a:close/>
                </a:path>
              </a:pathLst>
            </a:custGeom>
            <a:grpFill/>
            <a:ln w="6246" cap="flat">
              <a:noFill/>
              <a:prstDash val="solid"/>
              <a:miter/>
            </a:ln>
          </p:spPr>
          <p:txBody>
            <a:bodyPr rtlCol="0" anchor="ctr"/>
            <a:lstStyle/>
            <a:p>
              <a:endParaRPr lang="fr-FR" sz="2400"/>
            </a:p>
          </p:txBody>
        </p:sp>
        <p:sp>
          <p:nvSpPr>
            <p:cNvPr id="150" name="Freeform: Shape 149">
              <a:extLst>
                <a:ext uri="{FF2B5EF4-FFF2-40B4-BE49-F238E27FC236}">
                  <a16:creationId xmlns:a16="http://schemas.microsoft.com/office/drawing/2014/main" id="{3604A38E-9BBA-45E7-B223-B25438A3DB80}"/>
                </a:ext>
              </a:extLst>
            </p:cNvPr>
            <p:cNvSpPr/>
            <p:nvPr/>
          </p:nvSpPr>
          <p:spPr>
            <a:xfrm>
              <a:off x="1260798" y="398966"/>
              <a:ext cx="6246" cy="6246"/>
            </a:xfrm>
            <a:custGeom>
              <a:avLst/>
              <a:gdLst>
                <a:gd name="connsiteX0" fmla="*/ 6496 w 6246"/>
                <a:gd name="connsiteY0" fmla="*/ 94 h 0"/>
                <a:gd name="connsiteX1" fmla="*/ 0 w 6246"/>
                <a:gd name="connsiteY1" fmla="*/ 1031 h 0"/>
                <a:gd name="connsiteX2" fmla="*/ 6496 w 6246"/>
                <a:gd name="connsiteY2" fmla="*/ 94 h 0"/>
              </a:gdLst>
              <a:ahLst/>
              <a:cxnLst>
                <a:cxn ang="0">
                  <a:pos x="connsiteX0" y="connsiteY0"/>
                </a:cxn>
                <a:cxn ang="0">
                  <a:pos x="connsiteX1" y="connsiteY1"/>
                </a:cxn>
                <a:cxn ang="0">
                  <a:pos x="connsiteX2" y="connsiteY2"/>
                </a:cxn>
              </a:cxnLst>
              <a:rect l="l" t="t" r="r" b="b"/>
              <a:pathLst>
                <a:path w="6246">
                  <a:moveTo>
                    <a:pt x="6496" y="94"/>
                  </a:moveTo>
                  <a:cubicBezTo>
                    <a:pt x="4497" y="1218"/>
                    <a:pt x="2186" y="968"/>
                    <a:pt x="0" y="1031"/>
                  </a:cubicBezTo>
                  <a:cubicBezTo>
                    <a:pt x="1936" y="-656"/>
                    <a:pt x="4310" y="281"/>
                    <a:pt x="6496" y="94"/>
                  </a:cubicBezTo>
                  <a:close/>
                </a:path>
              </a:pathLst>
            </a:custGeom>
            <a:grpFill/>
            <a:ln w="6246" cap="flat">
              <a:noFill/>
              <a:prstDash val="solid"/>
              <a:miter/>
            </a:ln>
          </p:spPr>
          <p:txBody>
            <a:bodyPr rtlCol="0" anchor="ctr"/>
            <a:lstStyle/>
            <a:p>
              <a:endParaRPr lang="fr-FR" sz="2400"/>
            </a:p>
          </p:txBody>
        </p:sp>
        <p:sp>
          <p:nvSpPr>
            <p:cNvPr id="151" name="Freeform: Shape 150">
              <a:extLst>
                <a:ext uri="{FF2B5EF4-FFF2-40B4-BE49-F238E27FC236}">
                  <a16:creationId xmlns:a16="http://schemas.microsoft.com/office/drawing/2014/main" id="{1F40AF9F-2B87-4D29-B878-56D450D22BDE}"/>
                </a:ext>
              </a:extLst>
            </p:cNvPr>
            <p:cNvSpPr/>
            <p:nvPr/>
          </p:nvSpPr>
          <p:spPr>
            <a:xfrm>
              <a:off x="1344246" y="410678"/>
              <a:ext cx="6246" cy="6246"/>
            </a:xfrm>
            <a:custGeom>
              <a:avLst/>
              <a:gdLst>
                <a:gd name="connsiteX0" fmla="*/ 0 w 0"/>
                <a:gd name="connsiteY0" fmla="*/ 0 h 0"/>
                <a:gd name="connsiteX1" fmla="*/ 2124 w 0"/>
                <a:gd name="connsiteY1" fmla="*/ 62 h 0"/>
                <a:gd name="connsiteX2" fmla="*/ 5434 w 0"/>
                <a:gd name="connsiteY2" fmla="*/ 1936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687" y="0"/>
                    <a:pt x="1374" y="0"/>
                    <a:pt x="2124" y="62"/>
                  </a:cubicBezTo>
                  <a:cubicBezTo>
                    <a:pt x="3248" y="687"/>
                    <a:pt x="4310" y="1312"/>
                    <a:pt x="5434" y="1936"/>
                  </a:cubicBezTo>
                  <a:cubicBezTo>
                    <a:pt x="3373" y="1874"/>
                    <a:pt x="1187" y="2186"/>
                    <a:pt x="0" y="0"/>
                  </a:cubicBezTo>
                  <a:close/>
                </a:path>
              </a:pathLst>
            </a:custGeom>
            <a:grpFill/>
            <a:ln w="6246" cap="flat">
              <a:noFill/>
              <a:prstDash val="solid"/>
              <a:miter/>
            </a:ln>
          </p:spPr>
          <p:txBody>
            <a:bodyPr rtlCol="0" anchor="ctr"/>
            <a:lstStyle/>
            <a:p>
              <a:endParaRPr lang="fr-FR" sz="2400"/>
            </a:p>
          </p:txBody>
        </p:sp>
        <p:sp>
          <p:nvSpPr>
            <p:cNvPr id="152" name="Freeform: Shape 151">
              <a:extLst>
                <a:ext uri="{FF2B5EF4-FFF2-40B4-BE49-F238E27FC236}">
                  <a16:creationId xmlns:a16="http://schemas.microsoft.com/office/drawing/2014/main" id="{A9492FC1-D825-48D4-A541-7C96A6A81ADF}"/>
                </a:ext>
              </a:extLst>
            </p:cNvPr>
            <p:cNvSpPr/>
            <p:nvPr/>
          </p:nvSpPr>
          <p:spPr>
            <a:xfrm>
              <a:off x="1096479" y="505988"/>
              <a:ext cx="6246" cy="12492"/>
            </a:xfrm>
            <a:custGeom>
              <a:avLst/>
              <a:gdLst>
                <a:gd name="connsiteX0" fmla="*/ 610 w 6246"/>
                <a:gd name="connsiteY0" fmla="*/ 12872 h 12492"/>
                <a:gd name="connsiteX1" fmla="*/ 3858 w 6246"/>
                <a:gd name="connsiteY1" fmla="*/ 2691 h 12492"/>
                <a:gd name="connsiteX2" fmla="*/ 6856 w 6246"/>
                <a:gd name="connsiteY2" fmla="*/ 317 h 12492"/>
                <a:gd name="connsiteX3" fmla="*/ 7668 w 6246"/>
                <a:gd name="connsiteY3" fmla="*/ 1379 h 12492"/>
                <a:gd name="connsiteX4" fmla="*/ 7418 w 6246"/>
                <a:gd name="connsiteY4" fmla="*/ 4689 h 12492"/>
                <a:gd name="connsiteX5" fmla="*/ 5232 w 6246"/>
                <a:gd name="connsiteY5" fmla="*/ 10936 h 12492"/>
                <a:gd name="connsiteX6" fmla="*/ 4732 w 6246"/>
                <a:gd name="connsiteY6" fmla="*/ 12247 h 12492"/>
                <a:gd name="connsiteX7" fmla="*/ 3233 w 6246"/>
                <a:gd name="connsiteY7" fmla="*/ 14746 h 12492"/>
                <a:gd name="connsiteX8" fmla="*/ 797 w 6246"/>
                <a:gd name="connsiteY8" fmla="*/ 15745 h 12492"/>
                <a:gd name="connsiteX9" fmla="*/ 610 w 6246"/>
                <a:gd name="connsiteY9" fmla="*/ 1287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2492">
                  <a:moveTo>
                    <a:pt x="610" y="12872"/>
                  </a:moveTo>
                  <a:cubicBezTo>
                    <a:pt x="2546" y="9686"/>
                    <a:pt x="4045" y="6438"/>
                    <a:pt x="3858" y="2691"/>
                  </a:cubicBezTo>
                  <a:cubicBezTo>
                    <a:pt x="3795" y="1067"/>
                    <a:pt x="4108" y="-745"/>
                    <a:pt x="6856" y="317"/>
                  </a:cubicBezTo>
                  <a:cubicBezTo>
                    <a:pt x="7293" y="567"/>
                    <a:pt x="7543" y="942"/>
                    <a:pt x="7668" y="1379"/>
                  </a:cubicBezTo>
                  <a:cubicBezTo>
                    <a:pt x="7855" y="2503"/>
                    <a:pt x="7418" y="3565"/>
                    <a:pt x="7418" y="4689"/>
                  </a:cubicBezTo>
                  <a:cubicBezTo>
                    <a:pt x="7418" y="7000"/>
                    <a:pt x="6044" y="8874"/>
                    <a:pt x="5232" y="10936"/>
                  </a:cubicBezTo>
                  <a:cubicBezTo>
                    <a:pt x="5107" y="11373"/>
                    <a:pt x="4920" y="11810"/>
                    <a:pt x="4732" y="12247"/>
                  </a:cubicBezTo>
                  <a:cubicBezTo>
                    <a:pt x="4295" y="13122"/>
                    <a:pt x="3858" y="13996"/>
                    <a:pt x="3233" y="14746"/>
                  </a:cubicBezTo>
                  <a:cubicBezTo>
                    <a:pt x="2546" y="15370"/>
                    <a:pt x="1797" y="16432"/>
                    <a:pt x="797" y="15745"/>
                  </a:cubicBezTo>
                  <a:cubicBezTo>
                    <a:pt x="-390" y="14995"/>
                    <a:pt x="-77" y="13871"/>
                    <a:pt x="610" y="12872"/>
                  </a:cubicBezTo>
                  <a:close/>
                </a:path>
              </a:pathLst>
            </a:custGeom>
            <a:grpFill/>
            <a:ln w="6246" cap="flat">
              <a:noFill/>
              <a:prstDash val="solid"/>
              <a:miter/>
            </a:ln>
          </p:spPr>
          <p:txBody>
            <a:bodyPr rtlCol="0" anchor="ctr"/>
            <a:lstStyle/>
            <a:p>
              <a:endParaRPr lang="fr-FR" sz="2400"/>
            </a:p>
          </p:txBody>
        </p:sp>
        <p:sp>
          <p:nvSpPr>
            <p:cNvPr id="153" name="Freeform: Shape 152">
              <a:extLst>
                <a:ext uri="{FF2B5EF4-FFF2-40B4-BE49-F238E27FC236}">
                  <a16:creationId xmlns:a16="http://schemas.microsoft.com/office/drawing/2014/main" id="{6DD9DB08-7BF0-4397-B730-179AC78D4B79}"/>
                </a:ext>
              </a:extLst>
            </p:cNvPr>
            <p:cNvSpPr/>
            <p:nvPr/>
          </p:nvSpPr>
          <p:spPr>
            <a:xfrm>
              <a:off x="1106895" y="484694"/>
              <a:ext cx="6246" cy="6246"/>
            </a:xfrm>
            <a:custGeom>
              <a:avLst/>
              <a:gdLst>
                <a:gd name="connsiteX0" fmla="*/ 0 w 6246"/>
                <a:gd name="connsiteY0" fmla="*/ 11118 h 6246"/>
                <a:gd name="connsiteX1" fmla="*/ 999 w 6246"/>
                <a:gd name="connsiteY1" fmla="*/ 6309 h 6246"/>
                <a:gd name="connsiteX2" fmla="*/ 7370 w 6246"/>
                <a:gd name="connsiteY2" fmla="*/ 0 h 6246"/>
                <a:gd name="connsiteX3" fmla="*/ 8744 w 6246"/>
                <a:gd name="connsiteY3" fmla="*/ 437 h 6246"/>
                <a:gd name="connsiteX4" fmla="*/ 8744 w 6246"/>
                <a:gd name="connsiteY4" fmla="*/ 4497 h 6246"/>
                <a:gd name="connsiteX5" fmla="*/ 6059 w 6246"/>
                <a:gd name="connsiteY5" fmla="*/ 9432 h 6246"/>
                <a:gd name="connsiteX6" fmla="*/ 2124 w 6246"/>
                <a:gd name="connsiteY6" fmla="*/ 11555 h 6246"/>
                <a:gd name="connsiteX7" fmla="*/ 0 w 6246"/>
                <a:gd name="connsiteY7" fmla="*/ 111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118"/>
                  </a:moveTo>
                  <a:cubicBezTo>
                    <a:pt x="312" y="9494"/>
                    <a:pt x="625" y="7933"/>
                    <a:pt x="999" y="6309"/>
                  </a:cubicBezTo>
                  <a:cubicBezTo>
                    <a:pt x="4185" y="5059"/>
                    <a:pt x="3685" y="812"/>
                    <a:pt x="7370" y="0"/>
                  </a:cubicBezTo>
                  <a:cubicBezTo>
                    <a:pt x="7870" y="0"/>
                    <a:pt x="8370" y="125"/>
                    <a:pt x="8744" y="437"/>
                  </a:cubicBezTo>
                  <a:cubicBezTo>
                    <a:pt x="9619" y="1811"/>
                    <a:pt x="8994" y="3123"/>
                    <a:pt x="8744" y="4497"/>
                  </a:cubicBezTo>
                  <a:cubicBezTo>
                    <a:pt x="8307" y="6371"/>
                    <a:pt x="7433" y="7995"/>
                    <a:pt x="6059" y="9432"/>
                  </a:cubicBezTo>
                  <a:cubicBezTo>
                    <a:pt x="4934" y="10431"/>
                    <a:pt x="3685" y="11180"/>
                    <a:pt x="2124" y="11555"/>
                  </a:cubicBezTo>
                  <a:cubicBezTo>
                    <a:pt x="1312" y="11680"/>
                    <a:pt x="625" y="11618"/>
                    <a:pt x="0" y="11118"/>
                  </a:cubicBezTo>
                  <a:close/>
                </a:path>
              </a:pathLst>
            </a:custGeom>
            <a:grpFill/>
            <a:ln w="6246" cap="flat">
              <a:noFill/>
              <a:prstDash val="solid"/>
              <a:miter/>
            </a:ln>
          </p:spPr>
          <p:txBody>
            <a:bodyPr rtlCol="0" anchor="ctr"/>
            <a:lstStyle/>
            <a:p>
              <a:endParaRPr lang="fr-FR" sz="2400"/>
            </a:p>
          </p:txBody>
        </p:sp>
        <p:sp>
          <p:nvSpPr>
            <p:cNvPr id="154" name="Freeform: Shape 153">
              <a:extLst>
                <a:ext uri="{FF2B5EF4-FFF2-40B4-BE49-F238E27FC236}">
                  <a16:creationId xmlns:a16="http://schemas.microsoft.com/office/drawing/2014/main" id="{EBDECB3B-029E-4570-BAAF-65B9347D79A8}"/>
                </a:ext>
              </a:extLst>
            </p:cNvPr>
            <p:cNvSpPr/>
            <p:nvPr/>
          </p:nvSpPr>
          <p:spPr>
            <a:xfrm>
              <a:off x="1093779" y="518860"/>
              <a:ext cx="6246" cy="6246"/>
            </a:xfrm>
            <a:custGeom>
              <a:avLst/>
              <a:gdLst>
                <a:gd name="connsiteX0" fmla="*/ 3310 w 6246"/>
                <a:gd name="connsiteY0" fmla="*/ 0 h 6246"/>
                <a:gd name="connsiteX1" fmla="*/ 3810 w 6246"/>
                <a:gd name="connsiteY1" fmla="*/ 2061 h 6246"/>
                <a:gd name="connsiteX2" fmla="*/ 5434 w 6246"/>
                <a:gd name="connsiteY2" fmla="*/ 999 h 6246"/>
                <a:gd name="connsiteX3" fmla="*/ 7183 w 6246"/>
                <a:gd name="connsiteY3" fmla="*/ 2998 h 6246"/>
                <a:gd name="connsiteX4" fmla="*/ 5809 w 6246"/>
                <a:gd name="connsiteY4" fmla="*/ 7558 h 6246"/>
                <a:gd name="connsiteX5" fmla="*/ 1686 w 6246"/>
                <a:gd name="connsiteY5" fmla="*/ 10993 h 6246"/>
                <a:gd name="connsiteX6" fmla="*/ 999 w 6246"/>
                <a:gd name="connsiteY6" fmla="*/ 10618 h 6246"/>
                <a:gd name="connsiteX7" fmla="*/ 0 w 6246"/>
                <a:gd name="connsiteY7" fmla="*/ 8745 h 6246"/>
                <a:gd name="connsiteX8" fmla="*/ 1062 w 6246"/>
                <a:gd name="connsiteY8" fmla="*/ 7745 h 6246"/>
                <a:gd name="connsiteX9" fmla="*/ 3310 w 6246"/>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6246">
                  <a:moveTo>
                    <a:pt x="3310" y="0"/>
                  </a:moveTo>
                  <a:cubicBezTo>
                    <a:pt x="3498" y="687"/>
                    <a:pt x="3685" y="1374"/>
                    <a:pt x="3810" y="2061"/>
                  </a:cubicBezTo>
                  <a:cubicBezTo>
                    <a:pt x="4372" y="1686"/>
                    <a:pt x="4872" y="1374"/>
                    <a:pt x="5434" y="999"/>
                  </a:cubicBezTo>
                  <a:cubicBezTo>
                    <a:pt x="6558" y="1249"/>
                    <a:pt x="7058" y="1999"/>
                    <a:pt x="7183" y="2998"/>
                  </a:cubicBezTo>
                  <a:cubicBezTo>
                    <a:pt x="7245" y="4622"/>
                    <a:pt x="6184" y="5996"/>
                    <a:pt x="5809" y="7558"/>
                  </a:cubicBezTo>
                  <a:cubicBezTo>
                    <a:pt x="5247" y="9494"/>
                    <a:pt x="4247" y="11056"/>
                    <a:pt x="1686" y="10993"/>
                  </a:cubicBezTo>
                  <a:cubicBezTo>
                    <a:pt x="1437" y="10868"/>
                    <a:pt x="1249" y="10743"/>
                    <a:pt x="999" y="10618"/>
                  </a:cubicBezTo>
                  <a:cubicBezTo>
                    <a:pt x="687" y="9994"/>
                    <a:pt x="375" y="9369"/>
                    <a:pt x="0" y="8745"/>
                  </a:cubicBezTo>
                  <a:cubicBezTo>
                    <a:pt x="375" y="8432"/>
                    <a:pt x="687" y="8057"/>
                    <a:pt x="1062" y="7745"/>
                  </a:cubicBezTo>
                  <a:cubicBezTo>
                    <a:pt x="3810" y="5621"/>
                    <a:pt x="750" y="2186"/>
                    <a:pt x="3310" y="0"/>
                  </a:cubicBezTo>
                  <a:close/>
                </a:path>
              </a:pathLst>
            </a:custGeom>
            <a:grpFill/>
            <a:ln w="6246" cap="flat">
              <a:noFill/>
              <a:prstDash val="solid"/>
              <a:miter/>
            </a:ln>
          </p:spPr>
          <p:txBody>
            <a:bodyPr rtlCol="0" anchor="ctr"/>
            <a:lstStyle/>
            <a:p>
              <a:endParaRPr lang="fr-FR" sz="2400"/>
            </a:p>
          </p:txBody>
        </p:sp>
        <p:sp>
          <p:nvSpPr>
            <p:cNvPr id="155" name="Freeform: Shape 154">
              <a:extLst>
                <a:ext uri="{FF2B5EF4-FFF2-40B4-BE49-F238E27FC236}">
                  <a16:creationId xmlns:a16="http://schemas.microsoft.com/office/drawing/2014/main" id="{B000E5C7-CC94-47F8-B8B1-97F8F6BC3917}"/>
                </a:ext>
              </a:extLst>
            </p:cNvPr>
            <p:cNvSpPr/>
            <p:nvPr/>
          </p:nvSpPr>
          <p:spPr>
            <a:xfrm>
              <a:off x="1107832" y="482755"/>
              <a:ext cx="6246" cy="6246"/>
            </a:xfrm>
            <a:custGeom>
              <a:avLst/>
              <a:gdLst>
                <a:gd name="connsiteX0" fmla="*/ 6496 w 6246"/>
                <a:gd name="connsiteY0" fmla="*/ 2251 h 6246"/>
                <a:gd name="connsiteX1" fmla="*/ 3560 w 6246"/>
                <a:gd name="connsiteY1" fmla="*/ 7435 h 6246"/>
                <a:gd name="connsiteX2" fmla="*/ 0 w 6246"/>
                <a:gd name="connsiteY2" fmla="*/ 8185 h 6246"/>
                <a:gd name="connsiteX3" fmla="*/ 3123 w 6246"/>
                <a:gd name="connsiteY3" fmla="*/ 1439 h 6246"/>
                <a:gd name="connsiteX4" fmla="*/ 6371 w 6246"/>
                <a:gd name="connsiteY4" fmla="*/ 377 h 6246"/>
                <a:gd name="connsiteX5" fmla="*/ 6496 w 6246"/>
                <a:gd name="connsiteY5" fmla="*/ 22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496" y="2251"/>
                  </a:moveTo>
                  <a:cubicBezTo>
                    <a:pt x="5746" y="4000"/>
                    <a:pt x="3310" y="4687"/>
                    <a:pt x="3560" y="7435"/>
                  </a:cubicBezTo>
                  <a:cubicBezTo>
                    <a:pt x="3873" y="10246"/>
                    <a:pt x="1374" y="8435"/>
                    <a:pt x="0" y="8185"/>
                  </a:cubicBezTo>
                  <a:cubicBezTo>
                    <a:pt x="1062" y="5936"/>
                    <a:pt x="2061" y="3688"/>
                    <a:pt x="3123" y="1439"/>
                  </a:cubicBezTo>
                  <a:cubicBezTo>
                    <a:pt x="3748" y="2"/>
                    <a:pt x="4809" y="-372"/>
                    <a:pt x="6371" y="377"/>
                  </a:cubicBezTo>
                  <a:cubicBezTo>
                    <a:pt x="6933" y="1002"/>
                    <a:pt x="7058" y="1626"/>
                    <a:pt x="6496" y="2251"/>
                  </a:cubicBezTo>
                  <a:close/>
                </a:path>
              </a:pathLst>
            </a:custGeom>
            <a:grpFill/>
            <a:ln w="6246" cap="flat">
              <a:noFill/>
              <a:prstDash val="solid"/>
              <a:miter/>
            </a:ln>
          </p:spPr>
          <p:txBody>
            <a:bodyPr rtlCol="0" anchor="ctr"/>
            <a:lstStyle/>
            <a:p>
              <a:endParaRPr lang="fr-FR" sz="2400"/>
            </a:p>
          </p:txBody>
        </p:sp>
        <p:sp>
          <p:nvSpPr>
            <p:cNvPr id="156" name="Freeform: Shape 155">
              <a:extLst>
                <a:ext uri="{FF2B5EF4-FFF2-40B4-BE49-F238E27FC236}">
                  <a16:creationId xmlns:a16="http://schemas.microsoft.com/office/drawing/2014/main" id="{3F4F71DE-B802-47D5-8111-700E34340B28}"/>
                </a:ext>
              </a:extLst>
            </p:cNvPr>
            <p:cNvSpPr/>
            <p:nvPr/>
          </p:nvSpPr>
          <p:spPr>
            <a:xfrm>
              <a:off x="1103335" y="501183"/>
              <a:ext cx="6246" cy="6246"/>
            </a:xfrm>
            <a:custGeom>
              <a:avLst/>
              <a:gdLst>
                <a:gd name="connsiteX0" fmla="*/ 250 w 0"/>
                <a:gd name="connsiteY0" fmla="*/ 6121 h 6246"/>
                <a:gd name="connsiteX1" fmla="*/ 0 w 0"/>
                <a:gd name="connsiteY1" fmla="*/ 5122 h 6246"/>
                <a:gd name="connsiteX2" fmla="*/ 1187 w 0"/>
                <a:gd name="connsiteY2" fmla="*/ 187 h 6246"/>
                <a:gd name="connsiteX3" fmla="*/ 2623 w 0"/>
                <a:gd name="connsiteY3" fmla="*/ 187 h 6246"/>
                <a:gd name="connsiteX4" fmla="*/ 2998 w 0"/>
                <a:gd name="connsiteY4" fmla="*/ 5309 h 6246"/>
                <a:gd name="connsiteX5" fmla="*/ 250 w 0"/>
                <a:gd name="connsiteY5" fmla="*/ 61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250" y="6121"/>
                  </a:moveTo>
                  <a:cubicBezTo>
                    <a:pt x="187" y="5809"/>
                    <a:pt x="63" y="5497"/>
                    <a:pt x="0" y="5122"/>
                  </a:cubicBezTo>
                  <a:cubicBezTo>
                    <a:pt x="625" y="3498"/>
                    <a:pt x="-437" y="1561"/>
                    <a:pt x="1187" y="187"/>
                  </a:cubicBezTo>
                  <a:cubicBezTo>
                    <a:pt x="1686" y="-62"/>
                    <a:pt x="2124" y="-62"/>
                    <a:pt x="2623" y="187"/>
                  </a:cubicBezTo>
                  <a:cubicBezTo>
                    <a:pt x="4372" y="1811"/>
                    <a:pt x="4185" y="3560"/>
                    <a:pt x="2998" y="5309"/>
                  </a:cubicBezTo>
                  <a:cubicBezTo>
                    <a:pt x="2249" y="5996"/>
                    <a:pt x="1437" y="6558"/>
                    <a:pt x="250" y="6121"/>
                  </a:cubicBezTo>
                  <a:close/>
                </a:path>
              </a:pathLst>
            </a:custGeom>
            <a:grpFill/>
            <a:ln w="6246" cap="flat">
              <a:noFill/>
              <a:prstDash val="solid"/>
              <a:miter/>
            </a:ln>
          </p:spPr>
          <p:txBody>
            <a:bodyPr rtlCol="0" anchor="ctr"/>
            <a:lstStyle/>
            <a:p>
              <a:endParaRPr lang="fr-FR" sz="2400"/>
            </a:p>
          </p:txBody>
        </p:sp>
        <p:sp>
          <p:nvSpPr>
            <p:cNvPr id="157" name="Freeform: Shape 156">
              <a:extLst>
                <a:ext uri="{FF2B5EF4-FFF2-40B4-BE49-F238E27FC236}">
                  <a16:creationId xmlns:a16="http://schemas.microsoft.com/office/drawing/2014/main" id="{33E6E6E2-992A-430C-97B6-1DFF1DA80444}"/>
                </a:ext>
              </a:extLst>
            </p:cNvPr>
            <p:cNvSpPr/>
            <p:nvPr/>
          </p:nvSpPr>
          <p:spPr>
            <a:xfrm>
              <a:off x="1114203" y="478807"/>
              <a:ext cx="6246" cy="6246"/>
            </a:xfrm>
            <a:custGeom>
              <a:avLst/>
              <a:gdLst>
                <a:gd name="connsiteX0" fmla="*/ 125 w 0"/>
                <a:gd name="connsiteY0" fmla="*/ 6199 h 6246"/>
                <a:gd name="connsiteX1" fmla="*/ 0 w 0"/>
                <a:gd name="connsiteY1" fmla="*/ 4325 h 6246"/>
                <a:gd name="connsiteX2" fmla="*/ 1187 w 0"/>
                <a:gd name="connsiteY2" fmla="*/ 578 h 6246"/>
                <a:gd name="connsiteX3" fmla="*/ 3560 w 0"/>
                <a:gd name="connsiteY3" fmla="*/ 453 h 6246"/>
                <a:gd name="connsiteX4" fmla="*/ 1124 w 0"/>
                <a:gd name="connsiteY4" fmla="*/ 6262 h 6246"/>
                <a:gd name="connsiteX5" fmla="*/ 125 w 0"/>
                <a:gd name="connsiteY5" fmla="*/ 61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25" y="6199"/>
                  </a:moveTo>
                  <a:cubicBezTo>
                    <a:pt x="62" y="5575"/>
                    <a:pt x="0" y="4950"/>
                    <a:pt x="0" y="4325"/>
                  </a:cubicBezTo>
                  <a:cubicBezTo>
                    <a:pt x="812" y="3201"/>
                    <a:pt x="1312" y="2014"/>
                    <a:pt x="1187" y="578"/>
                  </a:cubicBezTo>
                  <a:cubicBezTo>
                    <a:pt x="1936" y="-234"/>
                    <a:pt x="2748" y="-109"/>
                    <a:pt x="3560" y="453"/>
                  </a:cubicBezTo>
                  <a:cubicBezTo>
                    <a:pt x="4622" y="3014"/>
                    <a:pt x="4747" y="5262"/>
                    <a:pt x="1124" y="6262"/>
                  </a:cubicBezTo>
                  <a:cubicBezTo>
                    <a:pt x="812" y="6262"/>
                    <a:pt x="437" y="6262"/>
                    <a:pt x="125" y="6199"/>
                  </a:cubicBezTo>
                  <a:close/>
                </a:path>
              </a:pathLst>
            </a:custGeom>
            <a:grpFill/>
            <a:ln w="6246" cap="flat">
              <a:noFill/>
              <a:prstDash val="solid"/>
              <a:miter/>
            </a:ln>
          </p:spPr>
          <p:txBody>
            <a:bodyPr rtlCol="0" anchor="ctr"/>
            <a:lstStyle/>
            <a:p>
              <a:endParaRPr lang="fr-FR" sz="2400"/>
            </a:p>
          </p:txBody>
        </p:sp>
        <p:sp>
          <p:nvSpPr>
            <p:cNvPr id="158" name="Freeform: Shape 157">
              <a:extLst>
                <a:ext uri="{FF2B5EF4-FFF2-40B4-BE49-F238E27FC236}">
                  <a16:creationId xmlns:a16="http://schemas.microsoft.com/office/drawing/2014/main" id="{1A21DD6D-1819-4DD0-9758-A37FDFF52A15}"/>
                </a:ext>
              </a:extLst>
            </p:cNvPr>
            <p:cNvSpPr/>
            <p:nvPr/>
          </p:nvSpPr>
          <p:spPr>
            <a:xfrm>
              <a:off x="1105834" y="495749"/>
              <a:ext cx="6246" cy="6246"/>
            </a:xfrm>
            <a:custGeom>
              <a:avLst/>
              <a:gdLst>
                <a:gd name="connsiteX0" fmla="*/ 1062 w 0"/>
                <a:gd name="connsiteY0" fmla="*/ 62 h 0"/>
                <a:gd name="connsiteX1" fmla="*/ 3061 w 0"/>
                <a:gd name="connsiteY1" fmla="*/ 0 h 0"/>
                <a:gd name="connsiteX2" fmla="*/ 3623 w 0"/>
                <a:gd name="connsiteY2" fmla="*/ 437 h 0"/>
                <a:gd name="connsiteX3" fmla="*/ 3748 w 0"/>
                <a:gd name="connsiteY3" fmla="*/ 3560 h 0"/>
                <a:gd name="connsiteX4" fmla="*/ 2623 w 0"/>
                <a:gd name="connsiteY4" fmla="*/ 4310 h 0"/>
                <a:gd name="connsiteX5" fmla="*/ 749 w 0"/>
                <a:gd name="connsiteY5" fmla="*/ 3623 h 0"/>
                <a:gd name="connsiteX6" fmla="*/ 0 w 0"/>
                <a:gd name="connsiteY6" fmla="*/ 1936 h 0"/>
                <a:gd name="connsiteX7" fmla="*/ 1062 w 0"/>
                <a:gd name="connsiteY7" fmla="*/ 6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062" y="62"/>
                  </a:moveTo>
                  <a:cubicBezTo>
                    <a:pt x="1749" y="62"/>
                    <a:pt x="2373" y="0"/>
                    <a:pt x="3061" y="0"/>
                  </a:cubicBezTo>
                  <a:cubicBezTo>
                    <a:pt x="3248" y="125"/>
                    <a:pt x="3435" y="312"/>
                    <a:pt x="3623" y="437"/>
                  </a:cubicBezTo>
                  <a:cubicBezTo>
                    <a:pt x="4247" y="1437"/>
                    <a:pt x="4247" y="2498"/>
                    <a:pt x="3748" y="3560"/>
                  </a:cubicBezTo>
                  <a:cubicBezTo>
                    <a:pt x="3498" y="3935"/>
                    <a:pt x="3123" y="4185"/>
                    <a:pt x="2623" y="4310"/>
                  </a:cubicBezTo>
                  <a:cubicBezTo>
                    <a:pt x="1874" y="4310"/>
                    <a:pt x="1249" y="4060"/>
                    <a:pt x="749" y="3623"/>
                  </a:cubicBezTo>
                  <a:cubicBezTo>
                    <a:pt x="250" y="3123"/>
                    <a:pt x="0" y="2623"/>
                    <a:pt x="0" y="1936"/>
                  </a:cubicBezTo>
                  <a:cubicBezTo>
                    <a:pt x="312" y="1249"/>
                    <a:pt x="687" y="625"/>
                    <a:pt x="1062" y="62"/>
                  </a:cubicBezTo>
                  <a:close/>
                </a:path>
              </a:pathLst>
            </a:custGeom>
            <a:grpFill/>
            <a:ln w="6246" cap="flat">
              <a:noFill/>
              <a:prstDash val="solid"/>
              <a:miter/>
            </a:ln>
          </p:spPr>
          <p:txBody>
            <a:bodyPr rtlCol="0" anchor="ctr"/>
            <a:lstStyle/>
            <a:p>
              <a:endParaRPr lang="fr-FR" sz="2400"/>
            </a:p>
          </p:txBody>
        </p:sp>
        <p:sp>
          <p:nvSpPr>
            <p:cNvPr id="159" name="Freeform: Shape 158">
              <a:extLst>
                <a:ext uri="{FF2B5EF4-FFF2-40B4-BE49-F238E27FC236}">
                  <a16:creationId xmlns:a16="http://schemas.microsoft.com/office/drawing/2014/main" id="{F3EA6638-699C-4D18-B670-E339DDB0443F}"/>
                </a:ext>
              </a:extLst>
            </p:cNvPr>
            <p:cNvSpPr/>
            <p:nvPr/>
          </p:nvSpPr>
          <p:spPr>
            <a:xfrm>
              <a:off x="1115324" y="475387"/>
              <a:ext cx="6246" cy="6246"/>
            </a:xfrm>
            <a:custGeom>
              <a:avLst/>
              <a:gdLst>
                <a:gd name="connsiteX0" fmla="*/ 2190 w 0"/>
                <a:gd name="connsiteY0" fmla="*/ 3810 h 0"/>
                <a:gd name="connsiteX1" fmla="*/ 66 w 0"/>
                <a:gd name="connsiteY1" fmla="*/ 3997 h 0"/>
                <a:gd name="connsiteX2" fmla="*/ 4 w 0"/>
                <a:gd name="connsiteY2" fmla="*/ 2873 h 0"/>
                <a:gd name="connsiteX3" fmla="*/ 1066 w 0"/>
                <a:gd name="connsiteY3" fmla="*/ 0 h 0"/>
                <a:gd name="connsiteX4" fmla="*/ 3689 w 0"/>
                <a:gd name="connsiteY4" fmla="*/ 2186 h 0"/>
                <a:gd name="connsiteX5" fmla="*/ 2190 w 0"/>
                <a:gd name="connsiteY5" fmla="*/ 38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90" y="3810"/>
                  </a:moveTo>
                  <a:cubicBezTo>
                    <a:pt x="1503" y="3873"/>
                    <a:pt x="753" y="3935"/>
                    <a:pt x="66" y="3997"/>
                  </a:cubicBezTo>
                  <a:cubicBezTo>
                    <a:pt x="66" y="3623"/>
                    <a:pt x="4" y="3248"/>
                    <a:pt x="4" y="2873"/>
                  </a:cubicBezTo>
                  <a:cubicBezTo>
                    <a:pt x="4" y="1811"/>
                    <a:pt x="-121" y="687"/>
                    <a:pt x="1066" y="0"/>
                  </a:cubicBezTo>
                  <a:cubicBezTo>
                    <a:pt x="2315" y="375"/>
                    <a:pt x="3252" y="1062"/>
                    <a:pt x="3689" y="2186"/>
                  </a:cubicBezTo>
                  <a:cubicBezTo>
                    <a:pt x="3689" y="3123"/>
                    <a:pt x="3751" y="4060"/>
                    <a:pt x="2190" y="3810"/>
                  </a:cubicBezTo>
                  <a:close/>
                </a:path>
              </a:pathLst>
            </a:custGeom>
            <a:grpFill/>
            <a:ln w="6246" cap="flat">
              <a:noFill/>
              <a:prstDash val="solid"/>
              <a:miter/>
            </a:ln>
          </p:spPr>
          <p:txBody>
            <a:bodyPr rtlCol="0" anchor="ctr"/>
            <a:lstStyle/>
            <a:p>
              <a:endParaRPr lang="fr-FR" sz="2400"/>
            </a:p>
          </p:txBody>
        </p:sp>
        <p:sp>
          <p:nvSpPr>
            <p:cNvPr id="160" name="Freeform: Shape 159">
              <a:extLst>
                <a:ext uri="{FF2B5EF4-FFF2-40B4-BE49-F238E27FC236}">
                  <a16:creationId xmlns:a16="http://schemas.microsoft.com/office/drawing/2014/main" id="{44AB66F3-15E5-4984-AE21-292310CA3653}"/>
                </a:ext>
              </a:extLst>
            </p:cNvPr>
            <p:cNvSpPr/>
            <p:nvPr/>
          </p:nvSpPr>
          <p:spPr>
            <a:xfrm>
              <a:off x="1104124" y="497623"/>
              <a:ext cx="6246" cy="6246"/>
            </a:xfrm>
            <a:custGeom>
              <a:avLst/>
              <a:gdLst>
                <a:gd name="connsiteX0" fmla="*/ 1710 w 0"/>
                <a:gd name="connsiteY0" fmla="*/ 0 h 0"/>
                <a:gd name="connsiteX1" fmla="*/ 2584 w 0"/>
                <a:gd name="connsiteY1" fmla="*/ 999 h 0"/>
                <a:gd name="connsiteX2" fmla="*/ 1397 w 0"/>
                <a:gd name="connsiteY2" fmla="*/ 3685 h 0"/>
                <a:gd name="connsiteX3" fmla="*/ 398 w 0"/>
                <a:gd name="connsiteY3" fmla="*/ 3810 h 0"/>
                <a:gd name="connsiteX4" fmla="*/ 1710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10" y="0"/>
                  </a:moveTo>
                  <a:cubicBezTo>
                    <a:pt x="2022" y="312"/>
                    <a:pt x="2334" y="687"/>
                    <a:pt x="2584" y="999"/>
                  </a:cubicBezTo>
                  <a:cubicBezTo>
                    <a:pt x="3333" y="2311"/>
                    <a:pt x="2646" y="3061"/>
                    <a:pt x="1397" y="3685"/>
                  </a:cubicBezTo>
                  <a:cubicBezTo>
                    <a:pt x="1085" y="3810"/>
                    <a:pt x="710" y="3810"/>
                    <a:pt x="398" y="3810"/>
                  </a:cubicBezTo>
                  <a:cubicBezTo>
                    <a:pt x="-477" y="2124"/>
                    <a:pt x="148" y="937"/>
                    <a:pt x="1710" y="0"/>
                  </a:cubicBezTo>
                  <a:close/>
                </a:path>
              </a:pathLst>
            </a:custGeom>
            <a:grpFill/>
            <a:ln w="6246" cap="flat">
              <a:noFill/>
              <a:prstDash val="solid"/>
              <a:miter/>
            </a:ln>
          </p:spPr>
          <p:txBody>
            <a:bodyPr rtlCol="0" anchor="ctr"/>
            <a:lstStyle/>
            <a:p>
              <a:endParaRPr lang="fr-FR" sz="2400"/>
            </a:p>
          </p:txBody>
        </p:sp>
        <p:sp>
          <p:nvSpPr>
            <p:cNvPr id="161" name="Freeform: Shape 160">
              <a:extLst>
                <a:ext uri="{FF2B5EF4-FFF2-40B4-BE49-F238E27FC236}">
                  <a16:creationId xmlns:a16="http://schemas.microsoft.com/office/drawing/2014/main" id="{180F714C-A4DD-4508-9376-61680B6691E8}"/>
                </a:ext>
              </a:extLst>
            </p:cNvPr>
            <p:cNvSpPr/>
            <p:nvPr/>
          </p:nvSpPr>
          <p:spPr>
            <a:xfrm>
              <a:off x="1126820" y="634678"/>
              <a:ext cx="24984" cy="18738"/>
            </a:xfrm>
            <a:custGeom>
              <a:avLst/>
              <a:gdLst>
                <a:gd name="connsiteX0" fmla="*/ 25921 w 24984"/>
                <a:gd name="connsiteY0" fmla="*/ 21533 h 18738"/>
                <a:gd name="connsiteX1" fmla="*/ 0 w 24984"/>
                <a:gd name="connsiteY1" fmla="*/ 296 h 18738"/>
                <a:gd name="connsiteX2" fmla="*/ 5059 w 24984"/>
                <a:gd name="connsiteY2" fmla="*/ 2233 h 18738"/>
                <a:gd name="connsiteX3" fmla="*/ 6746 w 24984"/>
                <a:gd name="connsiteY3" fmla="*/ 3544 h 18738"/>
                <a:gd name="connsiteX4" fmla="*/ 25359 w 24984"/>
                <a:gd name="connsiteY4" fmla="*/ 17848 h 18738"/>
                <a:gd name="connsiteX5" fmla="*/ 25921 w 24984"/>
                <a:gd name="connsiteY5" fmla="*/ 2153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8738">
                  <a:moveTo>
                    <a:pt x="25921" y="21533"/>
                  </a:moveTo>
                  <a:cubicBezTo>
                    <a:pt x="16552" y="15225"/>
                    <a:pt x="6871" y="9103"/>
                    <a:pt x="0" y="296"/>
                  </a:cubicBezTo>
                  <a:cubicBezTo>
                    <a:pt x="2498" y="-765"/>
                    <a:pt x="3498" y="1296"/>
                    <a:pt x="5059" y="2233"/>
                  </a:cubicBezTo>
                  <a:cubicBezTo>
                    <a:pt x="5621" y="2670"/>
                    <a:pt x="6184" y="3107"/>
                    <a:pt x="6746" y="3544"/>
                  </a:cubicBezTo>
                  <a:cubicBezTo>
                    <a:pt x="12804" y="8416"/>
                    <a:pt x="19113" y="13101"/>
                    <a:pt x="25359" y="17848"/>
                  </a:cubicBezTo>
                  <a:cubicBezTo>
                    <a:pt x="26546" y="18910"/>
                    <a:pt x="28544" y="19909"/>
                    <a:pt x="25921" y="21533"/>
                  </a:cubicBezTo>
                  <a:close/>
                </a:path>
              </a:pathLst>
            </a:custGeom>
            <a:grpFill/>
            <a:ln w="6246" cap="flat">
              <a:noFill/>
              <a:prstDash val="solid"/>
              <a:miter/>
            </a:ln>
          </p:spPr>
          <p:txBody>
            <a:bodyPr rtlCol="0" anchor="ctr"/>
            <a:lstStyle/>
            <a:p>
              <a:endParaRPr lang="fr-FR" sz="2400"/>
            </a:p>
          </p:txBody>
        </p:sp>
        <p:sp>
          <p:nvSpPr>
            <p:cNvPr id="162" name="Freeform: Shape 161">
              <a:extLst>
                <a:ext uri="{FF2B5EF4-FFF2-40B4-BE49-F238E27FC236}">
                  <a16:creationId xmlns:a16="http://schemas.microsoft.com/office/drawing/2014/main" id="{A8557720-0331-4A4F-8B58-B02AC8F9CFAB}"/>
                </a:ext>
              </a:extLst>
            </p:cNvPr>
            <p:cNvSpPr/>
            <p:nvPr/>
          </p:nvSpPr>
          <p:spPr>
            <a:xfrm>
              <a:off x="1118135" y="623037"/>
              <a:ext cx="12492" cy="12492"/>
            </a:xfrm>
            <a:custGeom>
              <a:avLst/>
              <a:gdLst>
                <a:gd name="connsiteX0" fmla="*/ 13245 w 12492"/>
                <a:gd name="connsiteY0" fmla="*/ 14810 h 12492"/>
                <a:gd name="connsiteX1" fmla="*/ 8685 w 12492"/>
                <a:gd name="connsiteY1" fmla="*/ 12000 h 12492"/>
                <a:gd name="connsiteX2" fmla="*/ 3501 w 12492"/>
                <a:gd name="connsiteY2" fmla="*/ 6503 h 12492"/>
                <a:gd name="connsiteX3" fmla="*/ 190 w 12492"/>
                <a:gd name="connsiteY3" fmla="*/ 2381 h 12492"/>
                <a:gd name="connsiteX4" fmla="*/ 253 w 12492"/>
                <a:gd name="connsiteY4" fmla="*/ 2506 h 12492"/>
                <a:gd name="connsiteX5" fmla="*/ 128 w 12492"/>
                <a:gd name="connsiteY5" fmla="*/ 1132 h 12492"/>
                <a:gd name="connsiteX6" fmla="*/ 2814 w 12492"/>
                <a:gd name="connsiteY6" fmla="*/ 70 h 12492"/>
                <a:gd name="connsiteX7" fmla="*/ 13994 w 12492"/>
                <a:gd name="connsiteY7" fmla="*/ 12187 h 12492"/>
                <a:gd name="connsiteX8" fmla="*/ 13245 w 12492"/>
                <a:gd name="connsiteY8" fmla="*/ 1481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2492">
                  <a:moveTo>
                    <a:pt x="13245" y="14810"/>
                  </a:moveTo>
                  <a:cubicBezTo>
                    <a:pt x="11746" y="13874"/>
                    <a:pt x="10184" y="12937"/>
                    <a:pt x="8685" y="12000"/>
                  </a:cubicBezTo>
                  <a:cubicBezTo>
                    <a:pt x="6936" y="10188"/>
                    <a:pt x="5187" y="8315"/>
                    <a:pt x="3501" y="6503"/>
                  </a:cubicBezTo>
                  <a:cubicBezTo>
                    <a:pt x="2939" y="4754"/>
                    <a:pt x="1377" y="3692"/>
                    <a:pt x="190" y="2381"/>
                  </a:cubicBezTo>
                  <a:lnTo>
                    <a:pt x="253" y="2506"/>
                  </a:lnTo>
                  <a:cubicBezTo>
                    <a:pt x="-60" y="2068"/>
                    <a:pt x="-60" y="1631"/>
                    <a:pt x="128" y="1132"/>
                  </a:cubicBezTo>
                  <a:cubicBezTo>
                    <a:pt x="815" y="257"/>
                    <a:pt x="1627" y="-180"/>
                    <a:pt x="2814" y="70"/>
                  </a:cubicBezTo>
                  <a:cubicBezTo>
                    <a:pt x="7061" y="3755"/>
                    <a:pt x="9310" y="8877"/>
                    <a:pt x="13994" y="12187"/>
                  </a:cubicBezTo>
                  <a:cubicBezTo>
                    <a:pt x="14244" y="13124"/>
                    <a:pt x="14182" y="14061"/>
                    <a:pt x="13245" y="14810"/>
                  </a:cubicBezTo>
                  <a:close/>
                </a:path>
              </a:pathLst>
            </a:custGeom>
            <a:grpFill/>
            <a:ln w="6246" cap="flat">
              <a:noFill/>
              <a:prstDash val="solid"/>
              <a:miter/>
            </a:ln>
          </p:spPr>
          <p:txBody>
            <a:bodyPr rtlCol="0" anchor="ctr"/>
            <a:lstStyle/>
            <a:p>
              <a:endParaRPr lang="fr-FR" sz="2400"/>
            </a:p>
          </p:txBody>
        </p:sp>
        <p:sp>
          <p:nvSpPr>
            <p:cNvPr id="163" name="Freeform: Shape 162">
              <a:extLst>
                <a:ext uri="{FF2B5EF4-FFF2-40B4-BE49-F238E27FC236}">
                  <a16:creationId xmlns:a16="http://schemas.microsoft.com/office/drawing/2014/main" id="{4E5D9C62-F3F2-495E-8E95-6A8AAAE7A6D3}"/>
                </a:ext>
              </a:extLst>
            </p:cNvPr>
            <p:cNvSpPr/>
            <p:nvPr/>
          </p:nvSpPr>
          <p:spPr>
            <a:xfrm>
              <a:off x="1151680" y="652446"/>
              <a:ext cx="6246" cy="6246"/>
            </a:xfrm>
            <a:custGeom>
              <a:avLst/>
              <a:gdLst>
                <a:gd name="connsiteX0" fmla="*/ 1062 w 6246"/>
                <a:gd name="connsiteY0" fmla="*/ 3765 h 6246"/>
                <a:gd name="connsiteX1" fmla="*/ 0 w 6246"/>
                <a:gd name="connsiteY1" fmla="*/ 829 h 6246"/>
                <a:gd name="connsiteX2" fmla="*/ 4934 w 6246"/>
                <a:gd name="connsiteY2" fmla="*/ 704 h 6246"/>
                <a:gd name="connsiteX3" fmla="*/ 6308 w 6246"/>
                <a:gd name="connsiteY3" fmla="*/ 1329 h 6246"/>
                <a:gd name="connsiteX4" fmla="*/ 10743 w 6246"/>
                <a:gd name="connsiteY4" fmla="*/ 6888 h 6246"/>
                <a:gd name="connsiteX5" fmla="*/ 5309 w 6246"/>
                <a:gd name="connsiteY5" fmla="*/ 6763 h 6246"/>
                <a:gd name="connsiteX6" fmla="*/ 1062 w 6246"/>
                <a:gd name="connsiteY6" fmla="*/ 376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3765"/>
                  </a:moveTo>
                  <a:cubicBezTo>
                    <a:pt x="2249" y="2328"/>
                    <a:pt x="687" y="1704"/>
                    <a:pt x="0" y="829"/>
                  </a:cubicBezTo>
                  <a:cubicBezTo>
                    <a:pt x="1562" y="-607"/>
                    <a:pt x="3248" y="142"/>
                    <a:pt x="4934" y="704"/>
                  </a:cubicBezTo>
                  <a:cubicBezTo>
                    <a:pt x="5434" y="892"/>
                    <a:pt x="5871" y="1079"/>
                    <a:pt x="6308" y="1329"/>
                  </a:cubicBezTo>
                  <a:cubicBezTo>
                    <a:pt x="8370" y="2828"/>
                    <a:pt x="11430" y="3640"/>
                    <a:pt x="10743" y="6888"/>
                  </a:cubicBezTo>
                  <a:cubicBezTo>
                    <a:pt x="8932" y="7637"/>
                    <a:pt x="7058" y="7513"/>
                    <a:pt x="5309" y="6763"/>
                  </a:cubicBezTo>
                  <a:cubicBezTo>
                    <a:pt x="3873" y="5764"/>
                    <a:pt x="2436" y="4764"/>
                    <a:pt x="1062" y="3765"/>
                  </a:cubicBezTo>
                  <a:close/>
                </a:path>
              </a:pathLst>
            </a:custGeom>
            <a:grpFill/>
            <a:ln w="6246" cap="flat">
              <a:noFill/>
              <a:prstDash val="solid"/>
              <a:miter/>
            </a:ln>
          </p:spPr>
          <p:txBody>
            <a:bodyPr rtlCol="0" anchor="ctr"/>
            <a:lstStyle/>
            <a:p>
              <a:endParaRPr lang="fr-FR" sz="2400"/>
            </a:p>
          </p:txBody>
        </p:sp>
        <p:sp>
          <p:nvSpPr>
            <p:cNvPr id="164" name="Freeform: Shape 163">
              <a:extLst>
                <a:ext uri="{FF2B5EF4-FFF2-40B4-BE49-F238E27FC236}">
                  <a16:creationId xmlns:a16="http://schemas.microsoft.com/office/drawing/2014/main" id="{FD1F2646-E5AD-45A8-ACA8-8C2278C3D44A}"/>
                </a:ext>
              </a:extLst>
            </p:cNvPr>
            <p:cNvSpPr/>
            <p:nvPr/>
          </p:nvSpPr>
          <p:spPr>
            <a:xfrm>
              <a:off x="1156926" y="658709"/>
              <a:ext cx="12492" cy="6246"/>
            </a:xfrm>
            <a:custGeom>
              <a:avLst/>
              <a:gdLst>
                <a:gd name="connsiteX0" fmla="*/ 0 w 12492"/>
                <a:gd name="connsiteY0" fmla="*/ 437 h 0"/>
                <a:gd name="connsiteX1" fmla="*/ 5434 w 12492"/>
                <a:gd name="connsiteY1" fmla="*/ 500 h 0"/>
                <a:gd name="connsiteX2" fmla="*/ 14054 w 12492"/>
                <a:gd name="connsiteY2" fmla="*/ 3873 h 0"/>
                <a:gd name="connsiteX3" fmla="*/ 14179 w 12492"/>
                <a:gd name="connsiteY3" fmla="*/ 5122 h 0"/>
                <a:gd name="connsiteX4" fmla="*/ 14054 w 12492"/>
                <a:gd name="connsiteY4" fmla="*/ 5247 h 0"/>
                <a:gd name="connsiteX5" fmla="*/ 7683 w 12492"/>
                <a:gd name="connsiteY5" fmla="*/ 5184 h 0"/>
                <a:gd name="connsiteX6" fmla="*/ 0 w 12492"/>
                <a:gd name="connsiteY6" fmla="*/ 4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437"/>
                  </a:moveTo>
                  <a:cubicBezTo>
                    <a:pt x="1811" y="-125"/>
                    <a:pt x="3623" y="-187"/>
                    <a:pt x="5434" y="500"/>
                  </a:cubicBezTo>
                  <a:cubicBezTo>
                    <a:pt x="8932" y="312"/>
                    <a:pt x="11305" y="2436"/>
                    <a:pt x="14054" y="3873"/>
                  </a:cubicBezTo>
                  <a:cubicBezTo>
                    <a:pt x="14366" y="4247"/>
                    <a:pt x="14428" y="4685"/>
                    <a:pt x="14179" y="5122"/>
                  </a:cubicBezTo>
                  <a:lnTo>
                    <a:pt x="14054" y="5247"/>
                  </a:lnTo>
                  <a:cubicBezTo>
                    <a:pt x="11930" y="5247"/>
                    <a:pt x="9806" y="5184"/>
                    <a:pt x="7683" y="5184"/>
                  </a:cubicBezTo>
                  <a:cubicBezTo>
                    <a:pt x="5372" y="3248"/>
                    <a:pt x="1811" y="2936"/>
                    <a:pt x="0" y="437"/>
                  </a:cubicBezTo>
                  <a:close/>
                </a:path>
              </a:pathLst>
            </a:custGeom>
            <a:grpFill/>
            <a:ln w="6246" cap="flat">
              <a:noFill/>
              <a:prstDash val="solid"/>
              <a:miter/>
            </a:ln>
          </p:spPr>
          <p:txBody>
            <a:bodyPr rtlCol="0" anchor="ctr"/>
            <a:lstStyle/>
            <a:p>
              <a:endParaRPr lang="fr-FR" sz="2400"/>
            </a:p>
          </p:txBody>
        </p:sp>
        <p:sp>
          <p:nvSpPr>
            <p:cNvPr id="165" name="Freeform: Shape 164">
              <a:extLst>
                <a:ext uri="{FF2B5EF4-FFF2-40B4-BE49-F238E27FC236}">
                  <a16:creationId xmlns:a16="http://schemas.microsoft.com/office/drawing/2014/main" id="{F9AF778C-EE6D-4853-A6EA-A13D49906932}"/>
                </a:ext>
              </a:extLst>
            </p:cNvPr>
            <p:cNvSpPr/>
            <p:nvPr/>
          </p:nvSpPr>
          <p:spPr>
            <a:xfrm>
              <a:off x="1111642" y="617274"/>
              <a:ext cx="6246" cy="6246"/>
            </a:xfrm>
            <a:custGeom>
              <a:avLst/>
              <a:gdLst>
                <a:gd name="connsiteX0" fmla="*/ 6871 w 6246"/>
                <a:gd name="connsiteY0" fmla="*/ 7019 h 6246"/>
                <a:gd name="connsiteX1" fmla="*/ 6683 w 6246"/>
                <a:gd name="connsiteY1" fmla="*/ 8206 h 6246"/>
                <a:gd name="connsiteX2" fmla="*/ 0 w 6246"/>
                <a:gd name="connsiteY2" fmla="*/ 398 h 6246"/>
                <a:gd name="connsiteX3" fmla="*/ 4872 w 6246"/>
                <a:gd name="connsiteY3" fmla="*/ 2147 h 6246"/>
                <a:gd name="connsiteX4" fmla="*/ 5746 w 6246"/>
                <a:gd name="connsiteY4" fmla="*/ 3209 h 6246"/>
                <a:gd name="connsiteX5" fmla="*/ 6871 w 6246"/>
                <a:gd name="connsiteY5" fmla="*/ 701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6871" y="7019"/>
                  </a:moveTo>
                  <a:cubicBezTo>
                    <a:pt x="6808" y="7394"/>
                    <a:pt x="6746" y="7769"/>
                    <a:pt x="6683" y="8206"/>
                  </a:cubicBezTo>
                  <a:cubicBezTo>
                    <a:pt x="3248" y="6457"/>
                    <a:pt x="2061" y="3147"/>
                    <a:pt x="0" y="398"/>
                  </a:cubicBezTo>
                  <a:cubicBezTo>
                    <a:pt x="2436" y="-851"/>
                    <a:pt x="3435" y="1148"/>
                    <a:pt x="4872" y="2147"/>
                  </a:cubicBezTo>
                  <a:cubicBezTo>
                    <a:pt x="5184" y="2460"/>
                    <a:pt x="5497" y="2834"/>
                    <a:pt x="5746" y="3209"/>
                  </a:cubicBezTo>
                  <a:cubicBezTo>
                    <a:pt x="6433" y="4396"/>
                    <a:pt x="6996" y="5645"/>
                    <a:pt x="6871" y="7019"/>
                  </a:cubicBezTo>
                  <a:close/>
                </a:path>
              </a:pathLst>
            </a:custGeom>
            <a:grpFill/>
            <a:ln w="6246" cap="flat">
              <a:noFill/>
              <a:prstDash val="solid"/>
              <a:miter/>
            </a:ln>
          </p:spPr>
          <p:txBody>
            <a:bodyPr rtlCol="0" anchor="ctr"/>
            <a:lstStyle/>
            <a:p>
              <a:endParaRPr lang="fr-FR" sz="2400"/>
            </a:p>
          </p:txBody>
        </p:sp>
        <p:sp>
          <p:nvSpPr>
            <p:cNvPr id="166" name="Freeform: Shape 165">
              <a:extLst>
                <a:ext uri="{FF2B5EF4-FFF2-40B4-BE49-F238E27FC236}">
                  <a16:creationId xmlns:a16="http://schemas.microsoft.com/office/drawing/2014/main" id="{11F1B67E-4E6F-4A98-BC62-2AC05F1A0CEF}"/>
                </a:ext>
              </a:extLst>
            </p:cNvPr>
            <p:cNvSpPr/>
            <p:nvPr/>
          </p:nvSpPr>
          <p:spPr>
            <a:xfrm>
              <a:off x="1110955" y="615623"/>
              <a:ext cx="6246" cy="6246"/>
            </a:xfrm>
            <a:custGeom>
              <a:avLst/>
              <a:gdLst>
                <a:gd name="connsiteX0" fmla="*/ 5434 w 0"/>
                <a:gd name="connsiteY0" fmla="*/ 4797 h 0"/>
                <a:gd name="connsiteX1" fmla="*/ 750 w 0"/>
                <a:gd name="connsiteY1" fmla="*/ 2049 h 0"/>
                <a:gd name="connsiteX2" fmla="*/ 0 w 0"/>
                <a:gd name="connsiteY2" fmla="*/ 1050 h 0"/>
                <a:gd name="connsiteX3" fmla="*/ 312 w 0"/>
                <a:gd name="connsiteY3" fmla="*/ 363 h 0"/>
                <a:gd name="connsiteX4" fmla="*/ 5434 w 0"/>
                <a:gd name="connsiteY4" fmla="*/ 479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434" y="4797"/>
                  </a:moveTo>
                  <a:cubicBezTo>
                    <a:pt x="3623" y="4173"/>
                    <a:pt x="2873" y="2174"/>
                    <a:pt x="750" y="2049"/>
                  </a:cubicBezTo>
                  <a:cubicBezTo>
                    <a:pt x="500" y="1737"/>
                    <a:pt x="250" y="1362"/>
                    <a:pt x="0" y="1050"/>
                  </a:cubicBezTo>
                  <a:cubicBezTo>
                    <a:pt x="125" y="800"/>
                    <a:pt x="187" y="550"/>
                    <a:pt x="312" y="363"/>
                  </a:cubicBezTo>
                  <a:cubicBezTo>
                    <a:pt x="4560" y="-637"/>
                    <a:pt x="5684" y="300"/>
                    <a:pt x="5434" y="4797"/>
                  </a:cubicBezTo>
                  <a:close/>
                </a:path>
              </a:pathLst>
            </a:custGeom>
            <a:grpFill/>
            <a:ln w="6246" cap="flat">
              <a:noFill/>
              <a:prstDash val="solid"/>
              <a:miter/>
            </a:ln>
          </p:spPr>
          <p:txBody>
            <a:bodyPr rtlCol="0" anchor="ctr"/>
            <a:lstStyle/>
            <a:p>
              <a:endParaRPr lang="fr-FR" sz="2400"/>
            </a:p>
          </p:txBody>
        </p:sp>
        <p:sp>
          <p:nvSpPr>
            <p:cNvPr id="167" name="Freeform: Shape 166">
              <a:extLst>
                <a:ext uri="{FF2B5EF4-FFF2-40B4-BE49-F238E27FC236}">
                  <a16:creationId xmlns:a16="http://schemas.microsoft.com/office/drawing/2014/main" id="{D3405B54-3FEF-4AFE-8309-7E516AB120F7}"/>
                </a:ext>
              </a:extLst>
            </p:cNvPr>
            <p:cNvSpPr/>
            <p:nvPr/>
          </p:nvSpPr>
          <p:spPr>
            <a:xfrm>
              <a:off x="1118261" y="625355"/>
              <a:ext cx="6246" cy="6246"/>
            </a:xfrm>
            <a:custGeom>
              <a:avLst/>
              <a:gdLst>
                <a:gd name="connsiteX0" fmla="*/ 2 w 0"/>
                <a:gd name="connsiteY0" fmla="*/ 0 h 0"/>
                <a:gd name="connsiteX1" fmla="*/ 3312 w 0"/>
                <a:gd name="connsiteY1" fmla="*/ 4122 h 0"/>
                <a:gd name="connsiteX2" fmla="*/ 2 w 0"/>
                <a:gd name="connsiteY2" fmla="*/ 0 h 0"/>
              </a:gdLst>
              <a:ahLst/>
              <a:cxnLst>
                <a:cxn ang="0">
                  <a:pos x="connsiteX0" y="connsiteY0"/>
                </a:cxn>
                <a:cxn ang="0">
                  <a:pos x="connsiteX1" y="connsiteY1"/>
                </a:cxn>
                <a:cxn ang="0">
                  <a:pos x="connsiteX2" y="connsiteY2"/>
                </a:cxn>
              </a:cxnLst>
              <a:rect l="l" t="t" r="r" b="b"/>
              <a:pathLst>
                <a:path>
                  <a:moveTo>
                    <a:pt x="2" y="0"/>
                  </a:moveTo>
                  <a:cubicBezTo>
                    <a:pt x="2125" y="687"/>
                    <a:pt x="3437" y="1936"/>
                    <a:pt x="3312" y="4122"/>
                  </a:cubicBezTo>
                  <a:cubicBezTo>
                    <a:pt x="1563" y="3185"/>
                    <a:pt x="-61" y="2124"/>
                    <a:pt x="2" y="0"/>
                  </a:cubicBezTo>
                  <a:close/>
                </a:path>
              </a:pathLst>
            </a:custGeom>
            <a:grpFill/>
            <a:ln w="6246" cap="flat">
              <a:noFill/>
              <a:prstDash val="solid"/>
              <a:miter/>
            </a:ln>
          </p:spPr>
          <p:txBody>
            <a:bodyPr rtlCol="0" anchor="ctr"/>
            <a:lstStyle/>
            <a:p>
              <a:endParaRPr lang="fr-FR" sz="2400"/>
            </a:p>
          </p:txBody>
        </p:sp>
        <p:sp>
          <p:nvSpPr>
            <p:cNvPr id="168" name="Freeform: Shape 167">
              <a:extLst>
                <a:ext uri="{FF2B5EF4-FFF2-40B4-BE49-F238E27FC236}">
                  <a16:creationId xmlns:a16="http://schemas.microsoft.com/office/drawing/2014/main" id="{2B6D9BAA-50D7-4F3A-AA80-1402D3239171}"/>
                </a:ext>
              </a:extLst>
            </p:cNvPr>
            <p:cNvSpPr/>
            <p:nvPr/>
          </p:nvSpPr>
          <p:spPr>
            <a:xfrm>
              <a:off x="1108644" y="610802"/>
              <a:ext cx="6246" cy="6246"/>
            </a:xfrm>
            <a:custGeom>
              <a:avLst/>
              <a:gdLst>
                <a:gd name="connsiteX0" fmla="*/ 1249 w 0"/>
                <a:gd name="connsiteY0" fmla="*/ 4809 h 0"/>
                <a:gd name="connsiteX1" fmla="*/ 0 w 0"/>
                <a:gd name="connsiteY1" fmla="*/ 0 h 0"/>
                <a:gd name="connsiteX2" fmla="*/ 2498 w 0"/>
                <a:gd name="connsiteY2" fmla="*/ 5559 h 0"/>
                <a:gd name="connsiteX3" fmla="*/ 2249 w 0"/>
                <a:gd name="connsiteY3" fmla="*/ 5871 h 0"/>
                <a:gd name="connsiteX4" fmla="*/ 1249 w 0"/>
                <a:gd name="connsiteY4" fmla="*/ 480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49" y="4809"/>
                  </a:moveTo>
                  <a:cubicBezTo>
                    <a:pt x="812" y="3186"/>
                    <a:pt x="375" y="1562"/>
                    <a:pt x="0" y="0"/>
                  </a:cubicBezTo>
                  <a:cubicBezTo>
                    <a:pt x="4372" y="562"/>
                    <a:pt x="3623" y="2998"/>
                    <a:pt x="2498" y="5559"/>
                  </a:cubicBezTo>
                  <a:lnTo>
                    <a:pt x="2249" y="5871"/>
                  </a:lnTo>
                  <a:cubicBezTo>
                    <a:pt x="1936" y="5497"/>
                    <a:pt x="1624" y="5184"/>
                    <a:pt x="1249" y="4809"/>
                  </a:cubicBezTo>
                  <a:close/>
                </a:path>
              </a:pathLst>
            </a:custGeom>
            <a:grpFill/>
            <a:ln w="6246" cap="flat">
              <a:noFill/>
              <a:prstDash val="solid"/>
              <a:miter/>
            </a:ln>
          </p:spPr>
          <p:txBody>
            <a:bodyPr rtlCol="0" anchor="ctr"/>
            <a:lstStyle/>
            <a:p>
              <a:endParaRPr lang="fr-FR" sz="2400"/>
            </a:p>
          </p:txBody>
        </p:sp>
        <p:sp>
          <p:nvSpPr>
            <p:cNvPr id="169" name="Freeform: Shape 168">
              <a:extLst>
                <a:ext uri="{FF2B5EF4-FFF2-40B4-BE49-F238E27FC236}">
                  <a16:creationId xmlns:a16="http://schemas.microsoft.com/office/drawing/2014/main" id="{CC354D70-3DDA-4191-AF48-C14FB0B80E30}"/>
                </a:ext>
              </a:extLst>
            </p:cNvPr>
            <p:cNvSpPr/>
            <p:nvPr/>
          </p:nvSpPr>
          <p:spPr>
            <a:xfrm>
              <a:off x="1088469" y="540159"/>
              <a:ext cx="6246" cy="31230"/>
            </a:xfrm>
            <a:custGeom>
              <a:avLst/>
              <a:gdLst>
                <a:gd name="connsiteX0" fmla="*/ 2186 w 6246"/>
                <a:gd name="connsiteY0" fmla="*/ 0 h 31230"/>
                <a:gd name="connsiteX1" fmla="*/ 3248 w 6246"/>
                <a:gd name="connsiteY1" fmla="*/ 0 h 31230"/>
                <a:gd name="connsiteX2" fmla="*/ 4747 w 6246"/>
                <a:gd name="connsiteY2" fmla="*/ 5309 h 31230"/>
                <a:gd name="connsiteX3" fmla="*/ 4934 w 6246"/>
                <a:gd name="connsiteY3" fmla="*/ 8370 h 31230"/>
                <a:gd name="connsiteX4" fmla="*/ 5871 w 6246"/>
                <a:gd name="connsiteY4" fmla="*/ 16240 h 31230"/>
                <a:gd name="connsiteX5" fmla="*/ 6871 w 6246"/>
                <a:gd name="connsiteY5" fmla="*/ 24547 h 31230"/>
                <a:gd name="connsiteX6" fmla="*/ 6933 w 6246"/>
                <a:gd name="connsiteY6" fmla="*/ 27545 h 31230"/>
                <a:gd name="connsiteX7" fmla="*/ 4872 w 6246"/>
                <a:gd name="connsiteY7" fmla="*/ 33167 h 31230"/>
                <a:gd name="connsiteX8" fmla="*/ 3248 w 6246"/>
                <a:gd name="connsiteY8" fmla="*/ 29107 h 31230"/>
                <a:gd name="connsiteX9" fmla="*/ 3248 w 6246"/>
                <a:gd name="connsiteY9" fmla="*/ 28107 h 31230"/>
                <a:gd name="connsiteX10" fmla="*/ 1624 w 6246"/>
                <a:gd name="connsiteY10" fmla="*/ 19488 h 31230"/>
                <a:gd name="connsiteX11" fmla="*/ 1062 w 6246"/>
                <a:gd name="connsiteY11" fmla="*/ 11743 h 31230"/>
                <a:gd name="connsiteX12" fmla="*/ 0 w 6246"/>
                <a:gd name="connsiteY12" fmla="*/ 6871 h 31230"/>
                <a:gd name="connsiteX13" fmla="*/ 2186 w 6246"/>
                <a:gd name="connsiteY13"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31230">
                  <a:moveTo>
                    <a:pt x="2186" y="0"/>
                  </a:moveTo>
                  <a:cubicBezTo>
                    <a:pt x="2561" y="0"/>
                    <a:pt x="2873" y="0"/>
                    <a:pt x="3248" y="0"/>
                  </a:cubicBezTo>
                  <a:cubicBezTo>
                    <a:pt x="4060" y="1686"/>
                    <a:pt x="3935" y="3623"/>
                    <a:pt x="4747" y="5309"/>
                  </a:cubicBezTo>
                  <a:cubicBezTo>
                    <a:pt x="4622" y="6308"/>
                    <a:pt x="4934" y="7308"/>
                    <a:pt x="4934" y="8370"/>
                  </a:cubicBezTo>
                  <a:cubicBezTo>
                    <a:pt x="4310" y="11056"/>
                    <a:pt x="5871" y="13554"/>
                    <a:pt x="5871" y="16240"/>
                  </a:cubicBezTo>
                  <a:cubicBezTo>
                    <a:pt x="6558" y="18988"/>
                    <a:pt x="6433" y="21799"/>
                    <a:pt x="6871" y="24547"/>
                  </a:cubicBezTo>
                  <a:cubicBezTo>
                    <a:pt x="6933" y="25546"/>
                    <a:pt x="6996" y="26546"/>
                    <a:pt x="6933" y="27545"/>
                  </a:cubicBezTo>
                  <a:cubicBezTo>
                    <a:pt x="6683" y="29544"/>
                    <a:pt x="7495" y="31855"/>
                    <a:pt x="4872" y="33167"/>
                  </a:cubicBezTo>
                  <a:cubicBezTo>
                    <a:pt x="2873" y="32292"/>
                    <a:pt x="4060" y="30356"/>
                    <a:pt x="3248" y="29107"/>
                  </a:cubicBezTo>
                  <a:cubicBezTo>
                    <a:pt x="3248" y="28794"/>
                    <a:pt x="3248" y="28482"/>
                    <a:pt x="3248" y="28107"/>
                  </a:cubicBezTo>
                  <a:cubicBezTo>
                    <a:pt x="1499" y="25421"/>
                    <a:pt x="1562" y="22423"/>
                    <a:pt x="1624" y="19488"/>
                  </a:cubicBezTo>
                  <a:cubicBezTo>
                    <a:pt x="874" y="16927"/>
                    <a:pt x="1124" y="14303"/>
                    <a:pt x="1062" y="11743"/>
                  </a:cubicBezTo>
                  <a:cubicBezTo>
                    <a:pt x="999" y="10056"/>
                    <a:pt x="1312" y="8307"/>
                    <a:pt x="0" y="6871"/>
                  </a:cubicBezTo>
                  <a:cubicBezTo>
                    <a:pt x="0" y="4310"/>
                    <a:pt x="437" y="1999"/>
                    <a:pt x="2186" y="0"/>
                  </a:cubicBezTo>
                  <a:close/>
                </a:path>
              </a:pathLst>
            </a:custGeom>
            <a:grpFill/>
            <a:ln w="6246" cap="flat">
              <a:noFill/>
              <a:prstDash val="solid"/>
              <a:miter/>
            </a:ln>
          </p:spPr>
          <p:txBody>
            <a:bodyPr rtlCol="0" anchor="ctr"/>
            <a:lstStyle/>
            <a:p>
              <a:endParaRPr lang="fr-FR" sz="2400"/>
            </a:p>
          </p:txBody>
        </p:sp>
        <p:sp>
          <p:nvSpPr>
            <p:cNvPr id="170" name="Freeform: Shape 169">
              <a:extLst>
                <a:ext uri="{FF2B5EF4-FFF2-40B4-BE49-F238E27FC236}">
                  <a16:creationId xmlns:a16="http://schemas.microsoft.com/office/drawing/2014/main" id="{2F2EFEAE-18C4-4F9D-A77A-61EDB0312DC5}"/>
                </a:ext>
              </a:extLst>
            </p:cNvPr>
            <p:cNvSpPr/>
            <p:nvPr/>
          </p:nvSpPr>
          <p:spPr>
            <a:xfrm>
              <a:off x="1091665" y="567079"/>
              <a:ext cx="6246" cy="12492"/>
            </a:xfrm>
            <a:custGeom>
              <a:avLst/>
              <a:gdLst>
                <a:gd name="connsiteX0" fmla="*/ 1177 w 0"/>
                <a:gd name="connsiteY0" fmla="*/ 5934 h 12492"/>
                <a:gd name="connsiteX1" fmla="*/ 2364 w 0"/>
                <a:gd name="connsiteY1" fmla="*/ 0 h 12492"/>
                <a:gd name="connsiteX2" fmla="*/ 4800 w 0"/>
                <a:gd name="connsiteY2" fmla="*/ 4685 h 12492"/>
                <a:gd name="connsiteX3" fmla="*/ 5674 w 0"/>
                <a:gd name="connsiteY3" fmla="*/ 10868 h 12492"/>
                <a:gd name="connsiteX4" fmla="*/ 4237 w 0"/>
                <a:gd name="connsiteY4" fmla="*/ 16615 h 12492"/>
                <a:gd name="connsiteX5" fmla="*/ 3300 w 0"/>
                <a:gd name="connsiteY5" fmla="*/ 16615 h 12492"/>
                <a:gd name="connsiteX6" fmla="*/ 1177 w 0"/>
                <a:gd name="connsiteY6" fmla="*/ 11743 h 12492"/>
                <a:gd name="connsiteX7" fmla="*/ 1177 w 0"/>
                <a:gd name="connsiteY7" fmla="*/ 11743 h 12492"/>
                <a:gd name="connsiteX8" fmla="*/ 52 w 0"/>
                <a:gd name="connsiteY8" fmla="*/ 6933 h 12492"/>
                <a:gd name="connsiteX9" fmla="*/ 115 w 0"/>
                <a:gd name="connsiteY9" fmla="*/ 5934 h 12492"/>
                <a:gd name="connsiteX10" fmla="*/ 1177 w 0"/>
                <a:gd name="connsiteY10" fmla="*/ 59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h="12492">
                  <a:moveTo>
                    <a:pt x="1177" y="5934"/>
                  </a:moveTo>
                  <a:cubicBezTo>
                    <a:pt x="3051" y="4185"/>
                    <a:pt x="1801" y="1936"/>
                    <a:pt x="2364" y="0"/>
                  </a:cubicBezTo>
                  <a:cubicBezTo>
                    <a:pt x="5237" y="687"/>
                    <a:pt x="4612" y="2936"/>
                    <a:pt x="4800" y="4685"/>
                  </a:cubicBezTo>
                  <a:cubicBezTo>
                    <a:pt x="5049" y="6746"/>
                    <a:pt x="5299" y="8807"/>
                    <a:pt x="5674" y="10868"/>
                  </a:cubicBezTo>
                  <a:cubicBezTo>
                    <a:pt x="5736" y="12867"/>
                    <a:pt x="6361" y="15053"/>
                    <a:pt x="4237" y="16615"/>
                  </a:cubicBezTo>
                  <a:cubicBezTo>
                    <a:pt x="3925" y="16615"/>
                    <a:pt x="3613" y="16615"/>
                    <a:pt x="3300" y="16615"/>
                  </a:cubicBezTo>
                  <a:cubicBezTo>
                    <a:pt x="1739" y="15303"/>
                    <a:pt x="2051" y="13304"/>
                    <a:pt x="1177" y="11743"/>
                  </a:cubicBezTo>
                  <a:lnTo>
                    <a:pt x="1177" y="11743"/>
                  </a:lnTo>
                  <a:cubicBezTo>
                    <a:pt x="490" y="10181"/>
                    <a:pt x="-197" y="8620"/>
                    <a:pt x="52" y="6933"/>
                  </a:cubicBezTo>
                  <a:cubicBezTo>
                    <a:pt x="52" y="6621"/>
                    <a:pt x="52" y="6309"/>
                    <a:pt x="115" y="5934"/>
                  </a:cubicBezTo>
                  <a:cubicBezTo>
                    <a:pt x="490" y="5497"/>
                    <a:pt x="802" y="5497"/>
                    <a:pt x="1177" y="5934"/>
                  </a:cubicBezTo>
                  <a:close/>
                </a:path>
              </a:pathLst>
            </a:custGeom>
            <a:grpFill/>
            <a:ln w="6246" cap="flat">
              <a:noFill/>
              <a:prstDash val="solid"/>
              <a:miter/>
            </a:ln>
          </p:spPr>
          <p:txBody>
            <a:bodyPr rtlCol="0" anchor="ctr"/>
            <a:lstStyle/>
            <a:p>
              <a:endParaRPr lang="fr-FR" sz="2400"/>
            </a:p>
          </p:txBody>
        </p:sp>
        <p:sp>
          <p:nvSpPr>
            <p:cNvPr id="171" name="Freeform: Shape 170">
              <a:extLst>
                <a:ext uri="{FF2B5EF4-FFF2-40B4-BE49-F238E27FC236}">
                  <a16:creationId xmlns:a16="http://schemas.microsoft.com/office/drawing/2014/main" id="{ED5E99F4-DF8E-4E59-AADD-7099D9016D73}"/>
                </a:ext>
              </a:extLst>
            </p:cNvPr>
            <p:cNvSpPr/>
            <p:nvPr/>
          </p:nvSpPr>
          <p:spPr>
            <a:xfrm>
              <a:off x="1088522" y="550363"/>
              <a:ext cx="6246" cy="6246"/>
            </a:xfrm>
            <a:custGeom>
              <a:avLst/>
              <a:gdLst>
                <a:gd name="connsiteX0" fmla="*/ 2134 w 0"/>
                <a:gd name="connsiteY0" fmla="*/ 477 h 6246"/>
                <a:gd name="connsiteX1" fmla="*/ 2134 w 0"/>
                <a:gd name="connsiteY1" fmla="*/ 9159 h 6246"/>
                <a:gd name="connsiteX2" fmla="*/ 1197 w 0"/>
                <a:gd name="connsiteY2" fmla="*/ 9159 h 6246"/>
                <a:gd name="connsiteX3" fmla="*/ 72 w 0"/>
                <a:gd name="connsiteY3" fmla="*/ 414 h 6246"/>
                <a:gd name="connsiteX4" fmla="*/ 2134 w 0"/>
                <a:gd name="connsiteY4" fmla="*/ 47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34" y="477"/>
                  </a:moveTo>
                  <a:cubicBezTo>
                    <a:pt x="2134" y="3350"/>
                    <a:pt x="2134" y="6285"/>
                    <a:pt x="2134" y="9159"/>
                  </a:cubicBezTo>
                  <a:cubicBezTo>
                    <a:pt x="1821" y="9596"/>
                    <a:pt x="1509" y="9596"/>
                    <a:pt x="1197" y="9159"/>
                  </a:cubicBezTo>
                  <a:cubicBezTo>
                    <a:pt x="-677" y="6410"/>
                    <a:pt x="260" y="3350"/>
                    <a:pt x="72" y="414"/>
                  </a:cubicBezTo>
                  <a:cubicBezTo>
                    <a:pt x="759" y="-148"/>
                    <a:pt x="1446" y="-148"/>
                    <a:pt x="2134" y="477"/>
                  </a:cubicBezTo>
                  <a:close/>
                </a:path>
              </a:pathLst>
            </a:custGeom>
            <a:grpFill/>
            <a:ln w="6246" cap="flat">
              <a:noFill/>
              <a:prstDash val="solid"/>
              <a:miter/>
            </a:ln>
          </p:spPr>
          <p:txBody>
            <a:bodyPr rtlCol="0" anchor="ctr"/>
            <a:lstStyle/>
            <a:p>
              <a:endParaRPr lang="fr-FR" sz="2400"/>
            </a:p>
          </p:txBody>
        </p:sp>
        <p:sp>
          <p:nvSpPr>
            <p:cNvPr id="172" name="Freeform: Shape 171">
              <a:extLst>
                <a:ext uri="{FF2B5EF4-FFF2-40B4-BE49-F238E27FC236}">
                  <a16:creationId xmlns:a16="http://schemas.microsoft.com/office/drawing/2014/main" id="{1B1DA8E5-4ABE-4FD9-A9B5-5E216B35FB0C}"/>
                </a:ext>
              </a:extLst>
            </p:cNvPr>
            <p:cNvSpPr/>
            <p:nvPr/>
          </p:nvSpPr>
          <p:spPr>
            <a:xfrm>
              <a:off x="1089590" y="559522"/>
              <a:ext cx="6246" cy="6246"/>
            </a:xfrm>
            <a:custGeom>
              <a:avLst/>
              <a:gdLst>
                <a:gd name="connsiteX0" fmla="*/ 129 w 0"/>
                <a:gd name="connsiteY0" fmla="*/ 0 h 6246"/>
                <a:gd name="connsiteX1" fmla="*/ 1066 w 0"/>
                <a:gd name="connsiteY1" fmla="*/ 0 h 6246"/>
                <a:gd name="connsiteX2" fmla="*/ 2190 w 0"/>
                <a:gd name="connsiteY2" fmla="*/ 8682 h 6246"/>
                <a:gd name="connsiteX3" fmla="*/ 129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29" y="0"/>
                  </a:moveTo>
                  <a:cubicBezTo>
                    <a:pt x="441" y="0"/>
                    <a:pt x="753" y="0"/>
                    <a:pt x="1066" y="0"/>
                  </a:cubicBezTo>
                  <a:cubicBezTo>
                    <a:pt x="1441" y="2873"/>
                    <a:pt x="1815" y="5809"/>
                    <a:pt x="2190" y="8682"/>
                  </a:cubicBezTo>
                  <a:cubicBezTo>
                    <a:pt x="-870" y="6246"/>
                    <a:pt x="191" y="2998"/>
                    <a:pt x="129" y="0"/>
                  </a:cubicBezTo>
                  <a:close/>
                </a:path>
              </a:pathLst>
            </a:custGeom>
            <a:grpFill/>
            <a:ln w="6246" cap="flat">
              <a:noFill/>
              <a:prstDash val="solid"/>
              <a:miter/>
            </a:ln>
          </p:spPr>
          <p:txBody>
            <a:bodyPr rtlCol="0" anchor="ctr"/>
            <a:lstStyle/>
            <a:p>
              <a:endParaRPr lang="fr-FR" sz="2400"/>
            </a:p>
          </p:txBody>
        </p:sp>
        <p:sp>
          <p:nvSpPr>
            <p:cNvPr id="173" name="Freeform: Shape 172">
              <a:extLst>
                <a:ext uri="{FF2B5EF4-FFF2-40B4-BE49-F238E27FC236}">
                  <a16:creationId xmlns:a16="http://schemas.microsoft.com/office/drawing/2014/main" id="{7CACEB65-E5C5-44E0-822E-468987857465}"/>
                </a:ext>
              </a:extLst>
            </p:cNvPr>
            <p:cNvSpPr/>
            <p:nvPr/>
          </p:nvSpPr>
          <p:spPr>
            <a:xfrm>
              <a:off x="1088594" y="546967"/>
              <a:ext cx="6246" cy="6246"/>
            </a:xfrm>
            <a:custGeom>
              <a:avLst/>
              <a:gdLst>
                <a:gd name="connsiteX0" fmla="*/ 2061 w 0"/>
                <a:gd name="connsiteY0" fmla="*/ 3873 h 0"/>
                <a:gd name="connsiteX1" fmla="*/ 0 w 0"/>
                <a:gd name="connsiteY1" fmla="*/ 3873 h 0"/>
                <a:gd name="connsiteX2" fmla="*/ 0 w 0"/>
                <a:gd name="connsiteY2" fmla="*/ 0 h 0"/>
                <a:gd name="connsiteX3" fmla="*/ 2061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2061" y="3873"/>
                  </a:moveTo>
                  <a:cubicBezTo>
                    <a:pt x="1374" y="3873"/>
                    <a:pt x="687" y="3873"/>
                    <a:pt x="0" y="3873"/>
                  </a:cubicBezTo>
                  <a:cubicBezTo>
                    <a:pt x="0" y="2561"/>
                    <a:pt x="0" y="1312"/>
                    <a:pt x="0" y="0"/>
                  </a:cubicBezTo>
                  <a:cubicBezTo>
                    <a:pt x="1874" y="750"/>
                    <a:pt x="2186" y="2249"/>
                    <a:pt x="2061" y="3873"/>
                  </a:cubicBezTo>
                  <a:close/>
                </a:path>
              </a:pathLst>
            </a:custGeom>
            <a:grpFill/>
            <a:ln w="6246" cap="flat">
              <a:noFill/>
              <a:prstDash val="solid"/>
              <a:miter/>
            </a:ln>
          </p:spPr>
          <p:txBody>
            <a:bodyPr rtlCol="0" anchor="ctr"/>
            <a:lstStyle/>
            <a:p>
              <a:endParaRPr lang="fr-FR" sz="2400"/>
            </a:p>
          </p:txBody>
        </p:sp>
        <p:sp>
          <p:nvSpPr>
            <p:cNvPr id="174" name="Freeform: Shape 173">
              <a:extLst>
                <a:ext uri="{FF2B5EF4-FFF2-40B4-BE49-F238E27FC236}">
                  <a16:creationId xmlns:a16="http://schemas.microsoft.com/office/drawing/2014/main" id="{9D538CA6-B8C1-4075-889B-4AF6B42A97A3}"/>
                </a:ext>
              </a:extLst>
            </p:cNvPr>
            <p:cNvSpPr/>
            <p:nvPr/>
          </p:nvSpPr>
          <p:spPr>
            <a:xfrm>
              <a:off x="1091307" y="569141"/>
              <a:ext cx="6246" cy="6246"/>
            </a:xfrm>
            <a:custGeom>
              <a:avLst/>
              <a:gdLst>
                <a:gd name="connsiteX0" fmla="*/ 1535 w 0"/>
                <a:gd name="connsiteY0" fmla="*/ 3873 h 0"/>
                <a:gd name="connsiteX1" fmla="*/ 473 w 0"/>
                <a:gd name="connsiteY1" fmla="*/ 3873 h 0"/>
                <a:gd name="connsiteX2" fmla="*/ 473 w 0"/>
                <a:gd name="connsiteY2" fmla="*/ 0 h 0"/>
                <a:gd name="connsiteX3" fmla="*/ 1535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535" y="3873"/>
                  </a:moveTo>
                  <a:cubicBezTo>
                    <a:pt x="1160" y="3873"/>
                    <a:pt x="786" y="3873"/>
                    <a:pt x="473" y="3873"/>
                  </a:cubicBezTo>
                  <a:cubicBezTo>
                    <a:pt x="348" y="2561"/>
                    <a:pt x="-526" y="1312"/>
                    <a:pt x="473" y="0"/>
                  </a:cubicBezTo>
                  <a:cubicBezTo>
                    <a:pt x="1972" y="1062"/>
                    <a:pt x="1410" y="2561"/>
                    <a:pt x="1535" y="3873"/>
                  </a:cubicBezTo>
                  <a:close/>
                </a:path>
              </a:pathLst>
            </a:custGeom>
            <a:grpFill/>
            <a:ln w="6246" cap="flat">
              <a:noFill/>
              <a:prstDash val="solid"/>
              <a:miter/>
            </a:ln>
          </p:spPr>
          <p:txBody>
            <a:bodyPr rtlCol="0" anchor="ctr"/>
            <a:lstStyle/>
            <a:p>
              <a:endParaRPr lang="fr-FR" sz="2400"/>
            </a:p>
          </p:txBody>
        </p:sp>
        <p:sp>
          <p:nvSpPr>
            <p:cNvPr id="175" name="Freeform: Shape 174">
              <a:extLst>
                <a:ext uri="{FF2B5EF4-FFF2-40B4-BE49-F238E27FC236}">
                  <a16:creationId xmlns:a16="http://schemas.microsoft.com/office/drawing/2014/main" id="{6FDC49A9-7363-44A8-9EED-61F536068332}"/>
                </a:ext>
              </a:extLst>
            </p:cNvPr>
            <p:cNvSpPr/>
            <p:nvPr/>
          </p:nvSpPr>
          <p:spPr>
            <a:xfrm>
              <a:off x="1090762" y="537223"/>
              <a:ext cx="6246" cy="6246"/>
            </a:xfrm>
            <a:custGeom>
              <a:avLst/>
              <a:gdLst>
                <a:gd name="connsiteX0" fmla="*/ 2080 w 0"/>
                <a:gd name="connsiteY0" fmla="*/ 8745 h 6246"/>
                <a:gd name="connsiteX1" fmla="*/ 1018 w 0"/>
                <a:gd name="connsiteY1" fmla="*/ 2936 h 6246"/>
                <a:gd name="connsiteX2" fmla="*/ 3142 w 0"/>
                <a:gd name="connsiteY2" fmla="*/ 0 h 6246"/>
                <a:gd name="connsiteX3" fmla="*/ 4828 w 0"/>
                <a:gd name="connsiteY3" fmla="*/ 1062 h 6246"/>
                <a:gd name="connsiteX4" fmla="*/ 5078 w 0"/>
                <a:gd name="connsiteY4" fmla="*/ 2936 h 6246"/>
                <a:gd name="connsiteX5" fmla="*/ 5453 w 0"/>
                <a:gd name="connsiteY5" fmla="*/ 7308 h 6246"/>
                <a:gd name="connsiteX6" fmla="*/ 4578 w 0"/>
                <a:gd name="connsiteY6" fmla="*/ 10556 h 6246"/>
                <a:gd name="connsiteX7" fmla="*/ 2080 w 0"/>
                <a:gd name="connsiteY7" fmla="*/ 8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2080" y="8745"/>
                  </a:moveTo>
                  <a:cubicBezTo>
                    <a:pt x="-481" y="7121"/>
                    <a:pt x="-481" y="5184"/>
                    <a:pt x="1018" y="2936"/>
                  </a:cubicBezTo>
                  <a:cubicBezTo>
                    <a:pt x="1018" y="1562"/>
                    <a:pt x="1018" y="187"/>
                    <a:pt x="3142" y="0"/>
                  </a:cubicBezTo>
                  <a:cubicBezTo>
                    <a:pt x="3891" y="62"/>
                    <a:pt x="4453" y="500"/>
                    <a:pt x="4828" y="1062"/>
                  </a:cubicBezTo>
                  <a:cubicBezTo>
                    <a:pt x="5078" y="1686"/>
                    <a:pt x="5140" y="2311"/>
                    <a:pt x="5078" y="2936"/>
                  </a:cubicBezTo>
                  <a:cubicBezTo>
                    <a:pt x="4578" y="4435"/>
                    <a:pt x="5265" y="5871"/>
                    <a:pt x="5453" y="7308"/>
                  </a:cubicBezTo>
                  <a:cubicBezTo>
                    <a:pt x="5578" y="8495"/>
                    <a:pt x="5453" y="9619"/>
                    <a:pt x="4578" y="10556"/>
                  </a:cubicBezTo>
                  <a:cubicBezTo>
                    <a:pt x="2392" y="11368"/>
                    <a:pt x="2642" y="9619"/>
                    <a:pt x="2080" y="8745"/>
                  </a:cubicBezTo>
                  <a:close/>
                </a:path>
              </a:pathLst>
            </a:custGeom>
            <a:grpFill/>
            <a:ln w="6246" cap="flat">
              <a:noFill/>
              <a:prstDash val="solid"/>
              <a:miter/>
            </a:ln>
          </p:spPr>
          <p:txBody>
            <a:bodyPr rtlCol="0" anchor="ctr"/>
            <a:lstStyle/>
            <a:p>
              <a:endParaRPr lang="fr-FR" sz="2400"/>
            </a:p>
          </p:txBody>
        </p:sp>
        <p:sp>
          <p:nvSpPr>
            <p:cNvPr id="176" name="Freeform: Shape 175">
              <a:extLst>
                <a:ext uri="{FF2B5EF4-FFF2-40B4-BE49-F238E27FC236}">
                  <a16:creationId xmlns:a16="http://schemas.microsoft.com/office/drawing/2014/main" id="{99236C4C-4258-4F6A-A950-E9B83DCD64B2}"/>
                </a:ext>
              </a:extLst>
            </p:cNvPr>
            <p:cNvSpPr/>
            <p:nvPr/>
          </p:nvSpPr>
          <p:spPr>
            <a:xfrm>
              <a:off x="1093396" y="529416"/>
              <a:ext cx="6246" cy="6246"/>
            </a:xfrm>
            <a:custGeom>
              <a:avLst/>
              <a:gdLst>
                <a:gd name="connsiteX0" fmla="*/ 1445 w 0"/>
                <a:gd name="connsiteY0" fmla="*/ 8869 h 6246"/>
                <a:gd name="connsiteX1" fmla="*/ 508 w 0"/>
                <a:gd name="connsiteY1" fmla="*/ 7808 h 6246"/>
                <a:gd name="connsiteX2" fmla="*/ 1507 w 0"/>
                <a:gd name="connsiteY2" fmla="*/ 0 h 6246"/>
                <a:gd name="connsiteX3" fmla="*/ 1757 w 0"/>
                <a:gd name="connsiteY3" fmla="*/ 187 h 6246"/>
                <a:gd name="connsiteX4" fmla="*/ 1445 w 0"/>
                <a:gd name="connsiteY4" fmla="*/ 886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1445" y="8869"/>
                  </a:moveTo>
                  <a:cubicBezTo>
                    <a:pt x="1132" y="8495"/>
                    <a:pt x="820" y="8182"/>
                    <a:pt x="508" y="7808"/>
                  </a:cubicBezTo>
                  <a:cubicBezTo>
                    <a:pt x="-429" y="5059"/>
                    <a:pt x="-54" y="2498"/>
                    <a:pt x="1507" y="0"/>
                  </a:cubicBezTo>
                  <a:cubicBezTo>
                    <a:pt x="1507" y="0"/>
                    <a:pt x="1757" y="187"/>
                    <a:pt x="1757" y="187"/>
                  </a:cubicBezTo>
                  <a:cubicBezTo>
                    <a:pt x="4443" y="3185"/>
                    <a:pt x="5192" y="6121"/>
                    <a:pt x="1445" y="8869"/>
                  </a:cubicBezTo>
                  <a:close/>
                </a:path>
              </a:pathLst>
            </a:custGeom>
            <a:grpFill/>
            <a:ln w="6246" cap="flat">
              <a:noFill/>
              <a:prstDash val="solid"/>
              <a:miter/>
            </a:ln>
          </p:spPr>
          <p:txBody>
            <a:bodyPr rtlCol="0" anchor="ctr"/>
            <a:lstStyle/>
            <a:p>
              <a:endParaRPr lang="fr-FR" sz="2400"/>
            </a:p>
          </p:txBody>
        </p:sp>
        <p:sp>
          <p:nvSpPr>
            <p:cNvPr id="177" name="Freeform: Shape 176">
              <a:extLst>
                <a:ext uri="{FF2B5EF4-FFF2-40B4-BE49-F238E27FC236}">
                  <a16:creationId xmlns:a16="http://schemas.microsoft.com/office/drawing/2014/main" id="{3A1C0177-87DE-4496-ABE7-A08806C43FED}"/>
                </a:ext>
              </a:extLst>
            </p:cNvPr>
            <p:cNvSpPr/>
            <p:nvPr/>
          </p:nvSpPr>
          <p:spPr>
            <a:xfrm>
              <a:off x="1095902" y="577885"/>
              <a:ext cx="6246" cy="6246"/>
            </a:xfrm>
            <a:custGeom>
              <a:avLst/>
              <a:gdLst>
                <a:gd name="connsiteX0" fmla="*/ 0 w 0"/>
                <a:gd name="connsiteY0" fmla="*/ 5871 h 6246"/>
                <a:gd name="connsiteX1" fmla="*/ 125 w 0"/>
                <a:gd name="connsiteY1" fmla="*/ 0 h 6246"/>
                <a:gd name="connsiteX2" fmla="*/ 2186 w 0"/>
                <a:gd name="connsiteY2" fmla="*/ 10806 h 6246"/>
                <a:gd name="connsiteX3" fmla="*/ 1249 w 0"/>
                <a:gd name="connsiteY3" fmla="*/ 10556 h 6246"/>
                <a:gd name="connsiteX4" fmla="*/ 0 w 0"/>
                <a:gd name="connsiteY4" fmla="*/ 587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0" y="5871"/>
                  </a:moveTo>
                  <a:cubicBezTo>
                    <a:pt x="63" y="3935"/>
                    <a:pt x="63" y="1936"/>
                    <a:pt x="125" y="0"/>
                  </a:cubicBezTo>
                  <a:cubicBezTo>
                    <a:pt x="4310" y="2498"/>
                    <a:pt x="4934" y="5934"/>
                    <a:pt x="2186" y="10806"/>
                  </a:cubicBezTo>
                  <a:cubicBezTo>
                    <a:pt x="1874" y="10681"/>
                    <a:pt x="1562" y="10618"/>
                    <a:pt x="1249" y="10556"/>
                  </a:cubicBezTo>
                  <a:cubicBezTo>
                    <a:pt x="812" y="8994"/>
                    <a:pt x="437" y="7433"/>
                    <a:pt x="0" y="5871"/>
                  </a:cubicBezTo>
                  <a:close/>
                </a:path>
              </a:pathLst>
            </a:custGeom>
            <a:grpFill/>
            <a:ln w="6246" cap="flat">
              <a:noFill/>
              <a:prstDash val="solid"/>
              <a:miter/>
            </a:ln>
          </p:spPr>
          <p:txBody>
            <a:bodyPr rtlCol="0" anchor="ctr"/>
            <a:lstStyle/>
            <a:p>
              <a:endParaRPr lang="fr-FR" sz="2400"/>
            </a:p>
          </p:txBody>
        </p:sp>
        <p:sp>
          <p:nvSpPr>
            <p:cNvPr id="178" name="Freeform: Shape 177">
              <a:extLst>
                <a:ext uri="{FF2B5EF4-FFF2-40B4-BE49-F238E27FC236}">
                  <a16:creationId xmlns:a16="http://schemas.microsoft.com/office/drawing/2014/main" id="{E89627B5-84BB-4EE2-95F6-4C48799CB9CB}"/>
                </a:ext>
              </a:extLst>
            </p:cNvPr>
            <p:cNvSpPr/>
            <p:nvPr/>
          </p:nvSpPr>
          <p:spPr>
            <a:xfrm>
              <a:off x="1093966" y="564081"/>
              <a:ext cx="6246" cy="24984"/>
            </a:xfrm>
            <a:custGeom>
              <a:avLst/>
              <a:gdLst>
                <a:gd name="connsiteX0" fmla="*/ 4122 w 6246"/>
                <a:gd name="connsiteY0" fmla="*/ 24610 h 24984"/>
                <a:gd name="connsiteX1" fmla="*/ 2061 w 6246"/>
                <a:gd name="connsiteY1" fmla="*/ 13804 h 24984"/>
                <a:gd name="connsiteX2" fmla="*/ 63 w 6246"/>
                <a:gd name="connsiteY2" fmla="*/ 3061 h 24984"/>
                <a:gd name="connsiteX3" fmla="*/ 0 w 6246"/>
                <a:gd name="connsiteY3" fmla="*/ 375 h 24984"/>
                <a:gd name="connsiteX4" fmla="*/ 2811 w 6246"/>
                <a:gd name="connsiteY4" fmla="*/ 0 h 24984"/>
                <a:gd name="connsiteX5" fmla="*/ 3810 w 6246"/>
                <a:gd name="connsiteY5" fmla="*/ 750 h 24984"/>
                <a:gd name="connsiteX6" fmla="*/ 4060 w 6246"/>
                <a:gd name="connsiteY6" fmla="*/ 3248 h 24984"/>
                <a:gd name="connsiteX7" fmla="*/ 5809 w 6246"/>
                <a:gd name="connsiteY7" fmla="*/ 8182 h 24984"/>
                <a:gd name="connsiteX8" fmla="*/ 6808 w 6246"/>
                <a:gd name="connsiteY8" fmla="*/ 14179 h 24984"/>
                <a:gd name="connsiteX9" fmla="*/ 5871 w 6246"/>
                <a:gd name="connsiteY9" fmla="*/ 25047 h 24984"/>
                <a:gd name="connsiteX10" fmla="*/ 4247 w 6246"/>
                <a:gd name="connsiteY10" fmla="*/ 25421 h 24984"/>
                <a:gd name="connsiteX11" fmla="*/ 4122 w 6246"/>
                <a:gd name="connsiteY11" fmla="*/ 2461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24984">
                  <a:moveTo>
                    <a:pt x="4122" y="24610"/>
                  </a:moveTo>
                  <a:cubicBezTo>
                    <a:pt x="4122" y="20924"/>
                    <a:pt x="4934" y="17052"/>
                    <a:pt x="2061" y="13804"/>
                  </a:cubicBezTo>
                  <a:cubicBezTo>
                    <a:pt x="-437" y="10493"/>
                    <a:pt x="2311" y="6371"/>
                    <a:pt x="63" y="3061"/>
                  </a:cubicBezTo>
                  <a:cubicBezTo>
                    <a:pt x="63" y="2186"/>
                    <a:pt x="0" y="1249"/>
                    <a:pt x="0" y="375"/>
                  </a:cubicBezTo>
                  <a:cubicBezTo>
                    <a:pt x="874" y="-187"/>
                    <a:pt x="1936" y="375"/>
                    <a:pt x="2811" y="0"/>
                  </a:cubicBezTo>
                  <a:cubicBezTo>
                    <a:pt x="3248" y="125"/>
                    <a:pt x="3560" y="375"/>
                    <a:pt x="3810" y="750"/>
                  </a:cubicBezTo>
                  <a:cubicBezTo>
                    <a:pt x="4185" y="1562"/>
                    <a:pt x="4185" y="2374"/>
                    <a:pt x="4060" y="3248"/>
                  </a:cubicBezTo>
                  <a:cubicBezTo>
                    <a:pt x="2998" y="5372"/>
                    <a:pt x="4185" y="6871"/>
                    <a:pt x="5809" y="8182"/>
                  </a:cubicBezTo>
                  <a:cubicBezTo>
                    <a:pt x="7058" y="10056"/>
                    <a:pt x="6683" y="12180"/>
                    <a:pt x="6808" y="14179"/>
                  </a:cubicBezTo>
                  <a:cubicBezTo>
                    <a:pt x="6433" y="17801"/>
                    <a:pt x="7620" y="21549"/>
                    <a:pt x="5871" y="25047"/>
                  </a:cubicBezTo>
                  <a:cubicBezTo>
                    <a:pt x="5434" y="25609"/>
                    <a:pt x="4872" y="25734"/>
                    <a:pt x="4247" y="25421"/>
                  </a:cubicBezTo>
                  <a:cubicBezTo>
                    <a:pt x="4185" y="25109"/>
                    <a:pt x="4122" y="24859"/>
                    <a:pt x="4122" y="24610"/>
                  </a:cubicBezTo>
                  <a:close/>
                </a:path>
              </a:pathLst>
            </a:custGeom>
            <a:grpFill/>
            <a:ln w="6246" cap="flat">
              <a:noFill/>
              <a:prstDash val="solid"/>
              <a:miter/>
            </a:ln>
          </p:spPr>
          <p:txBody>
            <a:bodyPr rtlCol="0" anchor="ctr"/>
            <a:lstStyle/>
            <a:p>
              <a:endParaRPr lang="fr-FR" sz="2400"/>
            </a:p>
          </p:txBody>
        </p:sp>
        <p:sp>
          <p:nvSpPr>
            <p:cNvPr id="179" name="Freeform: Shape 178">
              <a:extLst>
                <a:ext uri="{FF2B5EF4-FFF2-40B4-BE49-F238E27FC236}">
                  <a16:creationId xmlns:a16="http://schemas.microsoft.com/office/drawing/2014/main" id="{5709F8C2-B0FD-4B50-8E10-36EA0CB448C3}"/>
                </a:ext>
              </a:extLst>
            </p:cNvPr>
            <p:cNvSpPr/>
            <p:nvPr/>
          </p:nvSpPr>
          <p:spPr>
            <a:xfrm>
              <a:off x="1098213" y="589503"/>
              <a:ext cx="6246" cy="12492"/>
            </a:xfrm>
            <a:custGeom>
              <a:avLst/>
              <a:gdLst>
                <a:gd name="connsiteX0" fmla="*/ 0 w 0"/>
                <a:gd name="connsiteY0" fmla="*/ 0 h 12492"/>
                <a:gd name="connsiteX1" fmla="*/ 999 w 0"/>
                <a:gd name="connsiteY1" fmla="*/ 0 h 12492"/>
                <a:gd name="connsiteX2" fmla="*/ 4934 w 0"/>
                <a:gd name="connsiteY2" fmla="*/ 5621 h 12492"/>
                <a:gd name="connsiteX3" fmla="*/ 4310 w 0"/>
                <a:gd name="connsiteY3" fmla="*/ 7558 h 12492"/>
                <a:gd name="connsiteX4" fmla="*/ 4122 w 0"/>
                <a:gd name="connsiteY4" fmla="*/ 12680 h 12492"/>
                <a:gd name="connsiteX5" fmla="*/ 0 w 0"/>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0" y="0"/>
                  </a:moveTo>
                  <a:cubicBezTo>
                    <a:pt x="312" y="0"/>
                    <a:pt x="687" y="0"/>
                    <a:pt x="999" y="0"/>
                  </a:cubicBezTo>
                  <a:cubicBezTo>
                    <a:pt x="3935" y="937"/>
                    <a:pt x="4185" y="3435"/>
                    <a:pt x="4934" y="5621"/>
                  </a:cubicBezTo>
                  <a:cubicBezTo>
                    <a:pt x="4997" y="6371"/>
                    <a:pt x="4934" y="6996"/>
                    <a:pt x="4310" y="7558"/>
                  </a:cubicBezTo>
                  <a:cubicBezTo>
                    <a:pt x="4247" y="9244"/>
                    <a:pt x="4185" y="10931"/>
                    <a:pt x="4122" y="12680"/>
                  </a:cubicBezTo>
                  <a:cubicBezTo>
                    <a:pt x="1936" y="8682"/>
                    <a:pt x="1749" y="4122"/>
                    <a:pt x="0" y="0"/>
                  </a:cubicBezTo>
                  <a:close/>
                </a:path>
              </a:pathLst>
            </a:custGeom>
            <a:grpFill/>
            <a:ln w="6246" cap="flat">
              <a:noFill/>
              <a:prstDash val="solid"/>
              <a:miter/>
            </a:ln>
          </p:spPr>
          <p:txBody>
            <a:bodyPr rtlCol="0" anchor="ctr"/>
            <a:lstStyle/>
            <a:p>
              <a:endParaRPr lang="fr-FR" sz="2400"/>
            </a:p>
          </p:txBody>
        </p:sp>
        <p:sp>
          <p:nvSpPr>
            <p:cNvPr id="180" name="Freeform: Shape 179">
              <a:extLst>
                <a:ext uri="{FF2B5EF4-FFF2-40B4-BE49-F238E27FC236}">
                  <a16:creationId xmlns:a16="http://schemas.microsoft.com/office/drawing/2014/main" id="{4769C97C-DEEE-44F3-A256-025209879FD1}"/>
                </a:ext>
              </a:extLst>
            </p:cNvPr>
            <p:cNvSpPr/>
            <p:nvPr/>
          </p:nvSpPr>
          <p:spPr>
            <a:xfrm>
              <a:off x="1101340" y="587002"/>
              <a:ext cx="6246" cy="18738"/>
            </a:xfrm>
            <a:custGeom>
              <a:avLst/>
              <a:gdLst>
                <a:gd name="connsiteX0" fmla="*/ 1245 w 6246"/>
                <a:gd name="connsiteY0" fmla="*/ 10059 h 18738"/>
                <a:gd name="connsiteX1" fmla="*/ 1058 w 6246"/>
                <a:gd name="connsiteY1" fmla="*/ 8372 h 18738"/>
                <a:gd name="connsiteX2" fmla="*/ 870 w 6246"/>
                <a:gd name="connsiteY2" fmla="*/ 440 h 18738"/>
                <a:gd name="connsiteX3" fmla="*/ 3119 w 6246"/>
                <a:gd name="connsiteY3" fmla="*/ 127 h 18738"/>
                <a:gd name="connsiteX4" fmla="*/ 4431 w 6246"/>
                <a:gd name="connsiteY4" fmla="*/ 4999 h 18738"/>
                <a:gd name="connsiteX5" fmla="*/ 6492 w 6246"/>
                <a:gd name="connsiteY5" fmla="*/ 7935 h 18738"/>
                <a:gd name="connsiteX6" fmla="*/ 8366 w 6246"/>
                <a:gd name="connsiteY6" fmla="*/ 11495 h 18738"/>
                <a:gd name="connsiteX7" fmla="*/ 11426 w 6246"/>
                <a:gd name="connsiteY7" fmla="*/ 19178 h 18738"/>
                <a:gd name="connsiteX8" fmla="*/ 10802 w 6246"/>
                <a:gd name="connsiteY8" fmla="*/ 22988 h 18738"/>
                <a:gd name="connsiteX9" fmla="*/ 5430 w 6246"/>
                <a:gd name="connsiteY9" fmla="*/ 19802 h 18738"/>
                <a:gd name="connsiteX10" fmla="*/ 1245 w 6246"/>
                <a:gd name="connsiteY10" fmla="*/ 1005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1245" y="10059"/>
                  </a:moveTo>
                  <a:cubicBezTo>
                    <a:pt x="1183" y="9496"/>
                    <a:pt x="1120" y="8934"/>
                    <a:pt x="1058" y="8372"/>
                  </a:cubicBezTo>
                  <a:cubicBezTo>
                    <a:pt x="558" y="5749"/>
                    <a:pt x="-941" y="3125"/>
                    <a:pt x="870" y="440"/>
                  </a:cubicBezTo>
                  <a:cubicBezTo>
                    <a:pt x="1557" y="2"/>
                    <a:pt x="2307" y="-123"/>
                    <a:pt x="3119" y="127"/>
                  </a:cubicBezTo>
                  <a:cubicBezTo>
                    <a:pt x="4993" y="1439"/>
                    <a:pt x="4181" y="3375"/>
                    <a:pt x="4431" y="4999"/>
                  </a:cubicBezTo>
                  <a:cubicBezTo>
                    <a:pt x="4556" y="6311"/>
                    <a:pt x="5555" y="7060"/>
                    <a:pt x="6492" y="7935"/>
                  </a:cubicBezTo>
                  <a:cubicBezTo>
                    <a:pt x="7679" y="8809"/>
                    <a:pt x="5368" y="10558"/>
                    <a:pt x="8366" y="11495"/>
                  </a:cubicBezTo>
                  <a:cubicBezTo>
                    <a:pt x="11489" y="12495"/>
                    <a:pt x="10552" y="16492"/>
                    <a:pt x="11426" y="19178"/>
                  </a:cubicBezTo>
                  <a:cubicBezTo>
                    <a:pt x="11426" y="20490"/>
                    <a:pt x="11738" y="21801"/>
                    <a:pt x="10802" y="22988"/>
                  </a:cubicBezTo>
                  <a:cubicBezTo>
                    <a:pt x="7366" y="24175"/>
                    <a:pt x="7241" y="20864"/>
                    <a:pt x="5430" y="19802"/>
                  </a:cubicBezTo>
                  <a:cubicBezTo>
                    <a:pt x="2869" y="16992"/>
                    <a:pt x="2994" y="13182"/>
                    <a:pt x="1245" y="10059"/>
                  </a:cubicBezTo>
                  <a:close/>
                </a:path>
              </a:pathLst>
            </a:custGeom>
            <a:grpFill/>
            <a:ln w="6246" cap="flat">
              <a:noFill/>
              <a:prstDash val="solid"/>
              <a:miter/>
            </a:ln>
          </p:spPr>
          <p:txBody>
            <a:bodyPr rtlCol="0" anchor="ctr"/>
            <a:lstStyle/>
            <a:p>
              <a:endParaRPr lang="fr-FR" sz="2400"/>
            </a:p>
          </p:txBody>
        </p:sp>
        <p:sp>
          <p:nvSpPr>
            <p:cNvPr id="181" name="Freeform: Shape 180">
              <a:extLst>
                <a:ext uri="{FF2B5EF4-FFF2-40B4-BE49-F238E27FC236}">
                  <a16:creationId xmlns:a16="http://schemas.microsoft.com/office/drawing/2014/main" id="{B44776A2-0CE0-4E6E-9D3F-FC305E184BBF}"/>
                </a:ext>
              </a:extLst>
            </p:cNvPr>
            <p:cNvSpPr/>
            <p:nvPr/>
          </p:nvSpPr>
          <p:spPr>
            <a:xfrm>
              <a:off x="1106770" y="606833"/>
              <a:ext cx="12492" cy="12492"/>
            </a:xfrm>
            <a:custGeom>
              <a:avLst/>
              <a:gdLst>
                <a:gd name="connsiteX0" fmla="*/ 0 w 12492"/>
                <a:gd name="connsiteY0" fmla="*/ 34 h 12492"/>
                <a:gd name="connsiteX1" fmla="*/ 5309 w 12492"/>
                <a:gd name="connsiteY1" fmla="*/ 2969 h 12492"/>
                <a:gd name="connsiteX2" fmla="*/ 10493 w 12492"/>
                <a:gd name="connsiteY2" fmla="*/ 8091 h 12492"/>
                <a:gd name="connsiteX3" fmla="*/ 13492 w 12492"/>
                <a:gd name="connsiteY3" fmla="*/ 11152 h 12492"/>
                <a:gd name="connsiteX4" fmla="*/ 11868 w 12492"/>
                <a:gd name="connsiteY4" fmla="*/ 14212 h 12492"/>
                <a:gd name="connsiteX5" fmla="*/ 9556 w 12492"/>
                <a:gd name="connsiteY5" fmla="*/ 13587 h 12492"/>
                <a:gd name="connsiteX6" fmla="*/ 9556 w 12492"/>
                <a:gd name="connsiteY6" fmla="*/ 13587 h 12492"/>
                <a:gd name="connsiteX7" fmla="*/ 4372 w 12492"/>
                <a:gd name="connsiteY7" fmla="*/ 9528 h 12492"/>
                <a:gd name="connsiteX8" fmla="*/ 1874 w 12492"/>
                <a:gd name="connsiteY8" fmla="*/ 3969 h 12492"/>
                <a:gd name="connsiteX9" fmla="*/ 0 w 12492"/>
                <a:gd name="connsiteY9" fmla="*/ 3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12492">
                  <a:moveTo>
                    <a:pt x="0" y="34"/>
                  </a:moveTo>
                  <a:cubicBezTo>
                    <a:pt x="2748" y="-404"/>
                    <a:pt x="2498" y="3594"/>
                    <a:pt x="5309" y="2969"/>
                  </a:cubicBezTo>
                  <a:cubicBezTo>
                    <a:pt x="8182" y="3781"/>
                    <a:pt x="8307" y="6779"/>
                    <a:pt x="10493" y="8091"/>
                  </a:cubicBezTo>
                  <a:cubicBezTo>
                    <a:pt x="11555" y="9090"/>
                    <a:pt x="12929" y="9777"/>
                    <a:pt x="13492" y="11152"/>
                  </a:cubicBezTo>
                  <a:cubicBezTo>
                    <a:pt x="13804" y="12526"/>
                    <a:pt x="13492" y="13650"/>
                    <a:pt x="11868" y="14212"/>
                  </a:cubicBezTo>
                  <a:cubicBezTo>
                    <a:pt x="10993" y="14337"/>
                    <a:pt x="10181" y="14150"/>
                    <a:pt x="9556" y="13587"/>
                  </a:cubicBezTo>
                  <a:lnTo>
                    <a:pt x="9556" y="13587"/>
                  </a:lnTo>
                  <a:cubicBezTo>
                    <a:pt x="8557" y="11464"/>
                    <a:pt x="8432" y="8466"/>
                    <a:pt x="4372" y="9528"/>
                  </a:cubicBezTo>
                  <a:cubicBezTo>
                    <a:pt x="4122" y="7466"/>
                    <a:pt x="4185" y="5280"/>
                    <a:pt x="1874" y="3969"/>
                  </a:cubicBezTo>
                  <a:cubicBezTo>
                    <a:pt x="749" y="2844"/>
                    <a:pt x="125" y="1533"/>
                    <a:pt x="0" y="34"/>
                  </a:cubicBezTo>
                  <a:close/>
                </a:path>
              </a:pathLst>
            </a:custGeom>
            <a:grpFill/>
            <a:ln w="6246" cap="flat">
              <a:noFill/>
              <a:prstDash val="solid"/>
              <a:miter/>
            </a:ln>
          </p:spPr>
          <p:txBody>
            <a:bodyPr rtlCol="0" anchor="ctr"/>
            <a:lstStyle/>
            <a:p>
              <a:endParaRPr lang="fr-FR" sz="2400"/>
            </a:p>
          </p:txBody>
        </p:sp>
        <p:sp>
          <p:nvSpPr>
            <p:cNvPr id="182" name="Freeform: Shape 181">
              <a:extLst>
                <a:ext uri="{FF2B5EF4-FFF2-40B4-BE49-F238E27FC236}">
                  <a16:creationId xmlns:a16="http://schemas.microsoft.com/office/drawing/2014/main" id="{29397B3D-CECA-4092-8AFA-6654FC1BDC22}"/>
                </a:ext>
              </a:extLst>
            </p:cNvPr>
            <p:cNvSpPr/>
            <p:nvPr/>
          </p:nvSpPr>
          <p:spPr>
            <a:xfrm>
              <a:off x="1175227" y="665830"/>
              <a:ext cx="6246" cy="6246"/>
            </a:xfrm>
            <a:custGeom>
              <a:avLst/>
              <a:gdLst>
                <a:gd name="connsiteX0" fmla="*/ 0 w 6246"/>
                <a:gd name="connsiteY0" fmla="*/ 0 h 0"/>
                <a:gd name="connsiteX1" fmla="*/ 7495 w 6246"/>
                <a:gd name="connsiteY1" fmla="*/ 1999 h 0"/>
                <a:gd name="connsiteX2" fmla="*/ 8557 w 6246"/>
                <a:gd name="connsiteY2" fmla="*/ 3935 h 0"/>
                <a:gd name="connsiteX3" fmla="*/ 1124 w 6246"/>
                <a:gd name="connsiteY3" fmla="*/ 1999 h 0"/>
                <a:gd name="connsiteX4" fmla="*/ 0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0"/>
                  </a:moveTo>
                  <a:cubicBezTo>
                    <a:pt x="2498" y="687"/>
                    <a:pt x="4997" y="1312"/>
                    <a:pt x="7495" y="1999"/>
                  </a:cubicBezTo>
                  <a:cubicBezTo>
                    <a:pt x="7870" y="2623"/>
                    <a:pt x="8182" y="3248"/>
                    <a:pt x="8557" y="3935"/>
                  </a:cubicBezTo>
                  <a:cubicBezTo>
                    <a:pt x="6059" y="3310"/>
                    <a:pt x="3623" y="2623"/>
                    <a:pt x="1124" y="1999"/>
                  </a:cubicBezTo>
                  <a:cubicBezTo>
                    <a:pt x="749" y="1312"/>
                    <a:pt x="375" y="625"/>
                    <a:pt x="0" y="0"/>
                  </a:cubicBezTo>
                  <a:close/>
                </a:path>
              </a:pathLst>
            </a:custGeom>
            <a:grpFill/>
            <a:ln w="6246" cap="flat">
              <a:noFill/>
              <a:prstDash val="solid"/>
              <a:miter/>
            </a:ln>
          </p:spPr>
          <p:txBody>
            <a:bodyPr rtlCol="0" anchor="ctr"/>
            <a:lstStyle/>
            <a:p>
              <a:endParaRPr lang="fr-FR" sz="2400"/>
            </a:p>
          </p:txBody>
        </p:sp>
        <p:sp>
          <p:nvSpPr>
            <p:cNvPr id="183" name="Freeform: Shape 182">
              <a:extLst>
                <a:ext uri="{FF2B5EF4-FFF2-40B4-BE49-F238E27FC236}">
                  <a16:creationId xmlns:a16="http://schemas.microsoft.com/office/drawing/2014/main" id="{C8B7DE7E-634B-4FF4-9DF8-06DFD643CE42}"/>
                </a:ext>
              </a:extLst>
            </p:cNvPr>
            <p:cNvSpPr/>
            <p:nvPr/>
          </p:nvSpPr>
          <p:spPr>
            <a:xfrm>
              <a:off x="1170839" y="658084"/>
              <a:ext cx="12492" cy="6246"/>
            </a:xfrm>
            <a:custGeom>
              <a:avLst/>
              <a:gdLst>
                <a:gd name="connsiteX0" fmla="*/ 204 w 12492"/>
                <a:gd name="connsiteY0" fmla="*/ 5746 h 6246"/>
                <a:gd name="connsiteX1" fmla="*/ 16 w 12492"/>
                <a:gd name="connsiteY1" fmla="*/ 4934 h 6246"/>
                <a:gd name="connsiteX2" fmla="*/ 3327 w 12492"/>
                <a:gd name="connsiteY2" fmla="*/ 0 h 6246"/>
                <a:gd name="connsiteX3" fmla="*/ 17256 w 12492"/>
                <a:gd name="connsiteY3" fmla="*/ 7745 h 6246"/>
                <a:gd name="connsiteX4" fmla="*/ 5888 w 12492"/>
                <a:gd name="connsiteY4" fmla="*/ 5871 h 6246"/>
                <a:gd name="connsiteX5" fmla="*/ 2078 w 12492"/>
                <a:gd name="connsiteY5" fmla="*/ 5934 h 6246"/>
                <a:gd name="connsiteX6" fmla="*/ 204 w 12492"/>
                <a:gd name="connsiteY6"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204" y="5746"/>
                  </a:moveTo>
                  <a:cubicBezTo>
                    <a:pt x="79" y="5497"/>
                    <a:pt x="16" y="5247"/>
                    <a:pt x="16" y="4934"/>
                  </a:cubicBezTo>
                  <a:cubicBezTo>
                    <a:pt x="-171" y="2623"/>
                    <a:pt x="1266" y="1124"/>
                    <a:pt x="3327" y="0"/>
                  </a:cubicBezTo>
                  <a:cubicBezTo>
                    <a:pt x="8324" y="2061"/>
                    <a:pt x="14570" y="2311"/>
                    <a:pt x="17256" y="7745"/>
                  </a:cubicBezTo>
                  <a:cubicBezTo>
                    <a:pt x="13071" y="9244"/>
                    <a:pt x="9573" y="6808"/>
                    <a:pt x="5888" y="5871"/>
                  </a:cubicBezTo>
                  <a:cubicBezTo>
                    <a:pt x="4389" y="5497"/>
                    <a:pt x="3389" y="5309"/>
                    <a:pt x="2078" y="5934"/>
                  </a:cubicBezTo>
                  <a:cubicBezTo>
                    <a:pt x="1453" y="5871"/>
                    <a:pt x="828" y="5809"/>
                    <a:pt x="204" y="5746"/>
                  </a:cubicBezTo>
                  <a:close/>
                </a:path>
              </a:pathLst>
            </a:custGeom>
            <a:grpFill/>
            <a:ln w="6246" cap="flat">
              <a:noFill/>
              <a:prstDash val="solid"/>
              <a:miter/>
            </a:ln>
          </p:spPr>
          <p:txBody>
            <a:bodyPr rtlCol="0" anchor="ctr"/>
            <a:lstStyle/>
            <a:p>
              <a:endParaRPr lang="fr-FR" sz="2400"/>
            </a:p>
          </p:txBody>
        </p:sp>
        <p:sp>
          <p:nvSpPr>
            <p:cNvPr id="184" name="Freeform: Shape 183">
              <a:extLst>
                <a:ext uri="{FF2B5EF4-FFF2-40B4-BE49-F238E27FC236}">
                  <a16:creationId xmlns:a16="http://schemas.microsoft.com/office/drawing/2014/main" id="{7FAE63E5-1770-4D27-AC15-0C0CCC3E7DA9}"/>
                </a:ext>
              </a:extLst>
            </p:cNvPr>
            <p:cNvSpPr/>
            <p:nvPr/>
          </p:nvSpPr>
          <p:spPr>
            <a:xfrm>
              <a:off x="1160817" y="416791"/>
              <a:ext cx="99937" cy="106183"/>
            </a:xfrm>
            <a:custGeom>
              <a:avLst/>
              <a:gdLst>
                <a:gd name="connsiteX0" fmla="*/ 89301 w 99937"/>
                <a:gd name="connsiteY0" fmla="*/ 2506 h 106183"/>
                <a:gd name="connsiteX1" fmla="*/ 99982 w 99937"/>
                <a:gd name="connsiteY1" fmla="*/ 570 h 106183"/>
                <a:gd name="connsiteX2" fmla="*/ 103105 w 99937"/>
                <a:gd name="connsiteY2" fmla="*/ 882 h 106183"/>
                <a:gd name="connsiteX3" fmla="*/ 100918 w 99937"/>
                <a:gd name="connsiteY3" fmla="*/ 3069 h 106183"/>
                <a:gd name="connsiteX4" fmla="*/ 81556 w 99937"/>
                <a:gd name="connsiteY4" fmla="*/ 9315 h 106183"/>
                <a:gd name="connsiteX5" fmla="*/ 77246 w 99937"/>
                <a:gd name="connsiteY5" fmla="*/ 11875 h 106183"/>
                <a:gd name="connsiteX6" fmla="*/ 56509 w 99937"/>
                <a:gd name="connsiteY6" fmla="*/ 20932 h 106183"/>
                <a:gd name="connsiteX7" fmla="*/ 48327 w 99937"/>
                <a:gd name="connsiteY7" fmla="*/ 30114 h 106183"/>
                <a:gd name="connsiteX8" fmla="*/ 38583 w 99937"/>
                <a:gd name="connsiteY8" fmla="*/ 42918 h 106183"/>
                <a:gd name="connsiteX9" fmla="*/ 22655 w 99937"/>
                <a:gd name="connsiteY9" fmla="*/ 62031 h 106183"/>
                <a:gd name="connsiteX10" fmla="*/ 13598 w 99937"/>
                <a:gd name="connsiteY10" fmla="*/ 76272 h 106183"/>
                <a:gd name="connsiteX11" fmla="*/ 6291 w 99937"/>
                <a:gd name="connsiteY11" fmla="*/ 101569 h 106183"/>
                <a:gd name="connsiteX12" fmla="*/ 5104 w 99937"/>
                <a:gd name="connsiteY12" fmla="*/ 109689 h 106183"/>
                <a:gd name="connsiteX13" fmla="*/ 2418 w 99937"/>
                <a:gd name="connsiteY13" fmla="*/ 112187 h 106183"/>
                <a:gd name="connsiteX14" fmla="*/ 169 w 99937"/>
                <a:gd name="connsiteY14" fmla="*/ 109252 h 106183"/>
                <a:gd name="connsiteX15" fmla="*/ 1106 w 99937"/>
                <a:gd name="connsiteY15" fmla="*/ 99695 h 106183"/>
                <a:gd name="connsiteX16" fmla="*/ 6478 w 99937"/>
                <a:gd name="connsiteY16" fmla="*/ 78271 h 106183"/>
                <a:gd name="connsiteX17" fmla="*/ 6978 w 99937"/>
                <a:gd name="connsiteY17" fmla="*/ 76897 h 106183"/>
                <a:gd name="connsiteX18" fmla="*/ 11100 w 99937"/>
                <a:gd name="connsiteY18" fmla="*/ 68028 h 106183"/>
                <a:gd name="connsiteX19" fmla="*/ 14660 w 99937"/>
                <a:gd name="connsiteY19" fmla="*/ 62094 h 106183"/>
                <a:gd name="connsiteX20" fmla="*/ 14723 w 99937"/>
                <a:gd name="connsiteY20" fmla="*/ 60595 h 106183"/>
                <a:gd name="connsiteX21" fmla="*/ 13723 w 99937"/>
                <a:gd name="connsiteY21" fmla="*/ 58596 h 106183"/>
                <a:gd name="connsiteX22" fmla="*/ 14785 w 99937"/>
                <a:gd name="connsiteY22" fmla="*/ 56785 h 106183"/>
                <a:gd name="connsiteX23" fmla="*/ 21906 w 99937"/>
                <a:gd name="connsiteY23" fmla="*/ 46791 h 106183"/>
                <a:gd name="connsiteX24" fmla="*/ 25653 w 99937"/>
                <a:gd name="connsiteY24" fmla="*/ 41669 h 106183"/>
                <a:gd name="connsiteX25" fmla="*/ 9101 w 99937"/>
                <a:gd name="connsiteY25" fmla="*/ 56035 h 106183"/>
                <a:gd name="connsiteX26" fmla="*/ 7227 w 99937"/>
                <a:gd name="connsiteY26" fmla="*/ 51788 h 106183"/>
                <a:gd name="connsiteX27" fmla="*/ 27590 w 99937"/>
                <a:gd name="connsiteY27" fmla="*/ 31676 h 106183"/>
                <a:gd name="connsiteX28" fmla="*/ 39894 w 99937"/>
                <a:gd name="connsiteY28" fmla="*/ 22681 h 106183"/>
                <a:gd name="connsiteX29" fmla="*/ 68501 w 99937"/>
                <a:gd name="connsiteY29" fmla="*/ 8128 h 106183"/>
                <a:gd name="connsiteX30" fmla="*/ 89301 w 99937"/>
                <a:gd name="connsiteY30" fmla="*/ 2506 h 10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9937" h="106183">
                  <a:moveTo>
                    <a:pt x="89301" y="2506"/>
                  </a:moveTo>
                  <a:cubicBezTo>
                    <a:pt x="92861" y="1882"/>
                    <a:pt x="96421" y="1195"/>
                    <a:pt x="99982" y="570"/>
                  </a:cubicBezTo>
                  <a:cubicBezTo>
                    <a:pt x="101106" y="-54"/>
                    <a:pt x="102542" y="-429"/>
                    <a:pt x="103105" y="882"/>
                  </a:cubicBezTo>
                  <a:cubicBezTo>
                    <a:pt x="103604" y="2194"/>
                    <a:pt x="101980" y="2631"/>
                    <a:pt x="100918" y="3069"/>
                  </a:cubicBezTo>
                  <a:cubicBezTo>
                    <a:pt x="94610" y="5505"/>
                    <a:pt x="87677" y="6316"/>
                    <a:pt x="81556" y="9315"/>
                  </a:cubicBezTo>
                  <a:cubicBezTo>
                    <a:pt x="79994" y="10064"/>
                    <a:pt x="78245" y="10439"/>
                    <a:pt x="77246" y="11875"/>
                  </a:cubicBezTo>
                  <a:cubicBezTo>
                    <a:pt x="71500" y="17060"/>
                    <a:pt x="63442" y="17997"/>
                    <a:pt x="56509" y="20932"/>
                  </a:cubicBezTo>
                  <a:cubicBezTo>
                    <a:pt x="50763" y="23368"/>
                    <a:pt x="50638" y="23118"/>
                    <a:pt x="48327" y="30114"/>
                  </a:cubicBezTo>
                  <a:cubicBezTo>
                    <a:pt x="47077" y="35611"/>
                    <a:pt x="42705" y="39296"/>
                    <a:pt x="38583" y="42918"/>
                  </a:cubicBezTo>
                  <a:cubicBezTo>
                    <a:pt x="32149" y="48540"/>
                    <a:pt x="27027" y="54973"/>
                    <a:pt x="22655" y="62031"/>
                  </a:cubicBezTo>
                  <a:cubicBezTo>
                    <a:pt x="18970" y="66404"/>
                    <a:pt x="17221" y="71838"/>
                    <a:pt x="13598" y="76272"/>
                  </a:cubicBezTo>
                  <a:cubicBezTo>
                    <a:pt x="8352" y="84080"/>
                    <a:pt x="7227" y="92824"/>
                    <a:pt x="6291" y="101569"/>
                  </a:cubicBezTo>
                  <a:cubicBezTo>
                    <a:pt x="5978" y="104317"/>
                    <a:pt x="5916" y="107003"/>
                    <a:pt x="5104" y="109689"/>
                  </a:cubicBezTo>
                  <a:cubicBezTo>
                    <a:pt x="4729" y="110938"/>
                    <a:pt x="4229" y="112375"/>
                    <a:pt x="2418" y="112187"/>
                  </a:cubicBezTo>
                  <a:cubicBezTo>
                    <a:pt x="732" y="112000"/>
                    <a:pt x="419" y="110563"/>
                    <a:pt x="169" y="109252"/>
                  </a:cubicBezTo>
                  <a:cubicBezTo>
                    <a:pt x="-580" y="106004"/>
                    <a:pt x="1419" y="102943"/>
                    <a:pt x="1106" y="99695"/>
                  </a:cubicBezTo>
                  <a:cubicBezTo>
                    <a:pt x="2231" y="92387"/>
                    <a:pt x="1793" y="84830"/>
                    <a:pt x="6478" y="78271"/>
                  </a:cubicBezTo>
                  <a:cubicBezTo>
                    <a:pt x="6603" y="77834"/>
                    <a:pt x="6790" y="77334"/>
                    <a:pt x="6978" y="76897"/>
                  </a:cubicBezTo>
                  <a:cubicBezTo>
                    <a:pt x="8851" y="74149"/>
                    <a:pt x="9601" y="70963"/>
                    <a:pt x="11100" y="68028"/>
                  </a:cubicBezTo>
                  <a:cubicBezTo>
                    <a:pt x="12349" y="66091"/>
                    <a:pt x="12911" y="63780"/>
                    <a:pt x="14660" y="62094"/>
                  </a:cubicBezTo>
                  <a:cubicBezTo>
                    <a:pt x="14598" y="61594"/>
                    <a:pt x="17284" y="61219"/>
                    <a:pt x="14723" y="60595"/>
                  </a:cubicBezTo>
                  <a:cubicBezTo>
                    <a:pt x="13723" y="60345"/>
                    <a:pt x="13661" y="59408"/>
                    <a:pt x="13723" y="58596"/>
                  </a:cubicBezTo>
                  <a:cubicBezTo>
                    <a:pt x="13848" y="57909"/>
                    <a:pt x="14223" y="57347"/>
                    <a:pt x="14785" y="56785"/>
                  </a:cubicBezTo>
                  <a:cubicBezTo>
                    <a:pt x="17971" y="53912"/>
                    <a:pt x="19657" y="50164"/>
                    <a:pt x="21906" y="46791"/>
                  </a:cubicBezTo>
                  <a:cubicBezTo>
                    <a:pt x="23217" y="44855"/>
                    <a:pt x="24342" y="42731"/>
                    <a:pt x="25653" y="41669"/>
                  </a:cubicBezTo>
                  <a:cubicBezTo>
                    <a:pt x="18783" y="44417"/>
                    <a:pt x="15410" y="51600"/>
                    <a:pt x="9101" y="56035"/>
                  </a:cubicBezTo>
                  <a:cubicBezTo>
                    <a:pt x="5853" y="55536"/>
                    <a:pt x="6291" y="53787"/>
                    <a:pt x="7227" y="51788"/>
                  </a:cubicBezTo>
                  <a:cubicBezTo>
                    <a:pt x="13411" y="44605"/>
                    <a:pt x="19220" y="37047"/>
                    <a:pt x="27590" y="31676"/>
                  </a:cubicBezTo>
                  <a:cubicBezTo>
                    <a:pt x="31899" y="28927"/>
                    <a:pt x="35460" y="25305"/>
                    <a:pt x="39894" y="22681"/>
                  </a:cubicBezTo>
                  <a:cubicBezTo>
                    <a:pt x="49326" y="17684"/>
                    <a:pt x="59382" y="13562"/>
                    <a:pt x="68501" y="8128"/>
                  </a:cubicBezTo>
                  <a:cubicBezTo>
                    <a:pt x="75185" y="5505"/>
                    <a:pt x="81743" y="2506"/>
                    <a:pt x="89301" y="2506"/>
                  </a:cubicBezTo>
                  <a:close/>
                </a:path>
              </a:pathLst>
            </a:custGeom>
            <a:grpFill/>
            <a:ln w="6246" cap="flat">
              <a:noFill/>
              <a:prstDash val="solid"/>
              <a:miter/>
            </a:ln>
          </p:spPr>
          <p:txBody>
            <a:bodyPr rtlCol="0" anchor="ctr"/>
            <a:lstStyle/>
            <a:p>
              <a:endParaRPr lang="fr-FR" sz="2400"/>
            </a:p>
          </p:txBody>
        </p:sp>
        <p:sp>
          <p:nvSpPr>
            <p:cNvPr id="185" name="Freeform: Shape 184">
              <a:extLst>
                <a:ext uri="{FF2B5EF4-FFF2-40B4-BE49-F238E27FC236}">
                  <a16:creationId xmlns:a16="http://schemas.microsoft.com/office/drawing/2014/main" id="{FA7202F7-885A-4B24-A28A-3A30B6678519}"/>
                </a:ext>
              </a:extLst>
            </p:cNvPr>
            <p:cNvSpPr/>
            <p:nvPr/>
          </p:nvSpPr>
          <p:spPr>
            <a:xfrm>
              <a:off x="1274901" y="413004"/>
              <a:ext cx="87445" cy="18738"/>
            </a:xfrm>
            <a:custGeom>
              <a:avLst/>
              <a:gdLst>
                <a:gd name="connsiteX0" fmla="*/ 75778 w 87444"/>
                <a:gd name="connsiteY0" fmla="*/ 17911 h 18738"/>
                <a:gd name="connsiteX1" fmla="*/ 69344 w 87444"/>
                <a:gd name="connsiteY1" fmla="*/ 17911 h 18738"/>
                <a:gd name="connsiteX2" fmla="*/ 65659 w 87444"/>
                <a:gd name="connsiteY2" fmla="*/ 18285 h 18738"/>
                <a:gd name="connsiteX3" fmla="*/ 55416 w 87444"/>
                <a:gd name="connsiteY3" fmla="*/ 13413 h 18738"/>
                <a:gd name="connsiteX4" fmla="*/ 39676 w 87444"/>
                <a:gd name="connsiteY4" fmla="*/ 8541 h 18738"/>
                <a:gd name="connsiteX5" fmla="*/ 34616 w 87444"/>
                <a:gd name="connsiteY5" fmla="*/ 7042 h 18738"/>
                <a:gd name="connsiteX6" fmla="*/ 23186 w 87444"/>
                <a:gd name="connsiteY6" fmla="*/ 5543 h 18738"/>
                <a:gd name="connsiteX7" fmla="*/ 3386 w 87444"/>
                <a:gd name="connsiteY7" fmla="*/ 5606 h 18738"/>
                <a:gd name="connsiteX8" fmla="*/ 13 w 87444"/>
                <a:gd name="connsiteY8" fmla="*/ 3982 h 18738"/>
                <a:gd name="connsiteX9" fmla="*/ 2949 w 87444"/>
                <a:gd name="connsiteY9" fmla="*/ 1796 h 18738"/>
                <a:gd name="connsiteX10" fmla="*/ 16003 w 87444"/>
                <a:gd name="connsiteY10" fmla="*/ 297 h 18738"/>
                <a:gd name="connsiteX11" fmla="*/ 35616 w 87444"/>
                <a:gd name="connsiteY11" fmla="*/ 359 h 18738"/>
                <a:gd name="connsiteX12" fmla="*/ 44110 w 87444"/>
                <a:gd name="connsiteY12" fmla="*/ 2420 h 18738"/>
                <a:gd name="connsiteX13" fmla="*/ 50106 w 87444"/>
                <a:gd name="connsiteY13" fmla="*/ 3045 h 18738"/>
                <a:gd name="connsiteX14" fmla="*/ 51543 w 87444"/>
                <a:gd name="connsiteY14" fmla="*/ 3170 h 18738"/>
                <a:gd name="connsiteX15" fmla="*/ 58164 w 87444"/>
                <a:gd name="connsiteY15" fmla="*/ 7730 h 18738"/>
                <a:gd name="connsiteX16" fmla="*/ 58726 w 87444"/>
                <a:gd name="connsiteY16" fmla="*/ 7292 h 18738"/>
                <a:gd name="connsiteX17" fmla="*/ 68845 w 87444"/>
                <a:gd name="connsiteY17" fmla="*/ 9978 h 18738"/>
                <a:gd name="connsiteX18" fmla="*/ 72467 w 87444"/>
                <a:gd name="connsiteY18" fmla="*/ 11227 h 18738"/>
                <a:gd name="connsiteX19" fmla="*/ 81587 w 87444"/>
                <a:gd name="connsiteY19" fmla="*/ 16599 h 18738"/>
                <a:gd name="connsiteX20" fmla="*/ 87895 w 87444"/>
                <a:gd name="connsiteY20" fmla="*/ 17598 h 18738"/>
                <a:gd name="connsiteX21" fmla="*/ 87895 w 87444"/>
                <a:gd name="connsiteY21" fmla="*/ 22907 h 18738"/>
                <a:gd name="connsiteX22" fmla="*/ 75778 w 87444"/>
                <a:gd name="connsiteY22" fmla="*/ 1791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444" h="18738">
                  <a:moveTo>
                    <a:pt x="75778" y="17911"/>
                  </a:moveTo>
                  <a:cubicBezTo>
                    <a:pt x="73654" y="19035"/>
                    <a:pt x="71468" y="12726"/>
                    <a:pt x="69344" y="17911"/>
                  </a:cubicBezTo>
                  <a:cubicBezTo>
                    <a:pt x="68220" y="18848"/>
                    <a:pt x="66971" y="18535"/>
                    <a:pt x="65659" y="18285"/>
                  </a:cubicBezTo>
                  <a:cubicBezTo>
                    <a:pt x="61724" y="17598"/>
                    <a:pt x="58664" y="15287"/>
                    <a:pt x="55416" y="13413"/>
                  </a:cubicBezTo>
                  <a:cubicBezTo>
                    <a:pt x="50606" y="10665"/>
                    <a:pt x="45110" y="9728"/>
                    <a:pt x="39676" y="8541"/>
                  </a:cubicBezTo>
                  <a:cubicBezTo>
                    <a:pt x="37927" y="8167"/>
                    <a:pt x="36178" y="7917"/>
                    <a:pt x="34616" y="7042"/>
                  </a:cubicBezTo>
                  <a:cubicBezTo>
                    <a:pt x="30994" y="5418"/>
                    <a:pt x="27059" y="5606"/>
                    <a:pt x="23186" y="5543"/>
                  </a:cubicBezTo>
                  <a:cubicBezTo>
                    <a:pt x="16565" y="5418"/>
                    <a:pt x="10007" y="5418"/>
                    <a:pt x="3386" y="5606"/>
                  </a:cubicBezTo>
                  <a:cubicBezTo>
                    <a:pt x="2012" y="5668"/>
                    <a:pt x="200" y="5481"/>
                    <a:pt x="13" y="3982"/>
                  </a:cubicBezTo>
                  <a:cubicBezTo>
                    <a:pt x="-174" y="2358"/>
                    <a:pt x="1700" y="1983"/>
                    <a:pt x="2949" y="1796"/>
                  </a:cubicBezTo>
                  <a:cubicBezTo>
                    <a:pt x="7258" y="1171"/>
                    <a:pt x="11631" y="547"/>
                    <a:pt x="16003" y="297"/>
                  </a:cubicBezTo>
                  <a:cubicBezTo>
                    <a:pt x="22499" y="-78"/>
                    <a:pt x="29120" y="-141"/>
                    <a:pt x="35616" y="359"/>
                  </a:cubicBezTo>
                  <a:cubicBezTo>
                    <a:pt x="38426" y="1109"/>
                    <a:pt x="41237" y="1733"/>
                    <a:pt x="44110" y="2420"/>
                  </a:cubicBezTo>
                  <a:cubicBezTo>
                    <a:pt x="46047" y="3295"/>
                    <a:pt x="47920" y="4482"/>
                    <a:pt x="50106" y="3045"/>
                  </a:cubicBezTo>
                  <a:cubicBezTo>
                    <a:pt x="50606" y="2982"/>
                    <a:pt x="51106" y="3045"/>
                    <a:pt x="51543" y="3170"/>
                  </a:cubicBezTo>
                  <a:cubicBezTo>
                    <a:pt x="53542" y="4919"/>
                    <a:pt x="58664" y="2982"/>
                    <a:pt x="58164" y="7730"/>
                  </a:cubicBezTo>
                  <a:cubicBezTo>
                    <a:pt x="58164" y="7730"/>
                    <a:pt x="58476" y="7355"/>
                    <a:pt x="58726" y="7292"/>
                  </a:cubicBezTo>
                  <a:cubicBezTo>
                    <a:pt x="62786" y="6043"/>
                    <a:pt x="66221" y="6543"/>
                    <a:pt x="68845" y="9978"/>
                  </a:cubicBezTo>
                  <a:cubicBezTo>
                    <a:pt x="69594" y="10977"/>
                    <a:pt x="70906" y="11727"/>
                    <a:pt x="72467" y="11227"/>
                  </a:cubicBezTo>
                  <a:cubicBezTo>
                    <a:pt x="75903" y="12477"/>
                    <a:pt x="79026" y="14225"/>
                    <a:pt x="81587" y="16599"/>
                  </a:cubicBezTo>
                  <a:cubicBezTo>
                    <a:pt x="83461" y="18348"/>
                    <a:pt x="85334" y="19410"/>
                    <a:pt x="87895" y="17598"/>
                  </a:cubicBezTo>
                  <a:cubicBezTo>
                    <a:pt x="87895" y="19535"/>
                    <a:pt x="87895" y="21159"/>
                    <a:pt x="87895" y="22907"/>
                  </a:cubicBezTo>
                  <a:cubicBezTo>
                    <a:pt x="83523" y="21658"/>
                    <a:pt x="81649" y="15787"/>
                    <a:pt x="75778" y="17911"/>
                  </a:cubicBezTo>
                  <a:close/>
                </a:path>
              </a:pathLst>
            </a:custGeom>
            <a:grpFill/>
            <a:ln w="6246" cap="flat">
              <a:noFill/>
              <a:prstDash val="solid"/>
              <a:miter/>
            </a:ln>
          </p:spPr>
          <p:txBody>
            <a:bodyPr rtlCol="0" anchor="ctr"/>
            <a:lstStyle/>
            <a:p>
              <a:endParaRPr lang="fr-FR" sz="2400"/>
            </a:p>
          </p:txBody>
        </p:sp>
        <p:sp>
          <p:nvSpPr>
            <p:cNvPr id="186" name="Freeform: Shape 185">
              <a:extLst>
                <a:ext uri="{FF2B5EF4-FFF2-40B4-BE49-F238E27FC236}">
                  <a16:creationId xmlns:a16="http://schemas.microsoft.com/office/drawing/2014/main" id="{FAF81AE7-1B86-4503-BF13-835FEC7DD60B}"/>
                </a:ext>
              </a:extLst>
            </p:cNvPr>
            <p:cNvSpPr/>
            <p:nvPr/>
          </p:nvSpPr>
          <p:spPr>
            <a:xfrm>
              <a:off x="1237154" y="410553"/>
              <a:ext cx="74953" cy="12492"/>
            </a:xfrm>
            <a:custGeom>
              <a:avLst/>
              <a:gdLst>
                <a:gd name="connsiteX0" fmla="*/ 73925 w 74952"/>
                <a:gd name="connsiteY0" fmla="*/ 3935 h 12492"/>
                <a:gd name="connsiteX1" fmla="*/ 38760 w 74952"/>
                <a:gd name="connsiteY1" fmla="*/ 6371 h 12492"/>
                <a:gd name="connsiteX2" fmla="*/ 51689 w 74952"/>
                <a:gd name="connsiteY2" fmla="*/ 6433 h 12492"/>
                <a:gd name="connsiteX3" fmla="*/ 73925 w 74952"/>
                <a:gd name="connsiteY3" fmla="*/ 8744 h 12492"/>
                <a:gd name="connsiteX4" fmla="*/ 64369 w 74952"/>
                <a:gd name="connsiteY4" fmla="*/ 10931 h 12492"/>
                <a:gd name="connsiteX5" fmla="*/ 44319 w 74952"/>
                <a:gd name="connsiteY5" fmla="*/ 9494 h 12492"/>
                <a:gd name="connsiteX6" fmla="*/ 23894 w 74952"/>
                <a:gd name="connsiteY6" fmla="*/ 11743 h 12492"/>
                <a:gd name="connsiteX7" fmla="*/ 6218 w 74952"/>
                <a:gd name="connsiteY7" fmla="*/ 16802 h 12492"/>
                <a:gd name="connsiteX8" fmla="*/ 97 w 74952"/>
                <a:gd name="connsiteY8" fmla="*/ 17426 h 12492"/>
                <a:gd name="connsiteX9" fmla="*/ 3344 w 74952"/>
                <a:gd name="connsiteY9" fmla="*/ 14678 h 12492"/>
                <a:gd name="connsiteX10" fmla="*/ 24269 w 74952"/>
                <a:gd name="connsiteY10" fmla="*/ 7932 h 12492"/>
                <a:gd name="connsiteX11" fmla="*/ 25206 w 74952"/>
                <a:gd name="connsiteY11" fmla="*/ 6871 h 12492"/>
                <a:gd name="connsiteX12" fmla="*/ 23644 w 74952"/>
                <a:gd name="connsiteY12" fmla="*/ 6746 h 12492"/>
                <a:gd name="connsiteX13" fmla="*/ 27204 w 74952"/>
                <a:gd name="connsiteY13" fmla="*/ 5059 h 12492"/>
                <a:gd name="connsiteX14" fmla="*/ 22457 w 74952"/>
                <a:gd name="connsiteY14" fmla="*/ 4560 h 12492"/>
                <a:gd name="connsiteX15" fmla="*/ 22332 w 74952"/>
                <a:gd name="connsiteY15" fmla="*/ 3435 h 12492"/>
                <a:gd name="connsiteX16" fmla="*/ 36511 w 74952"/>
                <a:gd name="connsiteY16" fmla="*/ 1936 h 12492"/>
                <a:gd name="connsiteX17" fmla="*/ 38635 w 74952"/>
                <a:gd name="connsiteY17" fmla="*/ 0 h 12492"/>
                <a:gd name="connsiteX18" fmla="*/ 50440 w 74952"/>
                <a:gd name="connsiteY18" fmla="*/ 1936 h 12492"/>
                <a:gd name="connsiteX19" fmla="*/ 52688 w 74952"/>
                <a:gd name="connsiteY19" fmla="*/ 874 h 12492"/>
                <a:gd name="connsiteX20" fmla="*/ 55249 w 74952"/>
                <a:gd name="connsiteY20" fmla="*/ 999 h 12492"/>
                <a:gd name="connsiteX21" fmla="*/ 70927 w 74952"/>
                <a:gd name="connsiteY21" fmla="*/ 1187 h 12492"/>
                <a:gd name="connsiteX22" fmla="*/ 72613 w 74952"/>
                <a:gd name="connsiteY22" fmla="*/ 999 h 12492"/>
                <a:gd name="connsiteX23" fmla="*/ 76299 w 74952"/>
                <a:gd name="connsiteY23" fmla="*/ 2561 h 12492"/>
                <a:gd name="connsiteX24" fmla="*/ 76299 w 74952"/>
                <a:gd name="connsiteY24" fmla="*/ 3997 h 12492"/>
                <a:gd name="connsiteX25" fmla="*/ 73925 w 74952"/>
                <a:gd name="connsiteY25" fmla="*/ 393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952" h="12492">
                  <a:moveTo>
                    <a:pt x="73925" y="3935"/>
                  </a:moveTo>
                  <a:cubicBezTo>
                    <a:pt x="62120" y="3935"/>
                    <a:pt x="50315" y="3435"/>
                    <a:pt x="38760" y="6371"/>
                  </a:cubicBezTo>
                  <a:cubicBezTo>
                    <a:pt x="43069" y="7121"/>
                    <a:pt x="47567" y="5809"/>
                    <a:pt x="51689" y="6433"/>
                  </a:cubicBezTo>
                  <a:cubicBezTo>
                    <a:pt x="59059" y="7558"/>
                    <a:pt x="66992" y="4560"/>
                    <a:pt x="73925" y="8744"/>
                  </a:cubicBezTo>
                  <a:cubicBezTo>
                    <a:pt x="71239" y="11180"/>
                    <a:pt x="67429" y="9806"/>
                    <a:pt x="64369" y="10931"/>
                  </a:cubicBezTo>
                  <a:cubicBezTo>
                    <a:pt x="57685" y="10306"/>
                    <a:pt x="50939" y="10368"/>
                    <a:pt x="44319" y="9494"/>
                  </a:cubicBezTo>
                  <a:cubicBezTo>
                    <a:pt x="37323" y="8620"/>
                    <a:pt x="30640" y="10681"/>
                    <a:pt x="23894" y="11743"/>
                  </a:cubicBezTo>
                  <a:cubicBezTo>
                    <a:pt x="17773" y="12742"/>
                    <a:pt x="12027" y="14866"/>
                    <a:pt x="6218" y="16802"/>
                  </a:cubicBezTo>
                  <a:cubicBezTo>
                    <a:pt x="4281" y="17489"/>
                    <a:pt x="2283" y="18426"/>
                    <a:pt x="97" y="17426"/>
                  </a:cubicBezTo>
                  <a:cubicBezTo>
                    <a:pt x="-528" y="14928"/>
                    <a:pt x="2033" y="15303"/>
                    <a:pt x="3344" y="14678"/>
                  </a:cubicBezTo>
                  <a:cubicBezTo>
                    <a:pt x="9965" y="11618"/>
                    <a:pt x="17336" y="10306"/>
                    <a:pt x="24269" y="7932"/>
                  </a:cubicBezTo>
                  <a:cubicBezTo>
                    <a:pt x="24581" y="7808"/>
                    <a:pt x="26580" y="8370"/>
                    <a:pt x="25206" y="6871"/>
                  </a:cubicBezTo>
                  <a:cubicBezTo>
                    <a:pt x="24956" y="6621"/>
                    <a:pt x="24206" y="6746"/>
                    <a:pt x="23644" y="6746"/>
                  </a:cubicBezTo>
                  <a:cubicBezTo>
                    <a:pt x="24706" y="6246"/>
                    <a:pt x="25705" y="5746"/>
                    <a:pt x="27204" y="5059"/>
                  </a:cubicBezTo>
                  <a:cubicBezTo>
                    <a:pt x="25331" y="4872"/>
                    <a:pt x="23894" y="4747"/>
                    <a:pt x="22457" y="4560"/>
                  </a:cubicBezTo>
                  <a:cubicBezTo>
                    <a:pt x="22395" y="4185"/>
                    <a:pt x="22395" y="3810"/>
                    <a:pt x="22332" y="3435"/>
                  </a:cubicBezTo>
                  <a:cubicBezTo>
                    <a:pt x="27080" y="2936"/>
                    <a:pt x="31764" y="2436"/>
                    <a:pt x="36511" y="1936"/>
                  </a:cubicBezTo>
                  <a:cubicBezTo>
                    <a:pt x="37323" y="1374"/>
                    <a:pt x="37573" y="312"/>
                    <a:pt x="38635" y="0"/>
                  </a:cubicBezTo>
                  <a:cubicBezTo>
                    <a:pt x="42195" y="2623"/>
                    <a:pt x="46193" y="2748"/>
                    <a:pt x="50440" y="1936"/>
                  </a:cubicBezTo>
                  <a:cubicBezTo>
                    <a:pt x="51127" y="1437"/>
                    <a:pt x="51814" y="999"/>
                    <a:pt x="52688" y="874"/>
                  </a:cubicBezTo>
                  <a:cubicBezTo>
                    <a:pt x="53563" y="749"/>
                    <a:pt x="54375" y="874"/>
                    <a:pt x="55249" y="999"/>
                  </a:cubicBezTo>
                  <a:cubicBezTo>
                    <a:pt x="60434" y="1874"/>
                    <a:pt x="65680" y="1624"/>
                    <a:pt x="70927" y="1187"/>
                  </a:cubicBezTo>
                  <a:cubicBezTo>
                    <a:pt x="71489" y="1062"/>
                    <a:pt x="72051" y="999"/>
                    <a:pt x="72613" y="999"/>
                  </a:cubicBezTo>
                  <a:cubicBezTo>
                    <a:pt x="74050" y="1124"/>
                    <a:pt x="75299" y="1562"/>
                    <a:pt x="76299" y="2561"/>
                  </a:cubicBezTo>
                  <a:cubicBezTo>
                    <a:pt x="76548" y="3061"/>
                    <a:pt x="76548" y="3498"/>
                    <a:pt x="76299" y="3997"/>
                  </a:cubicBezTo>
                  <a:cubicBezTo>
                    <a:pt x="75424" y="4435"/>
                    <a:pt x="74675" y="4497"/>
                    <a:pt x="73925" y="3935"/>
                  </a:cubicBezTo>
                  <a:close/>
                </a:path>
              </a:pathLst>
            </a:custGeom>
            <a:grpFill/>
            <a:ln w="6246" cap="flat">
              <a:noFill/>
              <a:prstDash val="solid"/>
              <a:miter/>
            </a:ln>
          </p:spPr>
          <p:txBody>
            <a:bodyPr rtlCol="0" anchor="ctr"/>
            <a:lstStyle/>
            <a:p>
              <a:endParaRPr lang="fr-FR" sz="2400"/>
            </a:p>
          </p:txBody>
        </p:sp>
        <p:sp>
          <p:nvSpPr>
            <p:cNvPr id="187" name="Freeform: Shape 186">
              <a:extLst>
                <a:ext uri="{FF2B5EF4-FFF2-40B4-BE49-F238E27FC236}">
                  <a16:creationId xmlns:a16="http://schemas.microsoft.com/office/drawing/2014/main" id="{EEF3CB43-CC00-402A-9638-8D2EA1FF361F}"/>
                </a:ext>
              </a:extLst>
            </p:cNvPr>
            <p:cNvSpPr/>
            <p:nvPr/>
          </p:nvSpPr>
          <p:spPr>
            <a:xfrm>
              <a:off x="1214721" y="405972"/>
              <a:ext cx="37476" cy="18738"/>
            </a:xfrm>
            <a:custGeom>
              <a:avLst/>
              <a:gdLst>
                <a:gd name="connsiteX0" fmla="*/ 26839 w 37476"/>
                <a:gd name="connsiteY0" fmla="*/ 771 h 18738"/>
                <a:gd name="connsiteX1" fmla="*/ 36084 w 37476"/>
                <a:gd name="connsiteY1" fmla="*/ 1396 h 18738"/>
                <a:gd name="connsiteX2" fmla="*/ 40956 w 37476"/>
                <a:gd name="connsiteY2" fmla="*/ 2333 h 18738"/>
                <a:gd name="connsiteX3" fmla="*/ 38645 w 37476"/>
                <a:gd name="connsiteY3" fmla="*/ 5581 h 18738"/>
                <a:gd name="connsiteX4" fmla="*/ 14472 w 37476"/>
                <a:gd name="connsiteY4" fmla="*/ 14138 h 18738"/>
                <a:gd name="connsiteX5" fmla="*/ 2667 w 37476"/>
                <a:gd name="connsiteY5" fmla="*/ 18822 h 18738"/>
                <a:gd name="connsiteX6" fmla="*/ 1355 w 37476"/>
                <a:gd name="connsiteY6" fmla="*/ 14950 h 18738"/>
                <a:gd name="connsiteX7" fmla="*/ 3292 w 37476"/>
                <a:gd name="connsiteY7" fmla="*/ 11702 h 18738"/>
                <a:gd name="connsiteX8" fmla="*/ 2105 w 37476"/>
                <a:gd name="connsiteY8" fmla="*/ 8579 h 18738"/>
                <a:gd name="connsiteX9" fmla="*/ 25028 w 37476"/>
                <a:gd name="connsiteY9" fmla="*/ 22 h 18738"/>
                <a:gd name="connsiteX10" fmla="*/ 26839 w 37476"/>
                <a:gd name="connsiteY10" fmla="*/ 7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76" h="18738">
                  <a:moveTo>
                    <a:pt x="26839" y="771"/>
                  </a:moveTo>
                  <a:cubicBezTo>
                    <a:pt x="29775" y="2395"/>
                    <a:pt x="32961" y="2333"/>
                    <a:pt x="36084" y="1396"/>
                  </a:cubicBezTo>
                  <a:cubicBezTo>
                    <a:pt x="38020" y="771"/>
                    <a:pt x="40144" y="1208"/>
                    <a:pt x="40956" y="2333"/>
                  </a:cubicBezTo>
                  <a:cubicBezTo>
                    <a:pt x="41892" y="3707"/>
                    <a:pt x="39581" y="4519"/>
                    <a:pt x="38645" y="5581"/>
                  </a:cubicBezTo>
                  <a:cubicBezTo>
                    <a:pt x="30837" y="8954"/>
                    <a:pt x="21843" y="9703"/>
                    <a:pt x="14472" y="14138"/>
                  </a:cubicBezTo>
                  <a:cubicBezTo>
                    <a:pt x="10412" y="15512"/>
                    <a:pt x="6977" y="18073"/>
                    <a:pt x="2667" y="18822"/>
                  </a:cubicBezTo>
                  <a:cubicBezTo>
                    <a:pt x="-81" y="18198"/>
                    <a:pt x="-1018" y="17011"/>
                    <a:pt x="1355" y="14950"/>
                  </a:cubicBezTo>
                  <a:cubicBezTo>
                    <a:pt x="2355" y="14075"/>
                    <a:pt x="4479" y="13638"/>
                    <a:pt x="3292" y="11702"/>
                  </a:cubicBezTo>
                  <a:cubicBezTo>
                    <a:pt x="2792" y="10702"/>
                    <a:pt x="1730" y="9890"/>
                    <a:pt x="2105" y="8579"/>
                  </a:cubicBezTo>
                  <a:cubicBezTo>
                    <a:pt x="8788" y="3644"/>
                    <a:pt x="16846" y="1646"/>
                    <a:pt x="25028" y="22"/>
                  </a:cubicBezTo>
                  <a:cubicBezTo>
                    <a:pt x="25653" y="-103"/>
                    <a:pt x="26277" y="334"/>
                    <a:pt x="26839" y="771"/>
                  </a:cubicBezTo>
                  <a:close/>
                </a:path>
              </a:pathLst>
            </a:custGeom>
            <a:grpFill/>
            <a:ln w="6246" cap="flat">
              <a:noFill/>
              <a:prstDash val="solid"/>
              <a:miter/>
            </a:ln>
          </p:spPr>
          <p:txBody>
            <a:bodyPr rtlCol="0" anchor="ctr"/>
            <a:lstStyle/>
            <a:p>
              <a:endParaRPr lang="fr-FR" sz="2400"/>
            </a:p>
          </p:txBody>
        </p:sp>
        <p:sp>
          <p:nvSpPr>
            <p:cNvPr id="188" name="Freeform: Shape 187">
              <a:extLst>
                <a:ext uri="{FF2B5EF4-FFF2-40B4-BE49-F238E27FC236}">
                  <a16:creationId xmlns:a16="http://schemas.microsoft.com/office/drawing/2014/main" id="{FB4BE54F-2417-4DA9-82B0-9A45ED814906}"/>
                </a:ext>
              </a:extLst>
            </p:cNvPr>
            <p:cNvSpPr/>
            <p:nvPr/>
          </p:nvSpPr>
          <p:spPr>
            <a:xfrm>
              <a:off x="1177039" y="402683"/>
              <a:ext cx="68707" cy="24984"/>
            </a:xfrm>
            <a:custGeom>
              <a:avLst/>
              <a:gdLst>
                <a:gd name="connsiteX0" fmla="*/ 64522 w 68706"/>
                <a:gd name="connsiteY0" fmla="*/ 4060 h 24984"/>
                <a:gd name="connsiteX1" fmla="*/ 39912 w 68706"/>
                <a:gd name="connsiteY1" fmla="*/ 12742 h 24984"/>
                <a:gd name="connsiteX2" fmla="*/ 26608 w 68706"/>
                <a:gd name="connsiteY2" fmla="*/ 20050 h 24984"/>
                <a:gd name="connsiteX3" fmla="*/ 23673 w 68706"/>
                <a:gd name="connsiteY3" fmla="*/ 19987 h 24984"/>
                <a:gd name="connsiteX4" fmla="*/ 13117 w 68706"/>
                <a:gd name="connsiteY4" fmla="*/ 25484 h 24984"/>
                <a:gd name="connsiteX5" fmla="*/ 6121 w 68706"/>
                <a:gd name="connsiteY5" fmla="*/ 28919 h 24984"/>
                <a:gd name="connsiteX6" fmla="*/ 0 w 68706"/>
                <a:gd name="connsiteY6" fmla="*/ 29107 h 24984"/>
                <a:gd name="connsiteX7" fmla="*/ 17614 w 68706"/>
                <a:gd name="connsiteY7" fmla="*/ 17739 h 24984"/>
                <a:gd name="connsiteX8" fmla="*/ 54029 w 68706"/>
                <a:gd name="connsiteY8" fmla="*/ 3248 h 24984"/>
                <a:gd name="connsiteX9" fmla="*/ 56277 w 68706"/>
                <a:gd name="connsiteY9" fmla="*/ 2311 h 24984"/>
                <a:gd name="connsiteX10" fmla="*/ 69831 w 68706"/>
                <a:gd name="connsiteY10" fmla="*/ 0 h 24984"/>
                <a:gd name="connsiteX11" fmla="*/ 64522 w 68706"/>
                <a:gd name="connsiteY11" fmla="*/ 406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706" h="24984">
                  <a:moveTo>
                    <a:pt x="64522" y="4060"/>
                  </a:moveTo>
                  <a:cubicBezTo>
                    <a:pt x="55902" y="5996"/>
                    <a:pt x="47470" y="8370"/>
                    <a:pt x="39912" y="12742"/>
                  </a:cubicBezTo>
                  <a:cubicBezTo>
                    <a:pt x="36290" y="16427"/>
                    <a:pt x="31480" y="18239"/>
                    <a:pt x="26608" y="20050"/>
                  </a:cubicBezTo>
                  <a:cubicBezTo>
                    <a:pt x="25609" y="20112"/>
                    <a:pt x="24672" y="19925"/>
                    <a:pt x="23673" y="19987"/>
                  </a:cubicBezTo>
                  <a:cubicBezTo>
                    <a:pt x="19550" y="20924"/>
                    <a:pt x="16427" y="23298"/>
                    <a:pt x="13117" y="25484"/>
                  </a:cubicBezTo>
                  <a:cubicBezTo>
                    <a:pt x="10993" y="26921"/>
                    <a:pt x="8869" y="28482"/>
                    <a:pt x="6121" y="28919"/>
                  </a:cubicBezTo>
                  <a:cubicBezTo>
                    <a:pt x="4060" y="28607"/>
                    <a:pt x="2124" y="30856"/>
                    <a:pt x="0" y="29107"/>
                  </a:cubicBezTo>
                  <a:cubicBezTo>
                    <a:pt x="5059" y="24360"/>
                    <a:pt x="11743" y="21549"/>
                    <a:pt x="17614" y="17739"/>
                  </a:cubicBezTo>
                  <a:cubicBezTo>
                    <a:pt x="29232" y="11805"/>
                    <a:pt x="40412" y="4997"/>
                    <a:pt x="54029" y="3248"/>
                  </a:cubicBezTo>
                  <a:cubicBezTo>
                    <a:pt x="54778" y="2936"/>
                    <a:pt x="55528" y="2623"/>
                    <a:pt x="56277" y="2311"/>
                  </a:cubicBezTo>
                  <a:cubicBezTo>
                    <a:pt x="60774" y="1562"/>
                    <a:pt x="65334" y="812"/>
                    <a:pt x="69831" y="0"/>
                  </a:cubicBezTo>
                  <a:cubicBezTo>
                    <a:pt x="68020" y="1374"/>
                    <a:pt x="66271" y="2748"/>
                    <a:pt x="64522" y="4060"/>
                  </a:cubicBezTo>
                  <a:close/>
                </a:path>
              </a:pathLst>
            </a:custGeom>
            <a:grpFill/>
            <a:ln w="6246" cap="flat">
              <a:noFill/>
              <a:prstDash val="solid"/>
              <a:miter/>
            </a:ln>
          </p:spPr>
          <p:txBody>
            <a:bodyPr rtlCol="0" anchor="ctr"/>
            <a:lstStyle/>
            <a:p>
              <a:endParaRPr lang="fr-FR" sz="2400"/>
            </a:p>
          </p:txBody>
        </p:sp>
        <p:sp>
          <p:nvSpPr>
            <p:cNvPr id="189" name="Freeform: Shape 188">
              <a:extLst>
                <a:ext uri="{FF2B5EF4-FFF2-40B4-BE49-F238E27FC236}">
                  <a16:creationId xmlns:a16="http://schemas.microsoft.com/office/drawing/2014/main" id="{EF519359-CE0D-41BE-90FA-5558383D7050}"/>
                </a:ext>
              </a:extLst>
            </p:cNvPr>
            <p:cNvSpPr/>
            <p:nvPr/>
          </p:nvSpPr>
          <p:spPr>
            <a:xfrm>
              <a:off x="1224134" y="413585"/>
              <a:ext cx="24984" cy="12492"/>
            </a:xfrm>
            <a:custGeom>
              <a:avLst/>
              <a:gdLst>
                <a:gd name="connsiteX0" fmla="*/ 25984 w 24984"/>
                <a:gd name="connsiteY0" fmla="*/ 5713 h 12492"/>
                <a:gd name="connsiteX1" fmla="*/ 5684 w 24984"/>
                <a:gd name="connsiteY1" fmla="*/ 12459 h 12492"/>
                <a:gd name="connsiteX2" fmla="*/ 2186 w 24984"/>
                <a:gd name="connsiteY2" fmla="*/ 10772 h 12492"/>
                <a:gd name="connsiteX3" fmla="*/ 0 w 24984"/>
                <a:gd name="connsiteY3" fmla="*/ 9211 h 12492"/>
                <a:gd name="connsiteX4" fmla="*/ 1499 w 24984"/>
                <a:gd name="connsiteY4" fmla="*/ 7712 h 12492"/>
                <a:gd name="connsiteX5" fmla="*/ 22111 w 24984"/>
                <a:gd name="connsiteY5" fmla="*/ 466 h 12492"/>
                <a:gd name="connsiteX6" fmla="*/ 27045 w 24984"/>
                <a:gd name="connsiteY6" fmla="*/ 778 h 12492"/>
                <a:gd name="connsiteX7" fmla="*/ 20237 w 24984"/>
                <a:gd name="connsiteY7" fmla="*/ 4714 h 12492"/>
                <a:gd name="connsiteX8" fmla="*/ 25984 w 24984"/>
                <a:gd name="connsiteY8" fmla="*/ 57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5984" y="5713"/>
                  </a:moveTo>
                  <a:cubicBezTo>
                    <a:pt x="19050" y="7524"/>
                    <a:pt x="12305" y="9960"/>
                    <a:pt x="5684" y="12459"/>
                  </a:cubicBezTo>
                  <a:cubicBezTo>
                    <a:pt x="3310" y="13895"/>
                    <a:pt x="3498" y="11147"/>
                    <a:pt x="2186" y="10772"/>
                  </a:cubicBezTo>
                  <a:cubicBezTo>
                    <a:pt x="1312" y="10397"/>
                    <a:pt x="375" y="10148"/>
                    <a:pt x="0" y="9211"/>
                  </a:cubicBezTo>
                  <a:cubicBezTo>
                    <a:pt x="125" y="8399"/>
                    <a:pt x="749" y="8024"/>
                    <a:pt x="1499" y="7712"/>
                  </a:cubicBezTo>
                  <a:cubicBezTo>
                    <a:pt x="8432" y="5525"/>
                    <a:pt x="14678" y="1528"/>
                    <a:pt x="22111" y="466"/>
                  </a:cubicBezTo>
                  <a:cubicBezTo>
                    <a:pt x="23860" y="216"/>
                    <a:pt x="25484" y="-596"/>
                    <a:pt x="27045" y="778"/>
                  </a:cubicBezTo>
                  <a:cubicBezTo>
                    <a:pt x="26171" y="4151"/>
                    <a:pt x="21237" y="1466"/>
                    <a:pt x="20237" y="4714"/>
                  </a:cubicBezTo>
                  <a:cubicBezTo>
                    <a:pt x="21674" y="6900"/>
                    <a:pt x="24734" y="2340"/>
                    <a:pt x="25984" y="5713"/>
                  </a:cubicBezTo>
                  <a:close/>
                </a:path>
              </a:pathLst>
            </a:custGeom>
            <a:grpFill/>
            <a:ln w="6246" cap="flat">
              <a:noFill/>
              <a:prstDash val="solid"/>
              <a:miter/>
            </a:ln>
          </p:spPr>
          <p:txBody>
            <a:bodyPr rtlCol="0" anchor="ctr"/>
            <a:lstStyle/>
            <a:p>
              <a:endParaRPr lang="fr-FR" sz="2400"/>
            </a:p>
          </p:txBody>
        </p:sp>
        <p:sp>
          <p:nvSpPr>
            <p:cNvPr id="190" name="Freeform: Shape 189">
              <a:extLst>
                <a:ext uri="{FF2B5EF4-FFF2-40B4-BE49-F238E27FC236}">
                  <a16:creationId xmlns:a16="http://schemas.microsoft.com/office/drawing/2014/main" id="{C57C5261-635F-45AF-997D-A57C63FB4100}"/>
                </a:ext>
              </a:extLst>
            </p:cNvPr>
            <p:cNvSpPr/>
            <p:nvPr/>
          </p:nvSpPr>
          <p:spPr>
            <a:xfrm>
              <a:off x="1286346" y="406508"/>
              <a:ext cx="31230" cy="6246"/>
            </a:xfrm>
            <a:custGeom>
              <a:avLst/>
              <a:gdLst>
                <a:gd name="connsiteX0" fmla="*/ 23672 w 31230"/>
                <a:gd name="connsiteY0" fmla="*/ 6044 h 6246"/>
                <a:gd name="connsiteX1" fmla="*/ 22610 w 31230"/>
                <a:gd name="connsiteY1" fmla="*/ 6044 h 6246"/>
                <a:gd name="connsiteX2" fmla="*/ 18050 w 31230"/>
                <a:gd name="connsiteY2" fmla="*/ 6481 h 6246"/>
                <a:gd name="connsiteX3" fmla="*/ 3372 w 31230"/>
                <a:gd name="connsiteY3" fmla="*/ 6044 h 6246"/>
                <a:gd name="connsiteX4" fmla="*/ 1248 w 31230"/>
                <a:gd name="connsiteY4" fmla="*/ 6044 h 6246"/>
                <a:gd name="connsiteX5" fmla="*/ 5059 w 31230"/>
                <a:gd name="connsiteY5" fmla="*/ 1172 h 6246"/>
                <a:gd name="connsiteX6" fmla="*/ 9806 w 31230"/>
                <a:gd name="connsiteY6" fmla="*/ 1172 h 6246"/>
                <a:gd name="connsiteX7" fmla="*/ 33353 w 31230"/>
                <a:gd name="connsiteY7" fmla="*/ 2172 h 6246"/>
                <a:gd name="connsiteX8" fmla="*/ 32291 w 31230"/>
                <a:gd name="connsiteY8" fmla="*/ 5045 h 6246"/>
                <a:gd name="connsiteX9" fmla="*/ 31542 w 31230"/>
                <a:gd name="connsiteY9" fmla="*/ 5107 h 6246"/>
                <a:gd name="connsiteX10" fmla="*/ 24421 w 31230"/>
                <a:gd name="connsiteY10" fmla="*/ 4483 h 6246"/>
                <a:gd name="connsiteX11" fmla="*/ 23672 w 31230"/>
                <a:gd name="connsiteY11" fmla="*/ 604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6246">
                  <a:moveTo>
                    <a:pt x="23672" y="6044"/>
                  </a:moveTo>
                  <a:cubicBezTo>
                    <a:pt x="23297" y="6044"/>
                    <a:pt x="22985" y="6044"/>
                    <a:pt x="22610" y="6044"/>
                  </a:cubicBezTo>
                  <a:cubicBezTo>
                    <a:pt x="21173" y="6919"/>
                    <a:pt x="19549" y="6356"/>
                    <a:pt x="18050" y="6481"/>
                  </a:cubicBezTo>
                  <a:cubicBezTo>
                    <a:pt x="13241" y="4420"/>
                    <a:pt x="8431" y="2234"/>
                    <a:pt x="3372" y="6044"/>
                  </a:cubicBezTo>
                  <a:cubicBezTo>
                    <a:pt x="2685" y="6044"/>
                    <a:pt x="1936" y="6044"/>
                    <a:pt x="1248" y="6044"/>
                  </a:cubicBezTo>
                  <a:cubicBezTo>
                    <a:pt x="-1375" y="1922"/>
                    <a:pt x="249" y="610"/>
                    <a:pt x="5059" y="1172"/>
                  </a:cubicBezTo>
                  <a:cubicBezTo>
                    <a:pt x="6620" y="1360"/>
                    <a:pt x="8244" y="1172"/>
                    <a:pt x="9806" y="1172"/>
                  </a:cubicBezTo>
                  <a:cubicBezTo>
                    <a:pt x="17801" y="-1264"/>
                    <a:pt x="25546" y="610"/>
                    <a:pt x="33353" y="2172"/>
                  </a:cubicBezTo>
                  <a:cubicBezTo>
                    <a:pt x="34165" y="3483"/>
                    <a:pt x="33978" y="4483"/>
                    <a:pt x="32291" y="5045"/>
                  </a:cubicBezTo>
                  <a:cubicBezTo>
                    <a:pt x="32042" y="5045"/>
                    <a:pt x="31792" y="5107"/>
                    <a:pt x="31542" y="5107"/>
                  </a:cubicBezTo>
                  <a:cubicBezTo>
                    <a:pt x="29168" y="4732"/>
                    <a:pt x="26795" y="4607"/>
                    <a:pt x="24421" y="4483"/>
                  </a:cubicBezTo>
                  <a:cubicBezTo>
                    <a:pt x="22048" y="4420"/>
                    <a:pt x="24921" y="5919"/>
                    <a:pt x="23672" y="6044"/>
                  </a:cubicBezTo>
                  <a:close/>
                </a:path>
              </a:pathLst>
            </a:custGeom>
            <a:grpFill/>
            <a:ln w="6246" cap="flat">
              <a:noFill/>
              <a:prstDash val="solid"/>
              <a:miter/>
            </a:ln>
          </p:spPr>
          <p:txBody>
            <a:bodyPr rtlCol="0" anchor="ctr"/>
            <a:lstStyle/>
            <a:p>
              <a:endParaRPr lang="fr-FR" sz="2400"/>
            </a:p>
          </p:txBody>
        </p:sp>
        <p:sp>
          <p:nvSpPr>
            <p:cNvPr id="191" name="Freeform: Shape 190">
              <a:extLst>
                <a:ext uri="{FF2B5EF4-FFF2-40B4-BE49-F238E27FC236}">
                  <a16:creationId xmlns:a16="http://schemas.microsoft.com/office/drawing/2014/main" id="{F4B7C273-3BD0-43F0-A754-1A1A382C5FF7}"/>
                </a:ext>
              </a:extLst>
            </p:cNvPr>
            <p:cNvSpPr/>
            <p:nvPr/>
          </p:nvSpPr>
          <p:spPr>
            <a:xfrm>
              <a:off x="1313265" y="411281"/>
              <a:ext cx="31230" cy="6246"/>
            </a:xfrm>
            <a:custGeom>
              <a:avLst/>
              <a:gdLst>
                <a:gd name="connsiteX0" fmla="*/ 0 w 31230"/>
                <a:gd name="connsiteY0" fmla="*/ 3207 h 6246"/>
                <a:gd name="connsiteX1" fmla="*/ 0 w 31230"/>
                <a:gd name="connsiteY1" fmla="*/ 2270 h 6246"/>
                <a:gd name="connsiteX2" fmla="*/ 5372 w 31230"/>
                <a:gd name="connsiteY2" fmla="*/ 334 h 6246"/>
                <a:gd name="connsiteX3" fmla="*/ 5372 w 31230"/>
                <a:gd name="connsiteY3" fmla="*/ 334 h 6246"/>
                <a:gd name="connsiteX4" fmla="*/ 14491 w 31230"/>
                <a:gd name="connsiteY4" fmla="*/ 3019 h 6246"/>
                <a:gd name="connsiteX5" fmla="*/ 32167 w 31230"/>
                <a:gd name="connsiteY5" fmla="*/ 6080 h 6246"/>
                <a:gd name="connsiteX6" fmla="*/ 36477 w 31230"/>
                <a:gd name="connsiteY6" fmla="*/ 8953 h 6246"/>
                <a:gd name="connsiteX7" fmla="*/ 34353 w 31230"/>
                <a:gd name="connsiteY7" fmla="*/ 9952 h 6246"/>
                <a:gd name="connsiteX8" fmla="*/ 12929 w 31230"/>
                <a:gd name="connsiteY8" fmla="*/ 5143 h 6246"/>
                <a:gd name="connsiteX9" fmla="*/ 12367 w 31230"/>
                <a:gd name="connsiteY9" fmla="*/ 5143 h 6246"/>
                <a:gd name="connsiteX10" fmla="*/ 11805 w 31230"/>
                <a:gd name="connsiteY10" fmla="*/ 5143 h 6246"/>
                <a:gd name="connsiteX11" fmla="*/ 7120 w 31230"/>
                <a:gd name="connsiteY11" fmla="*/ 4956 h 6246"/>
                <a:gd name="connsiteX12" fmla="*/ 0 w 31230"/>
                <a:gd name="connsiteY12" fmla="*/ 320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30" h="6246">
                  <a:moveTo>
                    <a:pt x="0" y="3207"/>
                  </a:moveTo>
                  <a:cubicBezTo>
                    <a:pt x="0" y="2894"/>
                    <a:pt x="0" y="2582"/>
                    <a:pt x="0" y="2270"/>
                  </a:cubicBezTo>
                  <a:cubicBezTo>
                    <a:pt x="999" y="-104"/>
                    <a:pt x="2998" y="-354"/>
                    <a:pt x="5372" y="334"/>
                  </a:cubicBezTo>
                  <a:lnTo>
                    <a:pt x="5372" y="334"/>
                  </a:lnTo>
                  <a:cubicBezTo>
                    <a:pt x="7433" y="3706"/>
                    <a:pt x="11493" y="2207"/>
                    <a:pt x="14491" y="3019"/>
                  </a:cubicBezTo>
                  <a:cubicBezTo>
                    <a:pt x="20175" y="4581"/>
                    <a:pt x="25984" y="6330"/>
                    <a:pt x="32167" y="6080"/>
                  </a:cubicBezTo>
                  <a:cubicBezTo>
                    <a:pt x="34666" y="5768"/>
                    <a:pt x="36352" y="6392"/>
                    <a:pt x="36477" y="8953"/>
                  </a:cubicBezTo>
                  <a:cubicBezTo>
                    <a:pt x="35977" y="9703"/>
                    <a:pt x="35228" y="9890"/>
                    <a:pt x="34353" y="9952"/>
                  </a:cubicBezTo>
                  <a:cubicBezTo>
                    <a:pt x="26733" y="10015"/>
                    <a:pt x="19987" y="7017"/>
                    <a:pt x="12929" y="5143"/>
                  </a:cubicBezTo>
                  <a:lnTo>
                    <a:pt x="12367" y="5143"/>
                  </a:lnTo>
                  <a:lnTo>
                    <a:pt x="11805" y="5143"/>
                  </a:lnTo>
                  <a:cubicBezTo>
                    <a:pt x="10181" y="6392"/>
                    <a:pt x="8682" y="5955"/>
                    <a:pt x="7120" y="4956"/>
                  </a:cubicBezTo>
                  <a:cubicBezTo>
                    <a:pt x="4934" y="3706"/>
                    <a:pt x="2124" y="4456"/>
                    <a:pt x="0" y="3207"/>
                  </a:cubicBezTo>
                  <a:close/>
                </a:path>
              </a:pathLst>
            </a:custGeom>
            <a:grpFill/>
            <a:ln w="6246" cap="flat">
              <a:noFill/>
              <a:prstDash val="solid"/>
              <a:miter/>
            </a:ln>
          </p:spPr>
          <p:txBody>
            <a:bodyPr rtlCol="0" anchor="ctr"/>
            <a:lstStyle/>
            <a:p>
              <a:endParaRPr lang="fr-FR" sz="2400"/>
            </a:p>
          </p:txBody>
        </p:sp>
        <p:sp>
          <p:nvSpPr>
            <p:cNvPr id="192" name="Freeform: Shape 191">
              <a:extLst>
                <a:ext uri="{FF2B5EF4-FFF2-40B4-BE49-F238E27FC236}">
                  <a16:creationId xmlns:a16="http://schemas.microsoft.com/office/drawing/2014/main" id="{BDFDBC73-D336-4052-A411-CFE1F6872E4E}"/>
                </a:ext>
              </a:extLst>
            </p:cNvPr>
            <p:cNvSpPr/>
            <p:nvPr/>
          </p:nvSpPr>
          <p:spPr>
            <a:xfrm>
              <a:off x="1225475" y="411552"/>
              <a:ext cx="24984" cy="6246"/>
            </a:xfrm>
            <a:custGeom>
              <a:avLst/>
              <a:gdLst>
                <a:gd name="connsiteX0" fmla="*/ 25704 w 24984"/>
                <a:gd name="connsiteY0" fmla="*/ 2936 h 6246"/>
                <a:gd name="connsiteX1" fmla="*/ 5467 w 24984"/>
                <a:gd name="connsiteY1" fmla="*/ 9182 h 6246"/>
                <a:gd name="connsiteX2" fmla="*/ 33 w 24984"/>
                <a:gd name="connsiteY2" fmla="*/ 10681 h 6246"/>
                <a:gd name="connsiteX3" fmla="*/ 3218 w 24984"/>
                <a:gd name="connsiteY3" fmla="*/ 7745 h 6246"/>
                <a:gd name="connsiteX4" fmla="*/ 27828 w 24984"/>
                <a:gd name="connsiteY4" fmla="*/ 0 h 6246"/>
                <a:gd name="connsiteX5" fmla="*/ 25704 w 24984"/>
                <a:gd name="connsiteY5" fmla="*/ 2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6246">
                  <a:moveTo>
                    <a:pt x="25704" y="2936"/>
                  </a:moveTo>
                  <a:cubicBezTo>
                    <a:pt x="18396" y="3498"/>
                    <a:pt x="12088" y="6746"/>
                    <a:pt x="5467" y="9182"/>
                  </a:cubicBezTo>
                  <a:cubicBezTo>
                    <a:pt x="3718" y="9869"/>
                    <a:pt x="2032" y="10806"/>
                    <a:pt x="33" y="10681"/>
                  </a:cubicBezTo>
                  <a:cubicBezTo>
                    <a:pt x="-342" y="8432"/>
                    <a:pt x="2594" y="9119"/>
                    <a:pt x="3218" y="7745"/>
                  </a:cubicBezTo>
                  <a:cubicBezTo>
                    <a:pt x="10589" y="3061"/>
                    <a:pt x="18959" y="874"/>
                    <a:pt x="27828" y="0"/>
                  </a:cubicBezTo>
                  <a:cubicBezTo>
                    <a:pt x="27953" y="1499"/>
                    <a:pt x="26391" y="1936"/>
                    <a:pt x="25704" y="2936"/>
                  </a:cubicBezTo>
                  <a:close/>
                </a:path>
              </a:pathLst>
            </a:custGeom>
            <a:grpFill/>
            <a:ln w="6246" cap="flat">
              <a:noFill/>
              <a:prstDash val="solid"/>
              <a:miter/>
            </a:ln>
          </p:spPr>
          <p:txBody>
            <a:bodyPr rtlCol="0" anchor="ctr"/>
            <a:lstStyle/>
            <a:p>
              <a:endParaRPr lang="fr-FR" sz="2400"/>
            </a:p>
          </p:txBody>
        </p:sp>
        <p:sp>
          <p:nvSpPr>
            <p:cNvPr id="193" name="Freeform: Shape 192">
              <a:extLst>
                <a:ext uri="{FF2B5EF4-FFF2-40B4-BE49-F238E27FC236}">
                  <a16:creationId xmlns:a16="http://schemas.microsoft.com/office/drawing/2014/main" id="{7FD4C805-8266-4BE4-9C2C-2D66602F24C8}"/>
                </a:ext>
              </a:extLst>
            </p:cNvPr>
            <p:cNvSpPr/>
            <p:nvPr/>
          </p:nvSpPr>
          <p:spPr>
            <a:xfrm>
              <a:off x="1267105" y="402727"/>
              <a:ext cx="24984" cy="6246"/>
            </a:xfrm>
            <a:custGeom>
              <a:avLst/>
              <a:gdLst>
                <a:gd name="connsiteX0" fmla="*/ 9746 w 24984"/>
                <a:gd name="connsiteY0" fmla="*/ 1143 h 0"/>
                <a:gd name="connsiteX1" fmla="*/ 27984 w 24984"/>
                <a:gd name="connsiteY1" fmla="*/ 1580 h 0"/>
                <a:gd name="connsiteX2" fmla="*/ 27984 w 24984"/>
                <a:gd name="connsiteY2" fmla="*/ 3079 h 0"/>
                <a:gd name="connsiteX3" fmla="*/ 16179 w 24984"/>
                <a:gd name="connsiteY3" fmla="*/ 3079 h 0"/>
                <a:gd name="connsiteX4" fmla="*/ 10808 w 24984"/>
                <a:gd name="connsiteY4" fmla="*/ 3079 h 0"/>
                <a:gd name="connsiteX5" fmla="*/ 2438 w 24984"/>
                <a:gd name="connsiteY5" fmla="*/ 3017 h 0"/>
                <a:gd name="connsiteX6" fmla="*/ 2 w 24984"/>
                <a:gd name="connsiteY6" fmla="*/ 1830 h 0"/>
                <a:gd name="connsiteX7" fmla="*/ 2250 w 24984"/>
                <a:gd name="connsiteY7" fmla="*/ 143 h 0"/>
                <a:gd name="connsiteX8" fmla="*/ 9746 w 24984"/>
                <a:gd name="connsiteY8" fmla="*/ 11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9746" y="1143"/>
                  </a:moveTo>
                  <a:cubicBezTo>
                    <a:pt x="15929" y="206"/>
                    <a:pt x="21926" y="1018"/>
                    <a:pt x="27984" y="1580"/>
                  </a:cubicBezTo>
                  <a:cubicBezTo>
                    <a:pt x="27984" y="2080"/>
                    <a:pt x="27984" y="2579"/>
                    <a:pt x="27984" y="3079"/>
                  </a:cubicBezTo>
                  <a:cubicBezTo>
                    <a:pt x="24049" y="3079"/>
                    <a:pt x="20114" y="3079"/>
                    <a:pt x="16179" y="3079"/>
                  </a:cubicBezTo>
                  <a:cubicBezTo>
                    <a:pt x="14368" y="3829"/>
                    <a:pt x="12619" y="3829"/>
                    <a:pt x="10808" y="3079"/>
                  </a:cubicBezTo>
                  <a:cubicBezTo>
                    <a:pt x="7997" y="3079"/>
                    <a:pt x="5186" y="3079"/>
                    <a:pt x="2438" y="3017"/>
                  </a:cubicBezTo>
                  <a:cubicBezTo>
                    <a:pt x="1439" y="3017"/>
                    <a:pt x="64" y="2954"/>
                    <a:pt x="2" y="1830"/>
                  </a:cubicBezTo>
                  <a:cubicBezTo>
                    <a:pt x="-61" y="768"/>
                    <a:pt x="1439" y="643"/>
                    <a:pt x="2250" y="143"/>
                  </a:cubicBezTo>
                  <a:cubicBezTo>
                    <a:pt x="4874" y="-106"/>
                    <a:pt x="7435" y="-169"/>
                    <a:pt x="9746" y="1143"/>
                  </a:cubicBezTo>
                  <a:close/>
                </a:path>
              </a:pathLst>
            </a:custGeom>
            <a:grpFill/>
            <a:ln w="6246" cap="flat">
              <a:noFill/>
              <a:prstDash val="solid"/>
              <a:miter/>
            </a:ln>
          </p:spPr>
          <p:txBody>
            <a:bodyPr rtlCol="0" anchor="ctr"/>
            <a:lstStyle/>
            <a:p>
              <a:endParaRPr lang="fr-FR" sz="2400"/>
            </a:p>
          </p:txBody>
        </p:sp>
        <p:sp>
          <p:nvSpPr>
            <p:cNvPr id="194" name="Freeform: Shape 193">
              <a:extLst>
                <a:ext uri="{FF2B5EF4-FFF2-40B4-BE49-F238E27FC236}">
                  <a16:creationId xmlns:a16="http://schemas.microsoft.com/office/drawing/2014/main" id="{2C0D9EEC-F1B5-4C8D-8113-FAD1CFB910AD}"/>
                </a:ext>
              </a:extLst>
            </p:cNvPr>
            <p:cNvSpPr/>
            <p:nvPr/>
          </p:nvSpPr>
          <p:spPr>
            <a:xfrm>
              <a:off x="1326070" y="416424"/>
              <a:ext cx="18738" cy="6246"/>
            </a:xfrm>
            <a:custGeom>
              <a:avLst/>
              <a:gdLst>
                <a:gd name="connsiteX0" fmla="*/ 0 w 18738"/>
                <a:gd name="connsiteY0" fmla="*/ 0 h 6246"/>
                <a:gd name="connsiteX1" fmla="*/ 21424 w 18738"/>
                <a:gd name="connsiteY1" fmla="*/ 4809 h 6246"/>
                <a:gd name="connsiteX2" fmla="*/ 21424 w 18738"/>
                <a:gd name="connsiteY2" fmla="*/ 7683 h 6246"/>
                <a:gd name="connsiteX3" fmla="*/ 16240 w 18738"/>
                <a:gd name="connsiteY3" fmla="*/ 6433 h 6246"/>
                <a:gd name="connsiteX4" fmla="*/ 5122 w 18738"/>
                <a:gd name="connsiteY4" fmla="*/ 7058 h 6246"/>
                <a:gd name="connsiteX5" fmla="*/ 2498 w 18738"/>
                <a:gd name="connsiteY5" fmla="*/ 1811 h 6246"/>
                <a:gd name="connsiteX6" fmla="*/ 0 w 18738"/>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0" y="0"/>
                  </a:moveTo>
                  <a:cubicBezTo>
                    <a:pt x="7433" y="625"/>
                    <a:pt x="14304" y="3123"/>
                    <a:pt x="21424" y="4809"/>
                  </a:cubicBezTo>
                  <a:cubicBezTo>
                    <a:pt x="19987" y="5746"/>
                    <a:pt x="17864" y="6746"/>
                    <a:pt x="21424" y="7683"/>
                  </a:cubicBezTo>
                  <a:cubicBezTo>
                    <a:pt x="18738" y="10868"/>
                    <a:pt x="16864" y="7121"/>
                    <a:pt x="16240" y="6433"/>
                  </a:cubicBezTo>
                  <a:cubicBezTo>
                    <a:pt x="12492" y="2561"/>
                    <a:pt x="9244" y="4247"/>
                    <a:pt x="5122" y="7058"/>
                  </a:cubicBezTo>
                  <a:cubicBezTo>
                    <a:pt x="6933" y="3685"/>
                    <a:pt x="6871" y="1562"/>
                    <a:pt x="2498" y="1811"/>
                  </a:cubicBezTo>
                  <a:cubicBezTo>
                    <a:pt x="1124" y="1999"/>
                    <a:pt x="187" y="1312"/>
                    <a:pt x="0" y="0"/>
                  </a:cubicBezTo>
                  <a:close/>
                </a:path>
              </a:pathLst>
            </a:custGeom>
            <a:grpFill/>
            <a:ln w="6246" cap="flat">
              <a:noFill/>
              <a:prstDash val="solid"/>
              <a:miter/>
            </a:ln>
          </p:spPr>
          <p:txBody>
            <a:bodyPr rtlCol="0" anchor="ctr"/>
            <a:lstStyle/>
            <a:p>
              <a:endParaRPr lang="fr-FR" sz="2400"/>
            </a:p>
          </p:txBody>
        </p:sp>
        <p:sp>
          <p:nvSpPr>
            <p:cNvPr id="195" name="Freeform: Shape 194">
              <a:extLst>
                <a:ext uri="{FF2B5EF4-FFF2-40B4-BE49-F238E27FC236}">
                  <a16:creationId xmlns:a16="http://schemas.microsoft.com/office/drawing/2014/main" id="{EB74DFF1-A847-4D3F-BB1D-59DBCA816300}"/>
                </a:ext>
              </a:extLst>
            </p:cNvPr>
            <p:cNvSpPr/>
            <p:nvPr/>
          </p:nvSpPr>
          <p:spPr>
            <a:xfrm>
              <a:off x="1296089" y="404364"/>
              <a:ext cx="24984" cy="6246"/>
            </a:xfrm>
            <a:custGeom>
              <a:avLst/>
              <a:gdLst>
                <a:gd name="connsiteX0" fmla="*/ 23548 w 24984"/>
                <a:gd name="connsiteY0" fmla="*/ 4315 h 0"/>
                <a:gd name="connsiteX1" fmla="*/ 0 w 24984"/>
                <a:gd name="connsiteY1" fmla="*/ 3316 h 0"/>
                <a:gd name="connsiteX2" fmla="*/ 10806 w 24984"/>
                <a:gd name="connsiteY2" fmla="*/ 818 h 0"/>
                <a:gd name="connsiteX3" fmla="*/ 24360 w 24984"/>
                <a:gd name="connsiteY3" fmla="*/ 3004 h 0"/>
                <a:gd name="connsiteX4" fmla="*/ 24547 w 24984"/>
                <a:gd name="connsiteY4" fmla="*/ 4066 h 0"/>
                <a:gd name="connsiteX5" fmla="*/ 23548 w 24984"/>
                <a:gd name="connsiteY5" fmla="*/ 431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a:moveTo>
                    <a:pt x="23548" y="4315"/>
                  </a:moveTo>
                  <a:cubicBezTo>
                    <a:pt x="15678" y="4378"/>
                    <a:pt x="7933" y="2691"/>
                    <a:pt x="0" y="3316"/>
                  </a:cubicBezTo>
                  <a:cubicBezTo>
                    <a:pt x="3186" y="1130"/>
                    <a:pt x="5809" y="-1306"/>
                    <a:pt x="10806" y="818"/>
                  </a:cubicBezTo>
                  <a:cubicBezTo>
                    <a:pt x="14803" y="2504"/>
                    <a:pt x="19800" y="2317"/>
                    <a:pt x="24360" y="3004"/>
                  </a:cubicBezTo>
                  <a:cubicBezTo>
                    <a:pt x="25484" y="3191"/>
                    <a:pt x="25297" y="3628"/>
                    <a:pt x="24547" y="4066"/>
                  </a:cubicBezTo>
                  <a:cubicBezTo>
                    <a:pt x="24297" y="4315"/>
                    <a:pt x="23922" y="4253"/>
                    <a:pt x="23548" y="4315"/>
                  </a:cubicBezTo>
                  <a:close/>
                </a:path>
              </a:pathLst>
            </a:custGeom>
            <a:grpFill/>
            <a:ln w="6246" cap="flat">
              <a:noFill/>
              <a:prstDash val="solid"/>
              <a:miter/>
            </a:ln>
          </p:spPr>
          <p:txBody>
            <a:bodyPr rtlCol="0" anchor="ctr"/>
            <a:lstStyle/>
            <a:p>
              <a:endParaRPr lang="fr-FR" sz="2400"/>
            </a:p>
          </p:txBody>
        </p:sp>
        <p:sp>
          <p:nvSpPr>
            <p:cNvPr id="196" name="Freeform: Shape 195">
              <a:extLst>
                <a:ext uri="{FF2B5EF4-FFF2-40B4-BE49-F238E27FC236}">
                  <a16:creationId xmlns:a16="http://schemas.microsoft.com/office/drawing/2014/main" id="{0C8D4B8E-3443-458F-8EBC-31BD828E4C81}"/>
                </a:ext>
              </a:extLst>
            </p:cNvPr>
            <p:cNvSpPr/>
            <p:nvPr/>
          </p:nvSpPr>
          <p:spPr>
            <a:xfrm>
              <a:off x="1385970" y="452214"/>
              <a:ext cx="12492" cy="18738"/>
            </a:xfrm>
            <a:custGeom>
              <a:avLst/>
              <a:gdLst>
                <a:gd name="connsiteX0" fmla="*/ 1124 w 12492"/>
                <a:gd name="connsiteY0" fmla="*/ 0 h 18738"/>
                <a:gd name="connsiteX1" fmla="*/ 9682 w 12492"/>
                <a:gd name="connsiteY1" fmla="*/ 10618 h 18738"/>
                <a:gd name="connsiteX2" fmla="*/ 10681 w 12492"/>
                <a:gd name="connsiteY2" fmla="*/ 11618 h 18738"/>
                <a:gd name="connsiteX3" fmla="*/ 13554 w 12492"/>
                <a:gd name="connsiteY3" fmla="*/ 21112 h 18738"/>
                <a:gd name="connsiteX4" fmla="*/ 0 w 12492"/>
                <a:gd name="connsiteY4" fmla="*/ 937 h 18738"/>
                <a:gd name="connsiteX5" fmla="*/ 1124 w 12492"/>
                <a:gd name="connsiteY5"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8738">
                  <a:moveTo>
                    <a:pt x="1124" y="0"/>
                  </a:moveTo>
                  <a:cubicBezTo>
                    <a:pt x="4060" y="3498"/>
                    <a:pt x="4872" y="8370"/>
                    <a:pt x="9682" y="10618"/>
                  </a:cubicBezTo>
                  <a:cubicBezTo>
                    <a:pt x="9994" y="10931"/>
                    <a:pt x="10368" y="11305"/>
                    <a:pt x="10681" y="11618"/>
                  </a:cubicBezTo>
                  <a:cubicBezTo>
                    <a:pt x="9244" y="15115"/>
                    <a:pt x="13367" y="17114"/>
                    <a:pt x="13554" y="21112"/>
                  </a:cubicBezTo>
                  <a:cubicBezTo>
                    <a:pt x="6933" y="14991"/>
                    <a:pt x="4060" y="7620"/>
                    <a:pt x="0" y="937"/>
                  </a:cubicBezTo>
                  <a:cubicBezTo>
                    <a:pt x="375" y="625"/>
                    <a:pt x="749" y="312"/>
                    <a:pt x="1124" y="0"/>
                  </a:cubicBezTo>
                  <a:close/>
                </a:path>
              </a:pathLst>
            </a:custGeom>
            <a:grpFill/>
            <a:ln w="6246" cap="flat">
              <a:noFill/>
              <a:prstDash val="solid"/>
              <a:miter/>
            </a:ln>
          </p:spPr>
          <p:txBody>
            <a:bodyPr rtlCol="0" anchor="ctr"/>
            <a:lstStyle/>
            <a:p>
              <a:endParaRPr lang="fr-FR" sz="2400"/>
            </a:p>
          </p:txBody>
        </p:sp>
        <p:sp>
          <p:nvSpPr>
            <p:cNvPr id="197" name="Freeform: Shape 196">
              <a:extLst>
                <a:ext uri="{FF2B5EF4-FFF2-40B4-BE49-F238E27FC236}">
                  <a16:creationId xmlns:a16="http://schemas.microsoft.com/office/drawing/2014/main" id="{2740F2EE-836B-448F-82D1-A5E11B7CC496}"/>
                </a:ext>
              </a:extLst>
            </p:cNvPr>
            <p:cNvSpPr/>
            <p:nvPr/>
          </p:nvSpPr>
          <p:spPr>
            <a:xfrm>
              <a:off x="1334627" y="412052"/>
              <a:ext cx="18738" cy="6246"/>
            </a:xfrm>
            <a:custGeom>
              <a:avLst/>
              <a:gdLst>
                <a:gd name="connsiteX0" fmla="*/ 14991 w 18738"/>
                <a:gd name="connsiteY0" fmla="*/ 8245 h 6246"/>
                <a:gd name="connsiteX1" fmla="*/ 10681 w 18738"/>
                <a:gd name="connsiteY1" fmla="*/ 5372 h 6246"/>
                <a:gd name="connsiteX2" fmla="*/ 0 w 18738"/>
                <a:gd name="connsiteY2" fmla="*/ 0 h 6246"/>
                <a:gd name="connsiteX3" fmla="*/ 19987 w 18738"/>
                <a:gd name="connsiteY3" fmla="*/ 6184 h 6246"/>
                <a:gd name="connsiteX4" fmla="*/ 14991 w 18738"/>
                <a:gd name="connsiteY4" fmla="*/ 82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4991" y="8245"/>
                  </a:moveTo>
                  <a:cubicBezTo>
                    <a:pt x="13554" y="7308"/>
                    <a:pt x="12117" y="6309"/>
                    <a:pt x="10681" y="5372"/>
                  </a:cubicBezTo>
                  <a:cubicBezTo>
                    <a:pt x="7745" y="2436"/>
                    <a:pt x="2436" y="4122"/>
                    <a:pt x="0" y="0"/>
                  </a:cubicBezTo>
                  <a:cubicBezTo>
                    <a:pt x="6433" y="1999"/>
                    <a:pt x="12867" y="3997"/>
                    <a:pt x="19987" y="6184"/>
                  </a:cubicBezTo>
                  <a:cubicBezTo>
                    <a:pt x="18051" y="7620"/>
                    <a:pt x="16615" y="8057"/>
                    <a:pt x="14991" y="8245"/>
                  </a:cubicBezTo>
                  <a:close/>
                </a:path>
              </a:pathLst>
            </a:custGeom>
            <a:grpFill/>
            <a:ln w="6246" cap="flat">
              <a:noFill/>
              <a:prstDash val="solid"/>
              <a:miter/>
            </a:ln>
          </p:spPr>
          <p:txBody>
            <a:bodyPr rtlCol="0" anchor="ctr"/>
            <a:lstStyle/>
            <a:p>
              <a:endParaRPr lang="fr-FR" sz="2400"/>
            </a:p>
          </p:txBody>
        </p:sp>
        <p:sp>
          <p:nvSpPr>
            <p:cNvPr id="198" name="Freeform: Shape 197">
              <a:extLst>
                <a:ext uri="{FF2B5EF4-FFF2-40B4-BE49-F238E27FC236}">
                  <a16:creationId xmlns:a16="http://schemas.microsoft.com/office/drawing/2014/main" id="{CAC3F489-49E2-4A9C-A04F-F259991F497A}"/>
                </a:ext>
              </a:extLst>
            </p:cNvPr>
            <p:cNvSpPr/>
            <p:nvPr/>
          </p:nvSpPr>
          <p:spPr>
            <a:xfrm>
              <a:off x="1273665" y="408607"/>
              <a:ext cx="6246" cy="6246"/>
            </a:xfrm>
            <a:custGeom>
              <a:avLst/>
              <a:gdLst>
                <a:gd name="connsiteX0" fmla="*/ 2124 w 6246"/>
                <a:gd name="connsiteY0" fmla="*/ 2009 h 0"/>
                <a:gd name="connsiteX1" fmla="*/ 0 w 6246"/>
                <a:gd name="connsiteY1" fmla="*/ 3945 h 0"/>
                <a:gd name="connsiteX2" fmla="*/ 9681 w 6246"/>
                <a:gd name="connsiteY2" fmla="*/ 260 h 0"/>
                <a:gd name="connsiteX3" fmla="*/ 2124 w 6246"/>
                <a:gd name="connsiteY3" fmla="*/ 2009 h 0"/>
              </a:gdLst>
              <a:ahLst/>
              <a:cxnLst>
                <a:cxn ang="0">
                  <a:pos x="connsiteX0" y="connsiteY0"/>
                </a:cxn>
                <a:cxn ang="0">
                  <a:pos x="connsiteX1" y="connsiteY1"/>
                </a:cxn>
                <a:cxn ang="0">
                  <a:pos x="connsiteX2" y="connsiteY2"/>
                </a:cxn>
                <a:cxn ang="0">
                  <a:pos x="connsiteX3" y="connsiteY3"/>
                </a:cxn>
              </a:cxnLst>
              <a:rect l="l" t="t" r="r" b="b"/>
              <a:pathLst>
                <a:path w="6246">
                  <a:moveTo>
                    <a:pt x="2124" y="2009"/>
                  </a:moveTo>
                  <a:cubicBezTo>
                    <a:pt x="2061" y="3258"/>
                    <a:pt x="1374" y="3883"/>
                    <a:pt x="0" y="3945"/>
                  </a:cubicBezTo>
                  <a:cubicBezTo>
                    <a:pt x="1062" y="-302"/>
                    <a:pt x="1062" y="-302"/>
                    <a:pt x="9681" y="260"/>
                  </a:cubicBezTo>
                  <a:cubicBezTo>
                    <a:pt x="7620" y="2883"/>
                    <a:pt x="4247" y="260"/>
                    <a:pt x="2124" y="2009"/>
                  </a:cubicBezTo>
                  <a:close/>
                </a:path>
              </a:pathLst>
            </a:custGeom>
            <a:grpFill/>
            <a:ln w="6246" cap="flat">
              <a:noFill/>
              <a:prstDash val="solid"/>
              <a:miter/>
            </a:ln>
          </p:spPr>
          <p:txBody>
            <a:bodyPr rtlCol="0" anchor="ctr"/>
            <a:lstStyle/>
            <a:p>
              <a:endParaRPr lang="fr-FR" sz="2400"/>
            </a:p>
          </p:txBody>
        </p:sp>
        <p:sp>
          <p:nvSpPr>
            <p:cNvPr id="199" name="Freeform: Shape 198">
              <a:extLst>
                <a:ext uri="{FF2B5EF4-FFF2-40B4-BE49-F238E27FC236}">
                  <a16:creationId xmlns:a16="http://schemas.microsoft.com/office/drawing/2014/main" id="{FF5B406A-3235-448C-94E2-FA964D335FBE}"/>
                </a:ext>
              </a:extLst>
            </p:cNvPr>
            <p:cNvSpPr/>
            <p:nvPr/>
          </p:nvSpPr>
          <p:spPr>
            <a:xfrm>
              <a:off x="1269355" y="401215"/>
              <a:ext cx="6246" cy="6246"/>
            </a:xfrm>
            <a:custGeom>
              <a:avLst/>
              <a:gdLst>
                <a:gd name="connsiteX0" fmla="*/ 7495 w 6246"/>
                <a:gd name="connsiteY0" fmla="*/ 2654 h 0"/>
                <a:gd name="connsiteX1" fmla="*/ 0 w 6246"/>
                <a:gd name="connsiteY1" fmla="*/ 1717 h 0"/>
                <a:gd name="connsiteX2" fmla="*/ 7495 w 6246"/>
                <a:gd name="connsiteY2" fmla="*/ 2654 h 0"/>
              </a:gdLst>
              <a:ahLst/>
              <a:cxnLst>
                <a:cxn ang="0">
                  <a:pos x="connsiteX0" y="connsiteY0"/>
                </a:cxn>
                <a:cxn ang="0">
                  <a:pos x="connsiteX1" y="connsiteY1"/>
                </a:cxn>
                <a:cxn ang="0">
                  <a:pos x="connsiteX2" y="connsiteY2"/>
                </a:cxn>
              </a:cxnLst>
              <a:rect l="l" t="t" r="r" b="b"/>
              <a:pathLst>
                <a:path w="6246">
                  <a:moveTo>
                    <a:pt x="7495" y="2654"/>
                  </a:moveTo>
                  <a:cubicBezTo>
                    <a:pt x="4809" y="3529"/>
                    <a:pt x="2436" y="2592"/>
                    <a:pt x="0" y="1717"/>
                  </a:cubicBezTo>
                  <a:cubicBezTo>
                    <a:pt x="2811" y="93"/>
                    <a:pt x="5622" y="-1531"/>
                    <a:pt x="7495" y="2654"/>
                  </a:cubicBezTo>
                  <a:close/>
                </a:path>
              </a:pathLst>
            </a:custGeom>
            <a:grpFill/>
            <a:ln w="6246" cap="flat">
              <a:noFill/>
              <a:prstDash val="solid"/>
              <a:miter/>
            </a:ln>
          </p:spPr>
          <p:txBody>
            <a:bodyPr rtlCol="0" anchor="ctr"/>
            <a:lstStyle/>
            <a:p>
              <a:endParaRPr lang="fr-FR" sz="2400"/>
            </a:p>
          </p:txBody>
        </p:sp>
        <p:sp>
          <p:nvSpPr>
            <p:cNvPr id="200" name="Freeform: Shape 199">
              <a:extLst>
                <a:ext uri="{FF2B5EF4-FFF2-40B4-BE49-F238E27FC236}">
                  <a16:creationId xmlns:a16="http://schemas.microsoft.com/office/drawing/2014/main" id="{3D2ACE87-2752-4E85-9388-A92F2BD2DFF5}"/>
                </a:ext>
              </a:extLst>
            </p:cNvPr>
            <p:cNvSpPr/>
            <p:nvPr/>
          </p:nvSpPr>
          <p:spPr>
            <a:xfrm>
              <a:off x="1277913" y="405806"/>
              <a:ext cx="6246" cy="6246"/>
            </a:xfrm>
            <a:custGeom>
              <a:avLst/>
              <a:gdLst>
                <a:gd name="connsiteX0" fmla="*/ 0 w 0"/>
                <a:gd name="connsiteY0" fmla="*/ 0 h 0"/>
                <a:gd name="connsiteX1" fmla="*/ 5372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811" y="0"/>
                    <a:pt x="3560" y="0"/>
                    <a:pt x="5372" y="0"/>
                  </a:cubicBezTo>
                  <a:cubicBezTo>
                    <a:pt x="3560" y="1374"/>
                    <a:pt x="1811" y="1374"/>
                    <a:pt x="0" y="0"/>
                  </a:cubicBezTo>
                  <a:close/>
                </a:path>
              </a:pathLst>
            </a:custGeom>
            <a:grpFill/>
            <a:ln w="6246" cap="flat">
              <a:noFill/>
              <a:prstDash val="solid"/>
              <a:miter/>
            </a:ln>
          </p:spPr>
          <p:txBody>
            <a:bodyPr rtlCol="0" anchor="ctr"/>
            <a:lstStyle/>
            <a:p>
              <a:endParaRPr lang="fr-FR" sz="2400"/>
            </a:p>
          </p:txBody>
        </p:sp>
        <p:sp>
          <p:nvSpPr>
            <p:cNvPr id="201" name="Freeform: Shape 200">
              <a:extLst>
                <a:ext uri="{FF2B5EF4-FFF2-40B4-BE49-F238E27FC236}">
                  <a16:creationId xmlns:a16="http://schemas.microsoft.com/office/drawing/2014/main" id="{3605540F-2D23-4B12-B426-D5B2D061414A}"/>
                </a:ext>
              </a:extLst>
            </p:cNvPr>
            <p:cNvSpPr/>
            <p:nvPr/>
          </p:nvSpPr>
          <p:spPr>
            <a:xfrm>
              <a:off x="1240124" y="419312"/>
              <a:ext cx="162398" cy="168644"/>
            </a:xfrm>
            <a:custGeom>
              <a:avLst/>
              <a:gdLst>
                <a:gd name="connsiteX0" fmla="*/ 61336 w 162397"/>
                <a:gd name="connsiteY0" fmla="*/ 985 h 168643"/>
                <a:gd name="connsiteX1" fmla="*/ 70955 w 162397"/>
                <a:gd name="connsiteY1" fmla="*/ 48 h 168643"/>
                <a:gd name="connsiteX2" fmla="*/ 84072 w 162397"/>
                <a:gd name="connsiteY2" fmla="*/ 1734 h 168643"/>
                <a:gd name="connsiteX3" fmla="*/ 92129 w 162397"/>
                <a:gd name="connsiteY3" fmla="*/ 6606 h 168643"/>
                <a:gd name="connsiteX4" fmla="*/ 100874 w 162397"/>
                <a:gd name="connsiteY4" fmla="*/ 10666 h 168643"/>
                <a:gd name="connsiteX5" fmla="*/ 109743 w 162397"/>
                <a:gd name="connsiteY5" fmla="*/ 16538 h 168643"/>
                <a:gd name="connsiteX6" fmla="*/ 114740 w 162397"/>
                <a:gd name="connsiteY6" fmla="*/ 20348 h 168643"/>
                <a:gd name="connsiteX7" fmla="*/ 116864 w 162397"/>
                <a:gd name="connsiteY7" fmla="*/ 22284 h 168643"/>
                <a:gd name="connsiteX8" fmla="*/ 120049 w 162397"/>
                <a:gd name="connsiteY8" fmla="*/ 25157 h 168643"/>
                <a:gd name="connsiteX9" fmla="*/ 132916 w 162397"/>
                <a:gd name="connsiteY9" fmla="*/ 37712 h 168643"/>
                <a:gd name="connsiteX10" fmla="*/ 132417 w 162397"/>
                <a:gd name="connsiteY10" fmla="*/ 38774 h 168643"/>
                <a:gd name="connsiteX11" fmla="*/ 129731 w 162397"/>
                <a:gd name="connsiteY11" fmla="*/ 37649 h 168643"/>
                <a:gd name="connsiteX12" fmla="*/ 138288 w 162397"/>
                <a:gd name="connsiteY12" fmla="*/ 44457 h 168643"/>
                <a:gd name="connsiteX13" fmla="*/ 139350 w 162397"/>
                <a:gd name="connsiteY13" fmla="*/ 46394 h 168643"/>
                <a:gd name="connsiteX14" fmla="*/ 146470 w 162397"/>
                <a:gd name="connsiteY14" fmla="*/ 59386 h 168643"/>
                <a:gd name="connsiteX15" fmla="*/ 144784 w 162397"/>
                <a:gd name="connsiteY15" fmla="*/ 54326 h 168643"/>
                <a:gd name="connsiteX16" fmla="*/ 148531 w 162397"/>
                <a:gd name="connsiteY16" fmla="*/ 54201 h 168643"/>
                <a:gd name="connsiteX17" fmla="*/ 152217 w 162397"/>
                <a:gd name="connsiteY17" fmla="*/ 60885 h 168643"/>
                <a:gd name="connsiteX18" fmla="*/ 154340 w 162397"/>
                <a:gd name="connsiteY18" fmla="*/ 63758 h 168643"/>
                <a:gd name="connsiteX19" fmla="*/ 157526 w 162397"/>
                <a:gd name="connsiteY19" fmla="*/ 71503 h 168643"/>
                <a:gd name="connsiteX20" fmla="*/ 157526 w 162397"/>
                <a:gd name="connsiteY20" fmla="*/ 71503 h 168643"/>
                <a:gd name="connsiteX21" fmla="*/ 167332 w 162397"/>
                <a:gd name="connsiteY21" fmla="*/ 101859 h 168643"/>
                <a:gd name="connsiteX22" fmla="*/ 166083 w 162397"/>
                <a:gd name="connsiteY22" fmla="*/ 119036 h 168643"/>
                <a:gd name="connsiteX23" fmla="*/ 161586 w 162397"/>
                <a:gd name="connsiteY23" fmla="*/ 118161 h 168643"/>
                <a:gd name="connsiteX24" fmla="*/ 161398 w 162397"/>
                <a:gd name="connsiteY24" fmla="*/ 112977 h 168643"/>
                <a:gd name="connsiteX25" fmla="*/ 160961 w 162397"/>
                <a:gd name="connsiteY25" fmla="*/ 112852 h 168643"/>
                <a:gd name="connsiteX26" fmla="*/ 160524 w 162397"/>
                <a:gd name="connsiteY26" fmla="*/ 113164 h 168643"/>
                <a:gd name="connsiteX27" fmla="*/ 151155 w 162397"/>
                <a:gd name="connsiteY27" fmla="*/ 128842 h 168643"/>
                <a:gd name="connsiteX28" fmla="*/ 149094 w 162397"/>
                <a:gd name="connsiteY28" fmla="*/ 142083 h 168643"/>
                <a:gd name="connsiteX29" fmla="*/ 144409 w 162397"/>
                <a:gd name="connsiteY29" fmla="*/ 143832 h 168643"/>
                <a:gd name="connsiteX30" fmla="*/ 144097 w 162397"/>
                <a:gd name="connsiteY30" fmla="*/ 124595 h 168643"/>
                <a:gd name="connsiteX31" fmla="*/ 144159 w 162397"/>
                <a:gd name="connsiteY31" fmla="*/ 141521 h 168643"/>
                <a:gd name="connsiteX32" fmla="*/ 143160 w 162397"/>
                <a:gd name="connsiteY32" fmla="*/ 144020 h 168643"/>
                <a:gd name="connsiteX33" fmla="*/ 142160 w 162397"/>
                <a:gd name="connsiteY33" fmla="*/ 142146 h 168643"/>
                <a:gd name="connsiteX34" fmla="*/ 133229 w 162397"/>
                <a:gd name="connsiteY34" fmla="*/ 168130 h 168643"/>
                <a:gd name="connsiteX35" fmla="*/ 127545 w 162397"/>
                <a:gd name="connsiteY35" fmla="*/ 169379 h 168643"/>
                <a:gd name="connsiteX36" fmla="*/ 129106 w 162397"/>
                <a:gd name="connsiteY36" fmla="*/ 163258 h 168643"/>
                <a:gd name="connsiteX37" fmla="*/ 132417 w 162397"/>
                <a:gd name="connsiteY37" fmla="*/ 154825 h 168643"/>
                <a:gd name="connsiteX38" fmla="*/ 135727 w 162397"/>
                <a:gd name="connsiteY38" fmla="*/ 141334 h 168643"/>
                <a:gd name="connsiteX39" fmla="*/ 135727 w 162397"/>
                <a:gd name="connsiteY39" fmla="*/ 130965 h 168643"/>
                <a:gd name="connsiteX40" fmla="*/ 134415 w 162397"/>
                <a:gd name="connsiteY40" fmla="*/ 114663 h 168643"/>
                <a:gd name="connsiteX41" fmla="*/ 133603 w 162397"/>
                <a:gd name="connsiteY41" fmla="*/ 111728 h 168643"/>
                <a:gd name="connsiteX42" fmla="*/ 132979 w 162397"/>
                <a:gd name="connsiteY42" fmla="*/ 108167 h 168643"/>
                <a:gd name="connsiteX43" fmla="*/ 132541 w 162397"/>
                <a:gd name="connsiteY43" fmla="*/ 105357 h 168643"/>
                <a:gd name="connsiteX44" fmla="*/ 131792 w 162397"/>
                <a:gd name="connsiteY44" fmla="*/ 100672 h 168643"/>
                <a:gd name="connsiteX45" fmla="*/ 130730 w 162397"/>
                <a:gd name="connsiteY45" fmla="*/ 97986 h 168643"/>
                <a:gd name="connsiteX46" fmla="*/ 130355 w 162397"/>
                <a:gd name="connsiteY46" fmla="*/ 92864 h 168643"/>
                <a:gd name="connsiteX47" fmla="*/ 131667 w 162397"/>
                <a:gd name="connsiteY47" fmla="*/ 79935 h 168643"/>
                <a:gd name="connsiteX48" fmla="*/ 136102 w 162397"/>
                <a:gd name="connsiteY48" fmla="*/ 76875 h 168643"/>
                <a:gd name="connsiteX49" fmla="*/ 140224 w 162397"/>
                <a:gd name="connsiteY49" fmla="*/ 83246 h 168643"/>
                <a:gd name="connsiteX50" fmla="*/ 141723 w 162397"/>
                <a:gd name="connsiteY50" fmla="*/ 91053 h 168643"/>
                <a:gd name="connsiteX51" fmla="*/ 141536 w 162397"/>
                <a:gd name="connsiteY51" fmla="*/ 83370 h 168643"/>
                <a:gd name="connsiteX52" fmla="*/ 140786 w 162397"/>
                <a:gd name="connsiteY52" fmla="*/ 73689 h 168643"/>
                <a:gd name="connsiteX53" fmla="*/ 139849 w 162397"/>
                <a:gd name="connsiteY53" fmla="*/ 70691 h 168643"/>
                <a:gd name="connsiteX54" fmla="*/ 135602 w 162397"/>
                <a:gd name="connsiteY54" fmla="*/ 64695 h 168643"/>
                <a:gd name="connsiteX55" fmla="*/ 134415 w 162397"/>
                <a:gd name="connsiteY55" fmla="*/ 63071 h 168643"/>
                <a:gd name="connsiteX56" fmla="*/ 131729 w 162397"/>
                <a:gd name="connsiteY56" fmla="*/ 59323 h 168643"/>
                <a:gd name="connsiteX57" fmla="*/ 127482 w 162397"/>
                <a:gd name="connsiteY57" fmla="*/ 53202 h 168643"/>
                <a:gd name="connsiteX58" fmla="*/ 127420 w 162397"/>
                <a:gd name="connsiteY58" fmla="*/ 47768 h 168643"/>
                <a:gd name="connsiteX59" fmla="*/ 130668 w 162397"/>
                <a:gd name="connsiteY59" fmla="*/ 49329 h 168643"/>
                <a:gd name="connsiteX60" fmla="*/ 141286 w 162397"/>
                <a:gd name="connsiteY60" fmla="*/ 62071 h 168643"/>
                <a:gd name="connsiteX61" fmla="*/ 130355 w 162397"/>
                <a:gd name="connsiteY61" fmla="*/ 48830 h 168643"/>
                <a:gd name="connsiteX62" fmla="*/ 125608 w 162397"/>
                <a:gd name="connsiteY62" fmla="*/ 44083 h 168643"/>
                <a:gd name="connsiteX63" fmla="*/ 124234 w 162397"/>
                <a:gd name="connsiteY63" fmla="*/ 42521 h 168643"/>
                <a:gd name="connsiteX64" fmla="*/ 101436 w 162397"/>
                <a:gd name="connsiteY64" fmla="*/ 25907 h 168643"/>
                <a:gd name="connsiteX65" fmla="*/ 87570 w 162397"/>
                <a:gd name="connsiteY65" fmla="*/ 21347 h 168643"/>
                <a:gd name="connsiteX66" fmla="*/ 84072 w 162397"/>
                <a:gd name="connsiteY66" fmla="*/ 19973 h 168643"/>
                <a:gd name="connsiteX67" fmla="*/ 72892 w 162397"/>
                <a:gd name="connsiteY67" fmla="*/ 16100 h 168643"/>
                <a:gd name="connsiteX68" fmla="*/ 69331 w 162397"/>
                <a:gd name="connsiteY68" fmla="*/ 15538 h 168643"/>
                <a:gd name="connsiteX69" fmla="*/ 67145 w 162397"/>
                <a:gd name="connsiteY69" fmla="*/ 12665 h 168643"/>
                <a:gd name="connsiteX70" fmla="*/ 75640 w 162397"/>
                <a:gd name="connsiteY70" fmla="*/ 12040 h 168643"/>
                <a:gd name="connsiteX71" fmla="*/ 94503 w 162397"/>
                <a:gd name="connsiteY71" fmla="*/ 17662 h 168643"/>
                <a:gd name="connsiteX72" fmla="*/ 97126 w 162397"/>
                <a:gd name="connsiteY72" fmla="*/ 19098 h 168643"/>
                <a:gd name="connsiteX73" fmla="*/ 94628 w 162397"/>
                <a:gd name="connsiteY73" fmla="*/ 17662 h 168643"/>
                <a:gd name="connsiteX74" fmla="*/ 49219 w 162397"/>
                <a:gd name="connsiteY74" fmla="*/ 9854 h 168643"/>
                <a:gd name="connsiteX75" fmla="*/ 41099 w 162397"/>
                <a:gd name="connsiteY75" fmla="*/ 7418 h 168643"/>
                <a:gd name="connsiteX76" fmla="*/ 37601 w 162397"/>
                <a:gd name="connsiteY76" fmla="*/ 9854 h 168643"/>
                <a:gd name="connsiteX77" fmla="*/ 34978 w 162397"/>
                <a:gd name="connsiteY77" fmla="*/ 11353 h 168643"/>
                <a:gd name="connsiteX78" fmla="*/ 31105 w 162397"/>
                <a:gd name="connsiteY78" fmla="*/ 11541 h 168643"/>
                <a:gd name="connsiteX79" fmla="*/ 29856 w 162397"/>
                <a:gd name="connsiteY79" fmla="*/ 9042 h 168643"/>
                <a:gd name="connsiteX80" fmla="*/ 29481 w 162397"/>
                <a:gd name="connsiteY80" fmla="*/ 7980 h 168643"/>
                <a:gd name="connsiteX81" fmla="*/ 9307 w 162397"/>
                <a:gd name="connsiteY81" fmla="*/ 13602 h 168643"/>
                <a:gd name="connsiteX82" fmla="*/ 1624 w 162397"/>
                <a:gd name="connsiteY82" fmla="*/ 16600 h 168643"/>
                <a:gd name="connsiteX83" fmla="*/ 0 w 162397"/>
                <a:gd name="connsiteY83" fmla="*/ 15288 h 168643"/>
                <a:gd name="connsiteX84" fmla="*/ 6933 w 162397"/>
                <a:gd name="connsiteY84" fmla="*/ 9917 h 168643"/>
                <a:gd name="connsiteX85" fmla="*/ 11180 w 162397"/>
                <a:gd name="connsiteY85" fmla="*/ 5982 h 168643"/>
                <a:gd name="connsiteX86" fmla="*/ 41411 w 162397"/>
                <a:gd name="connsiteY86" fmla="*/ 360 h 168643"/>
                <a:gd name="connsiteX87" fmla="*/ 61336 w 162397"/>
                <a:gd name="connsiteY87" fmla="*/ 985 h 16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62397" h="168643">
                  <a:moveTo>
                    <a:pt x="61336" y="985"/>
                  </a:moveTo>
                  <a:cubicBezTo>
                    <a:pt x="64397" y="-577"/>
                    <a:pt x="67770" y="235"/>
                    <a:pt x="70955" y="48"/>
                  </a:cubicBezTo>
                  <a:cubicBezTo>
                    <a:pt x="75327" y="485"/>
                    <a:pt x="79262" y="4045"/>
                    <a:pt x="84072" y="1734"/>
                  </a:cubicBezTo>
                  <a:cubicBezTo>
                    <a:pt x="85259" y="5420"/>
                    <a:pt x="89756" y="4670"/>
                    <a:pt x="92129" y="6606"/>
                  </a:cubicBezTo>
                  <a:cubicBezTo>
                    <a:pt x="94753" y="8730"/>
                    <a:pt x="97564" y="10042"/>
                    <a:pt x="100874" y="10666"/>
                  </a:cubicBezTo>
                  <a:cubicBezTo>
                    <a:pt x="102248" y="14539"/>
                    <a:pt x="106495" y="14976"/>
                    <a:pt x="109743" y="16538"/>
                  </a:cubicBezTo>
                  <a:cubicBezTo>
                    <a:pt x="111929" y="17225"/>
                    <a:pt x="113741" y="18349"/>
                    <a:pt x="114740" y="20348"/>
                  </a:cubicBezTo>
                  <a:cubicBezTo>
                    <a:pt x="115427" y="20972"/>
                    <a:pt x="116177" y="21659"/>
                    <a:pt x="116864" y="22284"/>
                  </a:cubicBezTo>
                  <a:cubicBezTo>
                    <a:pt x="118613" y="22659"/>
                    <a:pt x="119237" y="24033"/>
                    <a:pt x="120049" y="25157"/>
                  </a:cubicBezTo>
                  <a:cubicBezTo>
                    <a:pt x="124984" y="28780"/>
                    <a:pt x="128544" y="33589"/>
                    <a:pt x="132916" y="37712"/>
                  </a:cubicBezTo>
                  <a:cubicBezTo>
                    <a:pt x="133166" y="38211"/>
                    <a:pt x="132979" y="38711"/>
                    <a:pt x="132417" y="38774"/>
                  </a:cubicBezTo>
                  <a:cubicBezTo>
                    <a:pt x="131042" y="39023"/>
                    <a:pt x="130293" y="38087"/>
                    <a:pt x="129731" y="37649"/>
                  </a:cubicBezTo>
                  <a:cubicBezTo>
                    <a:pt x="131542" y="40585"/>
                    <a:pt x="134165" y="43271"/>
                    <a:pt x="138288" y="44457"/>
                  </a:cubicBezTo>
                  <a:cubicBezTo>
                    <a:pt x="139100" y="44895"/>
                    <a:pt x="139350" y="45582"/>
                    <a:pt x="139350" y="46394"/>
                  </a:cubicBezTo>
                  <a:cubicBezTo>
                    <a:pt x="141411" y="50891"/>
                    <a:pt x="143222" y="55513"/>
                    <a:pt x="146470" y="59386"/>
                  </a:cubicBezTo>
                  <a:cubicBezTo>
                    <a:pt x="145533" y="57887"/>
                    <a:pt x="143659" y="56325"/>
                    <a:pt x="144784" y="54326"/>
                  </a:cubicBezTo>
                  <a:cubicBezTo>
                    <a:pt x="145596" y="52827"/>
                    <a:pt x="147220" y="53639"/>
                    <a:pt x="148531" y="54201"/>
                  </a:cubicBezTo>
                  <a:cubicBezTo>
                    <a:pt x="151342" y="55700"/>
                    <a:pt x="150843" y="58699"/>
                    <a:pt x="152217" y="60885"/>
                  </a:cubicBezTo>
                  <a:cubicBezTo>
                    <a:pt x="152904" y="61822"/>
                    <a:pt x="153653" y="62821"/>
                    <a:pt x="154340" y="63758"/>
                  </a:cubicBezTo>
                  <a:cubicBezTo>
                    <a:pt x="155527" y="66319"/>
                    <a:pt x="156401" y="68942"/>
                    <a:pt x="157526" y="71503"/>
                  </a:cubicBezTo>
                  <a:lnTo>
                    <a:pt x="157526" y="71503"/>
                  </a:lnTo>
                  <a:cubicBezTo>
                    <a:pt x="161586" y="81434"/>
                    <a:pt x="165084" y="91490"/>
                    <a:pt x="167332" y="101859"/>
                  </a:cubicBezTo>
                  <a:cubicBezTo>
                    <a:pt x="168581" y="107543"/>
                    <a:pt x="166770" y="113352"/>
                    <a:pt x="166083" y="119036"/>
                  </a:cubicBezTo>
                  <a:cubicBezTo>
                    <a:pt x="163834" y="122096"/>
                    <a:pt x="162335" y="121347"/>
                    <a:pt x="161586" y="118161"/>
                  </a:cubicBezTo>
                  <a:cubicBezTo>
                    <a:pt x="161149" y="116475"/>
                    <a:pt x="161461" y="114726"/>
                    <a:pt x="161398" y="112977"/>
                  </a:cubicBezTo>
                  <a:cubicBezTo>
                    <a:pt x="161398" y="112914"/>
                    <a:pt x="161086" y="112852"/>
                    <a:pt x="160961" y="112852"/>
                  </a:cubicBezTo>
                  <a:cubicBezTo>
                    <a:pt x="160774" y="112852"/>
                    <a:pt x="160649" y="113039"/>
                    <a:pt x="160524" y="113164"/>
                  </a:cubicBezTo>
                  <a:cubicBezTo>
                    <a:pt x="153216" y="116412"/>
                    <a:pt x="151405" y="122283"/>
                    <a:pt x="151155" y="128842"/>
                  </a:cubicBezTo>
                  <a:cubicBezTo>
                    <a:pt x="150967" y="133339"/>
                    <a:pt x="149968" y="137711"/>
                    <a:pt x="149094" y="142083"/>
                  </a:cubicBezTo>
                  <a:cubicBezTo>
                    <a:pt x="148656" y="144270"/>
                    <a:pt x="146970" y="145456"/>
                    <a:pt x="144409" y="143832"/>
                  </a:cubicBezTo>
                  <a:cubicBezTo>
                    <a:pt x="143847" y="137212"/>
                    <a:pt x="144534" y="130528"/>
                    <a:pt x="144097" y="124595"/>
                  </a:cubicBezTo>
                  <a:cubicBezTo>
                    <a:pt x="144284" y="129779"/>
                    <a:pt x="144159" y="135650"/>
                    <a:pt x="144159" y="141521"/>
                  </a:cubicBezTo>
                  <a:cubicBezTo>
                    <a:pt x="144159" y="142458"/>
                    <a:pt x="144409" y="143458"/>
                    <a:pt x="143160" y="144020"/>
                  </a:cubicBezTo>
                  <a:cubicBezTo>
                    <a:pt x="141911" y="143832"/>
                    <a:pt x="142036" y="143083"/>
                    <a:pt x="142160" y="142146"/>
                  </a:cubicBezTo>
                  <a:cubicBezTo>
                    <a:pt x="141598" y="151578"/>
                    <a:pt x="138413" y="160135"/>
                    <a:pt x="133229" y="168130"/>
                  </a:cubicBezTo>
                  <a:cubicBezTo>
                    <a:pt x="131917" y="170191"/>
                    <a:pt x="130043" y="171128"/>
                    <a:pt x="127545" y="169379"/>
                  </a:cubicBezTo>
                  <a:cubicBezTo>
                    <a:pt x="126233" y="166943"/>
                    <a:pt x="128169" y="165194"/>
                    <a:pt x="129106" y="163258"/>
                  </a:cubicBezTo>
                  <a:cubicBezTo>
                    <a:pt x="130480" y="160509"/>
                    <a:pt x="131417" y="157636"/>
                    <a:pt x="132417" y="154825"/>
                  </a:cubicBezTo>
                  <a:cubicBezTo>
                    <a:pt x="132916" y="150203"/>
                    <a:pt x="133541" y="145644"/>
                    <a:pt x="135727" y="141334"/>
                  </a:cubicBezTo>
                  <a:cubicBezTo>
                    <a:pt x="137413" y="137961"/>
                    <a:pt x="136476" y="134401"/>
                    <a:pt x="135727" y="130965"/>
                  </a:cubicBezTo>
                  <a:cubicBezTo>
                    <a:pt x="135102" y="125531"/>
                    <a:pt x="136914" y="119972"/>
                    <a:pt x="134415" y="114663"/>
                  </a:cubicBezTo>
                  <a:cubicBezTo>
                    <a:pt x="133916" y="113726"/>
                    <a:pt x="133666" y="112727"/>
                    <a:pt x="133603" y="111728"/>
                  </a:cubicBezTo>
                  <a:cubicBezTo>
                    <a:pt x="133603" y="110541"/>
                    <a:pt x="133416" y="109354"/>
                    <a:pt x="132979" y="108167"/>
                  </a:cubicBezTo>
                  <a:cubicBezTo>
                    <a:pt x="132729" y="107230"/>
                    <a:pt x="132604" y="106294"/>
                    <a:pt x="132541" y="105357"/>
                  </a:cubicBezTo>
                  <a:cubicBezTo>
                    <a:pt x="132479" y="103795"/>
                    <a:pt x="132604" y="102171"/>
                    <a:pt x="131792" y="100672"/>
                  </a:cubicBezTo>
                  <a:cubicBezTo>
                    <a:pt x="131417" y="99798"/>
                    <a:pt x="131042" y="98923"/>
                    <a:pt x="130730" y="97986"/>
                  </a:cubicBezTo>
                  <a:cubicBezTo>
                    <a:pt x="130230" y="96300"/>
                    <a:pt x="130293" y="94551"/>
                    <a:pt x="130355" y="92864"/>
                  </a:cubicBezTo>
                  <a:cubicBezTo>
                    <a:pt x="131417" y="88617"/>
                    <a:pt x="132729" y="84495"/>
                    <a:pt x="131667" y="79935"/>
                  </a:cubicBezTo>
                  <a:cubicBezTo>
                    <a:pt x="131105" y="77562"/>
                    <a:pt x="131979" y="74751"/>
                    <a:pt x="136102" y="76875"/>
                  </a:cubicBezTo>
                  <a:cubicBezTo>
                    <a:pt x="138101" y="78623"/>
                    <a:pt x="138975" y="80997"/>
                    <a:pt x="140224" y="83246"/>
                  </a:cubicBezTo>
                  <a:cubicBezTo>
                    <a:pt x="140599" y="85869"/>
                    <a:pt x="140037" y="88680"/>
                    <a:pt x="141723" y="91053"/>
                  </a:cubicBezTo>
                  <a:cubicBezTo>
                    <a:pt x="143410" y="88492"/>
                    <a:pt x="143222" y="85869"/>
                    <a:pt x="141536" y="83370"/>
                  </a:cubicBezTo>
                  <a:cubicBezTo>
                    <a:pt x="140287" y="80247"/>
                    <a:pt x="136289" y="77312"/>
                    <a:pt x="140786" y="73689"/>
                  </a:cubicBezTo>
                  <a:cubicBezTo>
                    <a:pt x="141723" y="72940"/>
                    <a:pt x="140412" y="71628"/>
                    <a:pt x="139849" y="70691"/>
                  </a:cubicBezTo>
                  <a:cubicBezTo>
                    <a:pt x="138600" y="68630"/>
                    <a:pt x="137039" y="66693"/>
                    <a:pt x="135602" y="64695"/>
                  </a:cubicBezTo>
                  <a:cubicBezTo>
                    <a:pt x="135165" y="64195"/>
                    <a:pt x="134790" y="63633"/>
                    <a:pt x="134415" y="63071"/>
                  </a:cubicBezTo>
                  <a:cubicBezTo>
                    <a:pt x="133603" y="61759"/>
                    <a:pt x="132666" y="60572"/>
                    <a:pt x="131729" y="59323"/>
                  </a:cubicBezTo>
                  <a:cubicBezTo>
                    <a:pt x="130293" y="57262"/>
                    <a:pt x="128669" y="55388"/>
                    <a:pt x="127482" y="53202"/>
                  </a:cubicBezTo>
                  <a:cubicBezTo>
                    <a:pt x="127170" y="51391"/>
                    <a:pt x="124359" y="49642"/>
                    <a:pt x="127420" y="47768"/>
                  </a:cubicBezTo>
                  <a:cubicBezTo>
                    <a:pt x="128919" y="47581"/>
                    <a:pt x="129731" y="48642"/>
                    <a:pt x="130668" y="49329"/>
                  </a:cubicBezTo>
                  <a:cubicBezTo>
                    <a:pt x="133603" y="53951"/>
                    <a:pt x="137226" y="58199"/>
                    <a:pt x="141286" y="62071"/>
                  </a:cubicBezTo>
                  <a:cubicBezTo>
                    <a:pt x="137351" y="57824"/>
                    <a:pt x="133791" y="53389"/>
                    <a:pt x="130355" y="48830"/>
                  </a:cubicBezTo>
                  <a:cubicBezTo>
                    <a:pt x="129169" y="46956"/>
                    <a:pt x="127545" y="45394"/>
                    <a:pt x="125608" y="44083"/>
                  </a:cubicBezTo>
                  <a:cubicBezTo>
                    <a:pt x="125046" y="43646"/>
                    <a:pt x="124609" y="43083"/>
                    <a:pt x="124234" y="42521"/>
                  </a:cubicBezTo>
                  <a:cubicBezTo>
                    <a:pt x="118238" y="35151"/>
                    <a:pt x="110618" y="29779"/>
                    <a:pt x="101436" y="25907"/>
                  </a:cubicBezTo>
                  <a:cubicBezTo>
                    <a:pt x="96876" y="24033"/>
                    <a:pt x="92317" y="22596"/>
                    <a:pt x="87570" y="21347"/>
                  </a:cubicBezTo>
                  <a:cubicBezTo>
                    <a:pt x="86383" y="20847"/>
                    <a:pt x="85259" y="20410"/>
                    <a:pt x="84072" y="19973"/>
                  </a:cubicBezTo>
                  <a:cubicBezTo>
                    <a:pt x="80512" y="18224"/>
                    <a:pt x="76202" y="18411"/>
                    <a:pt x="72892" y="16100"/>
                  </a:cubicBezTo>
                  <a:cubicBezTo>
                    <a:pt x="72142" y="13977"/>
                    <a:pt x="70581" y="16225"/>
                    <a:pt x="69331" y="15538"/>
                  </a:cubicBezTo>
                  <a:cubicBezTo>
                    <a:pt x="68020" y="14851"/>
                    <a:pt x="65709" y="15039"/>
                    <a:pt x="67145" y="12665"/>
                  </a:cubicBezTo>
                  <a:cubicBezTo>
                    <a:pt x="69893" y="11478"/>
                    <a:pt x="72829" y="12040"/>
                    <a:pt x="75640" y="12040"/>
                  </a:cubicBezTo>
                  <a:cubicBezTo>
                    <a:pt x="82073" y="13602"/>
                    <a:pt x="88132" y="16038"/>
                    <a:pt x="94503" y="17662"/>
                  </a:cubicBezTo>
                  <a:cubicBezTo>
                    <a:pt x="95440" y="18037"/>
                    <a:pt x="96252" y="18599"/>
                    <a:pt x="97126" y="19098"/>
                  </a:cubicBezTo>
                  <a:cubicBezTo>
                    <a:pt x="96314" y="18599"/>
                    <a:pt x="95502" y="18099"/>
                    <a:pt x="94628" y="17662"/>
                  </a:cubicBezTo>
                  <a:cubicBezTo>
                    <a:pt x="80012" y="12665"/>
                    <a:pt x="65209" y="8480"/>
                    <a:pt x="49219" y="9854"/>
                  </a:cubicBezTo>
                  <a:cubicBezTo>
                    <a:pt x="46221" y="9792"/>
                    <a:pt x="46221" y="9792"/>
                    <a:pt x="41099" y="7418"/>
                  </a:cubicBezTo>
                  <a:cubicBezTo>
                    <a:pt x="40599" y="7168"/>
                    <a:pt x="40474" y="7231"/>
                    <a:pt x="37601" y="9854"/>
                  </a:cubicBezTo>
                  <a:cubicBezTo>
                    <a:pt x="36789" y="10479"/>
                    <a:pt x="35977" y="10979"/>
                    <a:pt x="34978" y="11353"/>
                  </a:cubicBezTo>
                  <a:cubicBezTo>
                    <a:pt x="33729" y="11728"/>
                    <a:pt x="32417" y="12103"/>
                    <a:pt x="31105" y="11541"/>
                  </a:cubicBezTo>
                  <a:cubicBezTo>
                    <a:pt x="30293" y="10916"/>
                    <a:pt x="29794" y="10104"/>
                    <a:pt x="29856" y="9042"/>
                  </a:cubicBezTo>
                  <a:cubicBezTo>
                    <a:pt x="28357" y="9167"/>
                    <a:pt x="33229" y="7856"/>
                    <a:pt x="29481" y="7980"/>
                  </a:cubicBezTo>
                  <a:cubicBezTo>
                    <a:pt x="22111" y="8230"/>
                    <a:pt x="15615" y="10416"/>
                    <a:pt x="9307" y="13602"/>
                  </a:cubicBezTo>
                  <a:cubicBezTo>
                    <a:pt x="6871" y="14851"/>
                    <a:pt x="4685" y="16663"/>
                    <a:pt x="1624" y="16600"/>
                  </a:cubicBezTo>
                  <a:cubicBezTo>
                    <a:pt x="874" y="16413"/>
                    <a:pt x="312" y="15975"/>
                    <a:pt x="0" y="15288"/>
                  </a:cubicBezTo>
                  <a:cubicBezTo>
                    <a:pt x="749" y="11915"/>
                    <a:pt x="4435" y="11478"/>
                    <a:pt x="6933" y="9917"/>
                  </a:cubicBezTo>
                  <a:cubicBezTo>
                    <a:pt x="8682" y="8792"/>
                    <a:pt x="10743" y="8230"/>
                    <a:pt x="11180" y="5982"/>
                  </a:cubicBezTo>
                  <a:cubicBezTo>
                    <a:pt x="20737" y="1672"/>
                    <a:pt x="30793" y="-77"/>
                    <a:pt x="41411" y="360"/>
                  </a:cubicBezTo>
                  <a:cubicBezTo>
                    <a:pt x="48095" y="922"/>
                    <a:pt x="54715" y="1672"/>
                    <a:pt x="61336" y="985"/>
                  </a:cubicBezTo>
                  <a:close/>
                </a:path>
              </a:pathLst>
            </a:custGeom>
            <a:grpFill/>
            <a:ln w="6246" cap="flat">
              <a:noFill/>
              <a:prstDash val="solid"/>
              <a:miter/>
            </a:ln>
          </p:spPr>
          <p:txBody>
            <a:bodyPr rtlCol="0" anchor="ctr"/>
            <a:lstStyle/>
            <a:p>
              <a:endParaRPr lang="fr-FR" sz="2400"/>
            </a:p>
          </p:txBody>
        </p:sp>
        <p:sp>
          <p:nvSpPr>
            <p:cNvPr id="202" name="Freeform: Shape 201">
              <a:extLst>
                <a:ext uri="{FF2B5EF4-FFF2-40B4-BE49-F238E27FC236}">
                  <a16:creationId xmlns:a16="http://schemas.microsoft.com/office/drawing/2014/main" id="{2820D8CC-619F-4A0E-8C07-DCCABE8D8ACE}"/>
                </a:ext>
              </a:extLst>
            </p:cNvPr>
            <p:cNvSpPr/>
            <p:nvPr/>
          </p:nvSpPr>
          <p:spPr>
            <a:xfrm>
              <a:off x="1397721" y="490877"/>
              <a:ext cx="12492" cy="81199"/>
            </a:xfrm>
            <a:custGeom>
              <a:avLst/>
              <a:gdLst>
                <a:gd name="connsiteX0" fmla="*/ 7549 w 12492"/>
                <a:gd name="connsiteY0" fmla="*/ 48345 h 81198"/>
                <a:gd name="connsiteX1" fmla="*/ 6487 w 12492"/>
                <a:gd name="connsiteY1" fmla="*/ 20924 h 81198"/>
                <a:gd name="connsiteX2" fmla="*/ 1990 w 12492"/>
                <a:gd name="connsiteY2" fmla="*/ 9744 h 81198"/>
                <a:gd name="connsiteX3" fmla="*/ 53 w 12492"/>
                <a:gd name="connsiteY3" fmla="*/ 0 h 81198"/>
                <a:gd name="connsiteX4" fmla="*/ 6424 w 12492"/>
                <a:gd name="connsiteY4" fmla="*/ 8120 h 81198"/>
                <a:gd name="connsiteX5" fmla="*/ 9048 w 12492"/>
                <a:gd name="connsiteY5" fmla="*/ 5434 h 81198"/>
                <a:gd name="connsiteX6" fmla="*/ 8111 w 12492"/>
                <a:gd name="connsiteY6" fmla="*/ 10181 h 81198"/>
                <a:gd name="connsiteX7" fmla="*/ 7549 w 12492"/>
                <a:gd name="connsiteY7" fmla="*/ 14553 h 81198"/>
                <a:gd name="connsiteX8" fmla="*/ 11858 w 12492"/>
                <a:gd name="connsiteY8" fmla="*/ 29044 h 81198"/>
                <a:gd name="connsiteX9" fmla="*/ 13982 w 12492"/>
                <a:gd name="connsiteY9" fmla="*/ 29044 h 81198"/>
                <a:gd name="connsiteX10" fmla="*/ 15044 w 12492"/>
                <a:gd name="connsiteY10" fmla="*/ 30044 h 81198"/>
                <a:gd name="connsiteX11" fmla="*/ 16231 w 12492"/>
                <a:gd name="connsiteY11" fmla="*/ 29856 h 81198"/>
                <a:gd name="connsiteX12" fmla="*/ 16605 w 12492"/>
                <a:gd name="connsiteY12" fmla="*/ 30918 h 81198"/>
                <a:gd name="connsiteX13" fmla="*/ 17355 w 12492"/>
                <a:gd name="connsiteY13" fmla="*/ 32792 h 81198"/>
                <a:gd name="connsiteX14" fmla="*/ 18292 w 12492"/>
                <a:gd name="connsiteY14" fmla="*/ 35540 h 81198"/>
                <a:gd name="connsiteX15" fmla="*/ 18354 w 12492"/>
                <a:gd name="connsiteY15" fmla="*/ 38039 h 81198"/>
                <a:gd name="connsiteX16" fmla="*/ 16168 w 12492"/>
                <a:gd name="connsiteY16" fmla="*/ 46346 h 81198"/>
                <a:gd name="connsiteX17" fmla="*/ 15169 w 12492"/>
                <a:gd name="connsiteY17" fmla="*/ 56589 h 81198"/>
                <a:gd name="connsiteX18" fmla="*/ 14045 w 12492"/>
                <a:gd name="connsiteY18" fmla="*/ 59400 h 81198"/>
                <a:gd name="connsiteX19" fmla="*/ 11671 w 12492"/>
                <a:gd name="connsiteY19" fmla="*/ 69519 h 81198"/>
                <a:gd name="connsiteX20" fmla="*/ 7611 w 12492"/>
                <a:gd name="connsiteY20" fmla="*/ 80262 h 81198"/>
                <a:gd name="connsiteX21" fmla="*/ 678 w 12492"/>
                <a:gd name="connsiteY21" fmla="*/ 81824 h 81198"/>
                <a:gd name="connsiteX22" fmla="*/ 2052 w 12492"/>
                <a:gd name="connsiteY22" fmla="*/ 74453 h 81198"/>
                <a:gd name="connsiteX23" fmla="*/ 3239 w 12492"/>
                <a:gd name="connsiteY23" fmla="*/ 71143 h 81198"/>
                <a:gd name="connsiteX24" fmla="*/ 4488 w 12492"/>
                <a:gd name="connsiteY24" fmla="*/ 68457 h 81198"/>
                <a:gd name="connsiteX25" fmla="*/ 6487 w 12492"/>
                <a:gd name="connsiteY25" fmla="*/ 52405 h 81198"/>
                <a:gd name="connsiteX26" fmla="*/ 7549 w 12492"/>
                <a:gd name="connsiteY26" fmla="*/ 48345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92" h="81198">
                  <a:moveTo>
                    <a:pt x="7549" y="48345"/>
                  </a:moveTo>
                  <a:cubicBezTo>
                    <a:pt x="7361" y="39225"/>
                    <a:pt x="9922" y="29981"/>
                    <a:pt x="6487" y="20924"/>
                  </a:cubicBezTo>
                  <a:cubicBezTo>
                    <a:pt x="5050" y="17177"/>
                    <a:pt x="3801" y="13367"/>
                    <a:pt x="1990" y="9744"/>
                  </a:cubicBezTo>
                  <a:cubicBezTo>
                    <a:pt x="428" y="6558"/>
                    <a:pt x="-197" y="3373"/>
                    <a:pt x="53" y="0"/>
                  </a:cubicBezTo>
                  <a:cubicBezTo>
                    <a:pt x="2177" y="2686"/>
                    <a:pt x="4238" y="5372"/>
                    <a:pt x="6424" y="8120"/>
                  </a:cubicBezTo>
                  <a:cubicBezTo>
                    <a:pt x="8236" y="8057"/>
                    <a:pt x="6924" y="5684"/>
                    <a:pt x="9048" y="5434"/>
                  </a:cubicBezTo>
                  <a:cubicBezTo>
                    <a:pt x="9985" y="7183"/>
                    <a:pt x="10297" y="9244"/>
                    <a:pt x="8111" y="10181"/>
                  </a:cubicBezTo>
                  <a:cubicBezTo>
                    <a:pt x="4800" y="11555"/>
                    <a:pt x="6424" y="12929"/>
                    <a:pt x="7549" y="14553"/>
                  </a:cubicBezTo>
                  <a:cubicBezTo>
                    <a:pt x="8236" y="19550"/>
                    <a:pt x="7986" y="24797"/>
                    <a:pt x="11858" y="29044"/>
                  </a:cubicBezTo>
                  <a:cubicBezTo>
                    <a:pt x="12546" y="28482"/>
                    <a:pt x="13232" y="28482"/>
                    <a:pt x="13982" y="29044"/>
                  </a:cubicBezTo>
                  <a:cubicBezTo>
                    <a:pt x="14357" y="29357"/>
                    <a:pt x="14731" y="29669"/>
                    <a:pt x="15044" y="30044"/>
                  </a:cubicBezTo>
                  <a:cubicBezTo>
                    <a:pt x="15356" y="29731"/>
                    <a:pt x="15793" y="29669"/>
                    <a:pt x="16231" y="29856"/>
                  </a:cubicBezTo>
                  <a:cubicBezTo>
                    <a:pt x="16481" y="30169"/>
                    <a:pt x="16605" y="30543"/>
                    <a:pt x="16605" y="30918"/>
                  </a:cubicBezTo>
                  <a:cubicBezTo>
                    <a:pt x="16543" y="31605"/>
                    <a:pt x="16668" y="32292"/>
                    <a:pt x="17355" y="32792"/>
                  </a:cubicBezTo>
                  <a:cubicBezTo>
                    <a:pt x="18229" y="33541"/>
                    <a:pt x="18229" y="34541"/>
                    <a:pt x="18292" y="35540"/>
                  </a:cubicBezTo>
                  <a:cubicBezTo>
                    <a:pt x="18292" y="36352"/>
                    <a:pt x="18916" y="37164"/>
                    <a:pt x="18354" y="38039"/>
                  </a:cubicBezTo>
                  <a:cubicBezTo>
                    <a:pt x="14919" y="40225"/>
                    <a:pt x="17292" y="43660"/>
                    <a:pt x="16168" y="46346"/>
                  </a:cubicBezTo>
                  <a:cubicBezTo>
                    <a:pt x="14919" y="49719"/>
                    <a:pt x="16043" y="53217"/>
                    <a:pt x="15169" y="56589"/>
                  </a:cubicBezTo>
                  <a:cubicBezTo>
                    <a:pt x="14857" y="57589"/>
                    <a:pt x="14419" y="58463"/>
                    <a:pt x="14045" y="59400"/>
                  </a:cubicBezTo>
                  <a:cubicBezTo>
                    <a:pt x="12795" y="62711"/>
                    <a:pt x="12546" y="66146"/>
                    <a:pt x="11671" y="69519"/>
                  </a:cubicBezTo>
                  <a:cubicBezTo>
                    <a:pt x="9235" y="72767"/>
                    <a:pt x="10672" y="77201"/>
                    <a:pt x="7611" y="80262"/>
                  </a:cubicBezTo>
                  <a:cubicBezTo>
                    <a:pt x="4988" y="79700"/>
                    <a:pt x="3489" y="83260"/>
                    <a:pt x="678" y="81824"/>
                  </a:cubicBezTo>
                  <a:cubicBezTo>
                    <a:pt x="-134" y="79138"/>
                    <a:pt x="1178" y="76827"/>
                    <a:pt x="2052" y="74453"/>
                  </a:cubicBezTo>
                  <a:cubicBezTo>
                    <a:pt x="2614" y="73391"/>
                    <a:pt x="2927" y="72267"/>
                    <a:pt x="3239" y="71143"/>
                  </a:cubicBezTo>
                  <a:cubicBezTo>
                    <a:pt x="3551" y="70206"/>
                    <a:pt x="4051" y="69331"/>
                    <a:pt x="4488" y="68457"/>
                  </a:cubicBezTo>
                  <a:cubicBezTo>
                    <a:pt x="6299" y="63210"/>
                    <a:pt x="7611" y="57964"/>
                    <a:pt x="6487" y="52405"/>
                  </a:cubicBezTo>
                  <a:cubicBezTo>
                    <a:pt x="6174" y="50968"/>
                    <a:pt x="6549" y="49594"/>
                    <a:pt x="7549" y="48345"/>
                  </a:cubicBezTo>
                  <a:close/>
                </a:path>
              </a:pathLst>
            </a:custGeom>
            <a:grpFill/>
            <a:ln w="6246" cap="flat">
              <a:noFill/>
              <a:prstDash val="solid"/>
              <a:miter/>
            </a:ln>
          </p:spPr>
          <p:txBody>
            <a:bodyPr rtlCol="0" anchor="ctr"/>
            <a:lstStyle/>
            <a:p>
              <a:endParaRPr lang="fr-FR" sz="2400"/>
            </a:p>
          </p:txBody>
        </p:sp>
        <p:sp>
          <p:nvSpPr>
            <p:cNvPr id="203" name="Freeform: Shape 202">
              <a:extLst>
                <a:ext uri="{FF2B5EF4-FFF2-40B4-BE49-F238E27FC236}">
                  <a16:creationId xmlns:a16="http://schemas.microsoft.com/office/drawing/2014/main" id="{5825518F-8615-40ED-916C-BB7D57435360}"/>
                </a:ext>
              </a:extLst>
            </p:cNvPr>
            <p:cNvSpPr/>
            <p:nvPr/>
          </p:nvSpPr>
          <p:spPr>
            <a:xfrm>
              <a:off x="1410960" y="532985"/>
              <a:ext cx="6246" cy="31230"/>
            </a:xfrm>
            <a:custGeom>
              <a:avLst/>
              <a:gdLst>
                <a:gd name="connsiteX0" fmla="*/ 7114 w 6246"/>
                <a:gd name="connsiteY0" fmla="*/ 29409 h 31230"/>
                <a:gd name="connsiteX1" fmla="*/ 6614 w 6246"/>
                <a:gd name="connsiteY1" fmla="*/ 29409 h 31230"/>
                <a:gd name="connsiteX2" fmla="*/ 6115 w 6246"/>
                <a:gd name="connsiteY2" fmla="*/ 29409 h 31230"/>
                <a:gd name="connsiteX3" fmla="*/ 4303 w 6246"/>
                <a:gd name="connsiteY3" fmla="*/ 30409 h 31230"/>
                <a:gd name="connsiteX4" fmla="*/ 181 w 6246"/>
                <a:gd name="connsiteY4" fmla="*/ 27723 h 31230"/>
                <a:gd name="connsiteX5" fmla="*/ 1492 w 6246"/>
                <a:gd name="connsiteY5" fmla="*/ 22601 h 31230"/>
                <a:gd name="connsiteX6" fmla="*/ 1180 w 6246"/>
                <a:gd name="connsiteY6" fmla="*/ 14794 h 31230"/>
                <a:gd name="connsiteX7" fmla="*/ 2242 w 6246"/>
                <a:gd name="connsiteY7" fmla="*/ 3426 h 31230"/>
                <a:gd name="connsiteX8" fmla="*/ 2492 w 6246"/>
                <a:gd name="connsiteY8" fmla="*/ 365 h 31230"/>
                <a:gd name="connsiteX9" fmla="*/ 5740 w 6246"/>
                <a:gd name="connsiteY9" fmla="*/ 2864 h 31230"/>
                <a:gd name="connsiteX10" fmla="*/ 5990 w 6246"/>
                <a:gd name="connsiteY10" fmla="*/ 12920 h 31230"/>
                <a:gd name="connsiteX11" fmla="*/ 7114 w 6246"/>
                <a:gd name="connsiteY11" fmla="*/ 23538 h 31230"/>
                <a:gd name="connsiteX12" fmla="*/ 7114 w 6246"/>
                <a:gd name="connsiteY12" fmla="*/ 29409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31230">
                  <a:moveTo>
                    <a:pt x="7114" y="29409"/>
                  </a:moveTo>
                  <a:lnTo>
                    <a:pt x="6614" y="29409"/>
                  </a:lnTo>
                  <a:lnTo>
                    <a:pt x="6115" y="29409"/>
                  </a:lnTo>
                  <a:cubicBezTo>
                    <a:pt x="5615" y="29847"/>
                    <a:pt x="4990" y="30221"/>
                    <a:pt x="4303" y="30409"/>
                  </a:cubicBezTo>
                  <a:cubicBezTo>
                    <a:pt x="743" y="32220"/>
                    <a:pt x="-506" y="31346"/>
                    <a:pt x="181" y="27723"/>
                  </a:cubicBezTo>
                  <a:cubicBezTo>
                    <a:pt x="493" y="25974"/>
                    <a:pt x="743" y="24225"/>
                    <a:pt x="1492" y="22601"/>
                  </a:cubicBezTo>
                  <a:cubicBezTo>
                    <a:pt x="2742" y="19915"/>
                    <a:pt x="2554" y="17355"/>
                    <a:pt x="1180" y="14794"/>
                  </a:cubicBezTo>
                  <a:cubicBezTo>
                    <a:pt x="1118" y="10984"/>
                    <a:pt x="1368" y="7174"/>
                    <a:pt x="2242" y="3426"/>
                  </a:cubicBezTo>
                  <a:cubicBezTo>
                    <a:pt x="2304" y="2426"/>
                    <a:pt x="2117" y="1365"/>
                    <a:pt x="2492" y="365"/>
                  </a:cubicBezTo>
                  <a:cubicBezTo>
                    <a:pt x="5490" y="-821"/>
                    <a:pt x="5365" y="1115"/>
                    <a:pt x="5740" y="2864"/>
                  </a:cubicBezTo>
                  <a:cubicBezTo>
                    <a:pt x="6489" y="6237"/>
                    <a:pt x="3804" y="9609"/>
                    <a:pt x="5990" y="12920"/>
                  </a:cubicBezTo>
                  <a:cubicBezTo>
                    <a:pt x="6552" y="16480"/>
                    <a:pt x="4803" y="20165"/>
                    <a:pt x="7114" y="23538"/>
                  </a:cubicBezTo>
                  <a:cubicBezTo>
                    <a:pt x="8301" y="25599"/>
                    <a:pt x="7864" y="27536"/>
                    <a:pt x="7114" y="29409"/>
                  </a:cubicBezTo>
                  <a:close/>
                </a:path>
              </a:pathLst>
            </a:custGeom>
            <a:grpFill/>
            <a:ln w="6246" cap="flat">
              <a:noFill/>
              <a:prstDash val="solid"/>
              <a:miter/>
            </a:ln>
          </p:spPr>
          <p:txBody>
            <a:bodyPr rtlCol="0" anchor="ctr"/>
            <a:lstStyle/>
            <a:p>
              <a:endParaRPr lang="fr-FR" sz="2400"/>
            </a:p>
          </p:txBody>
        </p:sp>
        <p:sp>
          <p:nvSpPr>
            <p:cNvPr id="204" name="Freeform: Shape 203">
              <a:extLst>
                <a:ext uri="{FF2B5EF4-FFF2-40B4-BE49-F238E27FC236}">
                  <a16:creationId xmlns:a16="http://schemas.microsoft.com/office/drawing/2014/main" id="{2F1AF045-9B6F-4DF0-867A-FBE40388BAE2}"/>
                </a:ext>
              </a:extLst>
            </p:cNvPr>
            <p:cNvSpPr/>
            <p:nvPr/>
          </p:nvSpPr>
          <p:spPr>
            <a:xfrm>
              <a:off x="1378104" y="465768"/>
              <a:ext cx="6246" cy="12492"/>
            </a:xfrm>
            <a:custGeom>
              <a:avLst/>
              <a:gdLst>
                <a:gd name="connsiteX0" fmla="*/ 10051 w 6246"/>
                <a:gd name="connsiteY0" fmla="*/ 8682 h 12492"/>
                <a:gd name="connsiteX1" fmla="*/ 7990 w 6246"/>
                <a:gd name="connsiteY1" fmla="*/ 9681 h 12492"/>
                <a:gd name="connsiteX2" fmla="*/ 11301 w 6246"/>
                <a:gd name="connsiteY2" fmla="*/ 15990 h 12492"/>
                <a:gd name="connsiteX3" fmla="*/ 4243 w 6246"/>
                <a:gd name="connsiteY3" fmla="*/ 9307 h 12492"/>
                <a:gd name="connsiteX4" fmla="*/ 245 w 6246"/>
                <a:gd name="connsiteY4" fmla="*/ 1499 h 12492"/>
                <a:gd name="connsiteX5" fmla="*/ 1432 w 6246"/>
                <a:gd name="connsiteY5" fmla="*/ 0 h 12492"/>
                <a:gd name="connsiteX6" fmla="*/ 7865 w 6246"/>
                <a:gd name="connsiteY6" fmla="*/ 4809 h 12492"/>
                <a:gd name="connsiteX7" fmla="*/ 10051 w 6246"/>
                <a:gd name="connsiteY7" fmla="*/ 868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10051" y="8682"/>
                  </a:moveTo>
                  <a:cubicBezTo>
                    <a:pt x="9177" y="8745"/>
                    <a:pt x="6741" y="6371"/>
                    <a:pt x="7990" y="9681"/>
                  </a:cubicBezTo>
                  <a:cubicBezTo>
                    <a:pt x="8740" y="11618"/>
                    <a:pt x="9926" y="13429"/>
                    <a:pt x="11301" y="15990"/>
                  </a:cubicBezTo>
                  <a:cubicBezTo>
                    <a:pt x="7240" y="14553"/>
                    <a:pt x="5929" y="11555"/>
                    <a:pt x="4243" y="9307"/>
                  </a:cubicBezTo>
                  <a:cubicBezTo>
                    <a:pt x="2556" y="6996"/>
                    <a:pt x="1994" y="3997"/>
                    <a:pt x="245" y="1499"/>
                  </a:cubicBezTo>
                  <a:cubicBezTo>
                    <a:pt x="-442" y="562"/>
                    <a:pt x="432" y="125"/>
                    <a:pt x="1432" y="0"/>
                  </a:cubicBezTo>
                  <a:cubicBezTo>
                    <a:pt x="4243" y="874"/>
                    <a:pt x="4805" y="4247"/>
                    <a:pt x="7865" y="4809"/>
                  </a:cubicBezTo>
                  <a:cubicBezTo>
                    <a:pt x="9364" y="5746"/>
                    <a:pt x="11550" y="6371"/>
                    <a:pt x="10051" y="8682"/>
                  </a:cubicBezTo>
                  <a:close/>
                </a:path>
              </a:pathLst>
            </a:custGeom>
            <a:grpFill/>
            <a:ln w="6246" cap="flat">
              <a:noFill/>
              <a:prstDash val="solid"/>
              <a:miter/>
            </a:ln>
          </p:spPr>
          <p:txBody>
            <a:bodyPr rtlCol="0" anchor="ctr"/>
            <a:lstStyle/>
            <a:p>
              <a:endParaRPr lang="fr-FR" sz="2400"/>
            </a:p>
          </p:txBody>
        </p:sp>
        <p:sp>
          <p:nvSpPr>
            <p:cNvPr id="205" name="Freeform: Shape 204">
              <a:extLst>
                <a:ext uri="{FF2B5EF4-FFF2-40B4-BE49-F238E27FC236}">
                  <a16:creationId xmlns:a16="http://schemas.microsoft.com/office/drawing/2014/main" id="{387B93FC-B9DC-4E8E-85A9-17168D61B67A}"/>
                </a:ext>
              </a:extLst>
            </p:cNvPr>
            <p:cNvSpPr/>
            <p:nvPr/>
          </p:nvSpPr>
          <p:spPr>
            <a:xfrm>
              <a:off x="1367231" y="454654"/>
              <a:ext cx="6246" cy="6246"/>
            </a:xfrm>
            <a:custGeom>
              <a:avLst/>
              <a:gdLst>
                <a:gd name="connsiteX0" fmla="*/ 11305 w 6246"/>
                <a:gd name="connsiteY0" fmla="*/ 9115 h 6246"/>
                <a:gd name="connsiteX1" fmla="*/ 4560 w 6246"/>
                <a:gd name="connsiteY1" fmla="*/ 6992 h 6246"/>
                <a:gd name="connsiteX2" fmla="*/ 0 w 6246"/>
                <a:gd name="connsiteY2" fmla="*/ 121 h 6246"/>
                <a:gd name="connsiteX3" fmla="*/ 5934 w 6246"/>
                <a:gd name="connsiteY3" fmla="*/ 2370 h 6246"/>
                <a:gd name="connsiteX4" fmla="*/ 11305 w 6246"/>
                <a:gd name="connsiteY4" fmla="*/ 911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305" y="9115"/>
                  </a:moveTo>
                  <a:cubicBezTo>
                    <a:pt x="8120" y="10927"/>
                    <a:pt x="6121" y="8491"/>
                    <a:pt x="4560" y="6992"/>
                  </a:cubicBezTo>
                  <a:cubicBezTo>
                    <a:pt x="2623" y="5118"/>
                    <a:pt x="1562" y="2495"/>
                    <a:pt x="0" y="121"/>
                  </a:cubicBezTo>
                  <a:cubicBezTo>
                    <a:pt x="3061" y="-753"/>
                    <a:pt x="3123" y="3431"/>
                    <a:pt x="5934" y="2370"/>
                  </a:cubicBezTo>
                  <a:cubicBezTo>
                    <a:pt x="8744" y="3931"/>
                    <a:pt x="10743" y="6055"/>
                    <a:pt x="11305" y="9115"/>
                  </a:cubicBezTo>
                  <a:close/>
                </a:path>
              </a:pathLst>
            </a:custGeom>
            <a:grpFill/>
            <a:ln w="6246" cap="flat">
              <a:noFill/>
              <a:prstDash val="solid"/>
              <a:miter/>
            </a:ln>
          </p:spPr>
          <p:txBody>
            <a:bodyPr rtlCol="0" anchor="ctr"/>
            <a:lstStyle/>
            <a:p>
              <a:endParaRPr lang="fr-FR" sz="2400"/>
            </a:p>
          </p:txBody>
        </p:sp>
        <p:sp>
          <p:nvSpPr>
            <p:cNvPr id="206" name="Freeform: Shape 205">
              <a:extLst>
                <a:ext uri="{FF2B5EF4-FFF2-40B4-BE49-F238E27FC236}">
                  <a16:creationId xmlns:a16="http://schemas.microsoft.com/office/drawing/2014/main" id="{78AC5630-AC59-488C-8284-18504A08B647}"/>
                </a:ext>
              </a:extLst>
            </p:cNvPr>
            <p:cNvSpPr/>
            <p:nvPr/>
          </p:nvSpPr>
          <p:spPr>
            <a:xfrm>
              <a:off x="1413254" y="519797"/>
              <a:ext cx="6246" cy="24984"/>
            </a:xfrm>
            <a:custGeom>
              <a:avLst/>
              <a:gdLst>
                <a:gd name="connsiteX0" fmla="*/ 3759 w 0"/>
                <a:gd name="connsiteY0" fmla="*/ 26171 h 24984"/>
                <a:gd name="connsiteX1" fmla="*/ 1635 w 0"/>
                <a:gd name="connsiteY1" fmla="*/ 25172 h 24984"/>
                <a:gd name="connsiteX2" fmla="*/ 2447 w 0"/>
                <a:gd name="connsiteY2" fmla="*/ 18176 h 24984"/>
                <a:gd name="connsiteX3" fmla="*/ 573 w 0"/>
                <a:gd name="connsiteY3" fmla="*/ 13616 h 24984"/>
                <a:gd name="connsiteX4" fmla="*/ 2697 w 0"/>
                <a:gd name="connsiteY4" fmla="*/ 8745 h 24984"/>
                <a:gd name="connsiteX5" fmla="*/ 1635 w 0"/>
                <a:gd name="connsiteY5" fmla="*/ 6808 h 24984"/>
                <a:gd name="connsiteX6" fmla="*/ 2135 w 0"/>
                <a:gd name="connsiteY6" fmla="*/ 500 h 24984"/>
                <a:gd name="connsiteX7" fmla="*/ 2760 w 0"/>
                <a:gd name="connsiteY7" fmla="*/ 0 h 24984"/>
                <a:gd name="connsiteX8" fmla="*/ 3821 w 0"/>
                <a:gd name="connsiteY8" fmla="*/ 17427 h 24984"/>
                <a:gd name="connsiteX9" fmla="*/ 4259 w 0"/>
                <a:gd name="connsiteY9" fmla="*/ 20050 h 24984"/>
                <a:gd name="connsiteX10" fmla="*/ 3759 w 0"/>
                <a:gd name="connsiteY10" fmla="*/ 25172 h 24984"/>
                <a:gd name="connsiteX11" fmla="*/ 3759 w 0"/>
                <a:gd name="connsiteY11" fmla="*/ 2617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24984">
                  <a:moveTo>
                    <a:pt x="3759" y="26171"/>
                  </a:moveTo>
                  <a:cubicBezTo>
                    <a:pt x="2697" y="26421"/>
                    <a:pt x="1635" y="26733"/>
                    <a:pt x="1635" y="25172"/>
                  </a:cubicBezTo>
                  <a:cubicBezTo>
                    <a:pt x="1573" y="22798"/>
                    <a:pt x="1823" y="20487"/>
                    <a:pt x="2447" y="18176"/>
                  </a:cubicBezTo>
                  <a:cubicBezTo>
                    <a:pt x="2885" y="16552"/>
                    <a:pt x="3696" y="14241"/>
                    <a:pt x="573" y="13616"/>
                  </a:cubicBezTo>
                  <a:cubicBezTo>
                    <a:pt x="-988" y="11180"/>
                    <a:pt x="948" y="9994"/>
                    <a:pt x="2697" y="8745"/>
                  </a:cubicBezTo>
                  <a:cubicBezTo>
                    <a:pt x="2322" y="8120"/>
                    <a:pt x="2010" y="7433"/>
                    <a:pt x="1635" y="6808"/>
                  </a:cubicBezTo>
                  <a:cubicBezTo>
                    <a:pt x="3197" y="4809"/>
                    <a:pt x="573" y="2561"/>
                    <a:pt x="2135" y="500"/>
                  </a:cubicBezTo>
                  <a:cubicBezTo>
                    <a:pt x="2322" y="312"/>
                    <a:pt x="2510" y="187"/>
                    <a:pt x="2760" y="0"/>
                  </a:cubicBezTo>
                  <a:cubicBezTo>
                    <a:pt x="4696" y="5746"/>
                    <a:pt x="3759" y="11618"/>
                    <a:pt x="3821" y="17427"/>
                  </a:cubicBezTo>
                  <a:cubicBezTo>
                    <a:pt x="4571" y="18176"/>
                    <a:pt x="4259" y="19113"/>
                    <a:pt x="4259" y="20050"/>
                  </a:cubicBezTo>
                  <a:cubicBezTo>
                    <a:pt x="3884" y="21736"/>
                    <a:pt x="3134" y="23423"/>
                    <a:pt x="3759" y="25172"/>
                  </a:cubicBezTo>
                  <a:cubicBezTo>
                    <a:pt x="3759" y="25546"/>
                    <a:pt x="3759" y="25859"/>
                    <a:pt x="3759" y="26171"/>
                  </a:cubicBezTo>
                  <a:close/>
                </a:path>
              </a:pathLst>
            </a:custGeom>
            <a:grpFill/>
            <a:ln w="6246" cap="flat">
              <a:noFill/>
              <a:prstDash val="solid"/>
              <a:miter/>
            </a:ln>
          </p:spPr>
          <p:txBody>
            <a:bodyPr rtlCol="0" anchor="ctr"/>
            <a:lstStyle/>
            <a:p>
              <a:endParaRPr lang="fr-FR" sz="2400"/>
            </a:p>
          </p:txBody>
        </p:sp>
        <p:sp>
          <p:nvSpPr>
            <p:cNvPr id="207" name="Freeform: Shape 206">
              <a:extLst>
                <a:ext uri="{FF2B5EF4-FFF2-40B4-BE49-F238E27FC236}">
                  <a16:creationId xmlns:a16="http://schemas.microsoft.com/office/drawing/2014/main" id="{3774F62E-9D5E-41E6-B715-6FFBC87382AD}"/>
                </a:ext>
              </a:extLst>
            </p:cNvPr>
            <p:cNvSpPr/>
            <p:nvPr/>
          </p:nvSpPr>
          <p:spPr>
            <a:xfrm>
              <a:off x="1386032" y="468641"/>
              <a:ext cx="6246" cy="6246"/>
            </a:xfrm>
            <a:custGeom>
              <a:avLst/>
              <a:gdLst>
                <a:gd name="connsiteX0" fmla="*/ 2124 w 6246"/>
                <a:gd name="connsiteY0" fmla="*/ 5809 h 6246"/>
                <a:gd name="connsiteX1" fmla="*/ 0 w 6246"/>
                <a:gd name="connsiteY1" fmla="*/ 1936 h 6246"/>
                <a:gd name="connsiteX2" fmla="*/ 1062 w 6246"/>
                <a:gd name="connsiteY2" fmla="*/ 0 h 6246"/>
                <a:gd name="connsiteX3" fmla="*/ 1062 w 6246"/>
                <a:gd name="connsiteY3" fmla="*/ 0 h 6246"/>
                <a:gd name="connsiteX4" fmla="*/ 6433 w 6246"/>
                <a:gd name="connsiteY4" fmla="*/ 11618 h 6246"/>
                <a:gd name="connsiteX5" fmla="*/ 2124 w 6246"/>
                <a:gd name="connsiteY5"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2124" y="5809"/>
                  </a:moveTo>
                  <a:cubicBezTo>
                    <a:pt x="1436" y="4497"/>
                    <a:pt x="687" y="3248"/>
                    <a:pt x="0" y="1936"/>
                  </a:cubicBezTo>
                  <a:cubicBezTo>
                    <a:pt x="812" y="1499"/>
                    <a:pt x="1062" y="812"/>
                    <a:pt x="1062" y="0"/>
                  </a:cubicBezTo>
                  <a:lnTo>
                    <a:pt x="1062" y="0"/>
                  </a:lnTo>
                  <a:cubicBezTo>
                    <a:pt x="9556" y="1374"/>
                    <a:pt x="4934" y="7620"/>
                    <a:pt x="6433" y="11618"/>
                  </a:cubicBezTo>
                  <a:cubicBezTo>
                    <a:pt x="4934" y="9681"/>
                    <a:pt x="3560" y="7745"/>
                    <a:pt x="2124" y="5809"/>
                  </a:cubicBezTo>
                  <a:close/>
                </a:path>
              </a:pathLst>
            </a:custGeom>
            <a:grpFill/>
            <a:ln w="6246" cap="flat">
              <a:noFill/>
              <a:prstDash val="solid"/>
              <a:miter/>
            </a:ln>
          </p:spPr>
          <p:txBody>
            <a:bodyPr rtlCol="0" anchor="ctr"/>
            <a:lstStyle/>
            <a:p>
              <a:endParaRPr lang="fr-FR" sz="2400"/>
            </a:p>
          </p:txBody>
        </p:sp>
        <p:sp>
          <p:nvSpPr>
            <p:cNvPr id="208" name="Freeform: Shape 207">
              <a:extLst>
                <a:ext uri="{FF2B5EF4-FFF2-40B4-BE49-F238E27FC236}">
                  <a16:creationId xmlns:a16="http://schemas.microsoft.com/office/drawing/2014/main" id="{BB198CCE-7121-4FCB-9FDD-15C0A6E2445D}"/>
                </a:ext>
              </a:extLst>
            </p:cNvPr>
            <p:cNvSpPr/>
            <p:nvPr/>
          </p:nvSpPr>
          <p:spPr>
            <a:xfrm>
              <a:off x="1380320" y="458023"/>
              <a:ext cx="6246" cy="6246"/>
            </a:xfrm>
            <a:custGeom>
              <a:avLst/>
              <a:gdLst>
                <a:gd name="connsiteX0" fmla="*/ 6773 w 6246"/>
                <a:gd name="connsiteY0" fmla="*/ 10618 h 6246"/>
                <a:gd name="connsiteX1" fmla="*/ 527 w 6246"/>
                <a:gd name="connsiteY1" fmla="*/ 3185 h 6246"/>
                <a:gd name="connsiteX2" fmla="*/ 1402 w 6246"/>
                <a:gd name="connsiteY2" fmla="*/ 0 h 6246"/>
                <a:gd name="connsiteX3" fmla="*/ 1402 w 6246"/>
                <a:gd name="connsiteY3" fmla="*/ 0 h 6246"/>
                <a:gd name="connsiteX4" fmla="*/ 8085 w 6246"/>
                <a:gd name="connsiteY4" fmla="*/ 7558 h 6246"/>
                <a:gd name="connsiteX5" fmla="*/ 6773 w 6246"/>
                <a:gd name="connsiteY5" fmla="*/ 10618 h 6246"/>
                <a:gd name="connsiteX6" fmla="*/ 6773 w 6246"/>
                <a:gd name="connsiteY6"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6773" y="10618"/>
                  </a:moveTo>
                  <a:cubicBezTo>
                    <a:pt x="3838" y="8745"/>
                    <a:pt x="2776" y="5559"/>
                    <a:pt x="527" y="3185"/>
                  </a:cubicBezTo>
                  <a:cubicBezTo>
                    <a:pt x="-722" y="1811"/>
                    <a:pt x="527" y="937"/>
                    <a:pt x="1402" y="0"/>
                  </a:cubicBezTo>
                  <a:lnTo>
                    <a:pt x="1402" y="0"/>
                  </a:lnTo>
                  <a:cubicBezTo>
                    <a:pt x="5149" y="1437"/>
                    <a:pt x="3463" y="6808"/>
                    <a:pt x="8085" y="7558"/>
                  </a:cubicBezTo>
                  <a:cubicBezTo>
                    <a:pt x="7648" y="8557"/>
                    <a:pt x="7211" y="9619"/>
                    <a:pt x="6773" y="10618"/>
                  </a:cubicBezTo>
                  <a:lnTo>
                    <a:pt x="6773" y="10618"/>
                  </a:lnTo>
                  <a:close/>
                </a:path>
              </a:pathLst>
            </a:custGeom>
            <a:grpFill/>
            <a:ln w="6246" cap="flat">
              <a:noFill/>
              <a:prstDash val="solid"/>
              <a:miter/>
            </a:ln>
          </p:spPr>
          <p:txBody>
            <a:bodyPr rtlCol="0" anchor="ctr"/>
            <a:lstStyle/>
            <a:p>
              <a:endParaRPr lang="fr-FR" sz="2400"/>
            </a:p>
          </p:txBody>
        </p:sp>
        <p:sp>
          <p:nvSpPr>
            <p:cNvPr id="209" name="Freeform: Shape 208">
              <a:extLst>
                <a:ext uri="{FF2B5EF4-FFF2-40B4-BE49-F238E27FC236}">
                  <a16:creationId xmlns:a16="http://schemas.microsoft.com/office/drawing/2014/main" id="{5BF17E18-49D1-4B39-969A-1099F43E65F0}"/>
                </a:ext>
              </a:extLst>
            </p:cNvPr>
            <p:cNvSpPr/>
            <p:nvPr/>
          </p:nvSpPr>
          <p:spPr>
            <a:xfrm>
              <a:off x="1340687" y="429978"/>
              <a:ext cx="6246" cy="6246"/>
            </a:xfrm>
            <a:custGeom>
              <a:avLst/>
              <a:gdLst>
                <a:gd name="connsiteX0" fmla="*/ 8930 w 6246"/>
                <a:gd name="connsiteY0" fmla="*/ 6746 h 6246"/>
                <a:gd name="connsiteX1" fmla="*/ 2122 w 6246"/>
                <a:gd name="connsiteY1" fmla="*/ 4185 h 6246"/>
                <a:gd name="connsiteX2" fmla="*/ 311 w 6246"/>
                <a:gd name="connsiteY2" fmla="*/ 0 h 6246"/>
                <a:gd name="connsiteX3" fmla="*/ 3496 w 6246"/>
                <a:gd name="connsiteY3" fmla="*/ 937 h 6246"/>
                <a:gd name="connsiteX4" fmla="*/ 9930 w 6246"/>
                <a:gd name="connsiteY4" fmla="*/ 3810 h 6246"/>
                <a:gd name="connsiteX5" fmla="*/ 8930 w 6246"/>
                <a:gd name="connsiteY5" fmla="*/ 6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8930" y="6746"/>
                  </a:moveTo>
                  <a:cubicBezTo>
                    <a:pt x="6370" y="6496"/>
                    <a:pt x="4433" y="4934"/>
                    <a:pt x="2122" y="4185"/>
                  </a:cubicBezTo>
                  <a:cubicBezTo>
                    <a:pt x="-501" y="3373"/>
                    <a:pt x="-126" y="1749"/>
                    <a:pt x="311" y="0"/>
                  </a:cubicBezTo>
                  <a:cubicBezTo>
                    <a:pt x="1373" y="312"/>
                    <a:pt x="2435" y="625"/>
                    <a:pt x="3496" y="937"/>
                  </a:cubicBezTo>
                  <a:cubicBezTo>
                    <a:pt x="5120" y="2811"/>
                    <a:pt x="7744" y="2873"/>
                    <a:pt x="9930" y="3810"/>
                  </a:cubicBezTo>
                  <a:cubicBezTo>
                    <a:pt x="10742" y="5122"/>
                    <a:pt x="10117" y="6059"/>
                    <a:pt x="8930" y="6746"/>
                  </a:cubicBezTo>
                  <a:close/>
                </a:path>
              </a:pathLst>
            </a:custGeom>
            <a:grpFill/>
            <a:ln w="6246" cap="flat">
              <a:noFill/>
              <a:prstDash val="solid"/>
              <a:miter/>
            </a:ln>
          </p:spPr>
          <p:txBody>
            <a:bodyPr rtlCol="0" anchor="ctr"/>
            <a:lstStyle/>
            <a:p>
              <a:endParaRPr lang="fr-FR" sz="2400"/>
            </a:p>
          </p:txBody>
        </p:sp>
        <p:sp>
          <p:nvSpPr>
            <p:cNvPr id="210" name="Freeform: Shape 209">
              <a:extLst>
                <a:ext uri="{FF2B5EF4-FFF2-40B4-BE49-F238E27FC236}">
                  <a16:creationId xmlns:a16="http://schemas.microsoft.com/office/drawing/2014/main" id="{A026074C-50E5-45EF-9005-FE16F0CEA2CA}"/>
                </a:ext>
              </a:extLst>
            </p:cNvPr>
            <p:cNvSpPr/>
            <p:nvPr/>
          </p:nvSpPr>
          <p:spPr>
            <a:xfrm>
              <a:off x="1411703" y="508084"/>
              <a:ext cx="6246" cy="12492"/>
            </a:xfrm>
            <a:custGeom>
              <a:avLst/>
              <a:gdLst>
                <a:gd name="connsiteX0" fmla="*/ 2124 w 0"/>
                <a:gd name="connsiteY0" fmla="*/ 12775 h 12492"/>
                <a:gd name="connsiteX1" fmla="*/ 1062 w 0"/>
                <a:gd name="connsiteY1" fmla="*/ 12775 h 12492"/>
                <a:gd name="connsiteX2" fmla="*/ 0 w 0"/>
                <a:gd name="connsiteY2" fmla="*/ 220 h 12492"/>
                <a:gd name="connsiteX3" fmla="*/ 2124 w 0"/>
                <a:gd name="connsiteY3" fmla="*/ 220 h 12492"/>
                <a:gd name="connsiteX4" fmla="*/ 2748 w 0"/>
                <a:gd name="connsiteY4" fmla="*/ 907 h 12492"/>
                <a:gd name="connsiteX5" fmla="*/ 4247 w 0"/>
                <a:gd name="connsiteY5" fmla="*/ 11775 h 12492"/>
                <a:gd name="connsiteX6" fmla="*/ 4185 w 0"/>
                <a:gd name="connsiteY6" fmla="*/ 11838 h 12492"/>
                <a:gd name="connsiteX7" fmla="*/ 2124 w 0"/>
                <a:gd name="connsiteY7" fmla="*/ 127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24" y="12775"/>
                  </a:moveTo>
                  <a:cubicBezTo>
                    <a:pt x="1749" y="12775"/>
                    <a:pt x="1437" y="12775"/>
                    <a:pt x="1062" y="12775"/>
                  </a:cubicBezTo>
                  <a:cubicBezTo>
                    <a:pt x="687" y="8590"/>
                    <a:pt x="375" y="4405"/>
                    <a:pt x="0" y="220"/>
                  </a:cubicBezTo>
                  <a:cubicBezTo>
                    <a:pt x="687" y="-405"/>
                    <a:pt x="1437" y="532"/>
                    <a:pt x="2124" y="220"/>
                  </a:cubicBezTo>
                  <a:cubicBezTo>
                    <a:pt x="2374" y="470"/>
                    <a:pt x="2811" y="782"/>
                    <a:pt x="2748" y="907"/>
                  </a:cubicBezTo>
                  <a:cubicBezTo>
                    <a:pt x="1749" y="4717"/>
                    <a:pt x="3061" y="8277"/>
                    <a:pt x="4247" y="11775"/>
                  </a:cubicBezTo>
                  <a:cubicBezTo>
                    <a:pt x="4247" y="11775"/>
                    <a:pt x="4185" y="11838"/>
                    <a:pt x="4185" y="11838"/>
                  </a:cubicBezTo>
                  <a:cubicBezTo>
                    <a:pt x="3623" y="12400"/>
                    <a:pt x="2998" y="12837"/>
                    <a:pt x="2124" y="12775"/>
                  </a:cubicBezTo>
                  <a:close/>
                </a:path>
              </a:pathLst>
            </a:custGeom>
            <a:grpFill/>
            <a:ln w="6246" cap="flat">
              <a:noFill/>
              <a:prstDash val="solid"/>
              <a:miter/>
            </a:ln>
          </p:spPr>
          <p:txBody>
            <a:bodyPr rtlCol="0" anchor="ctr"/>
            <a:lstStyle/>
            <a:p>
              <a:endParaRPr lang="fr-FR" sz="2400"/>
            </a:p>
          </p:txBody>
        </p:sp>
        <p:sp>
          <p:nvSpPr>
            <p:cNvPr id="211" name="Freeform: Shape 210">
              <a:extLst>
                <a:ext uri="{FF2B5EF4-FFF2-40B4-BE49-F238E27FC236}">
                  <a16:creationId xmlns:a16="http://schemas.microsoft.com/office/drawing/2014/main" id="{109C000F-3B1C-46F6-A09E-02E9C5400F80}"/>
                </a:ext>
              </a:extLst>
            </p:cNvPr>
            <p:cNvSpPr/>
            <p:nvPr/>
          </p:nvSpPr>
          <p:spPr>
            <a:xfrm>
              <a:off x="1370292" y="446530"/>
              <a:ext cx="6246" cy="6246"/>
            </a:xfrm>
            <a:custGeom>
              <a:avLst/>
              <a:gdLst>
                <a:gd name="connsiteX0" fmla="*/ 11430 w 6246"/>
                <a:gd name="connsiteY0" fmla="*/ 11493 h 6246"/>
                <a:gd name="connsiteX1" fmla="*/ 0 w 6246"/>
                <a:gd name="connsiteY1" fmla="*/ 0 h 6246"/>
                <a:gd name="connsiteX2" fmla="*/ 11430 w 6246"/>
                <a:gd name="connsiteY2" fmla="*/ 11493 h 6246"/>
                <a:gd name="connsiteX3" fmla="*/ 11430 w 6246"/>
                <a:gd name="connsiteY3" fmla="*/ 11493 h 6246"/>
              </a:gdLst>
              <a:ahLst/>
              <a:cxnLst>
                <a:cxn ang="0">
                  <a:pos x="connsiteX0" y="connsiteY0"/>
                </a:cxn>
                <a:cxn ang="0">
                  <a:pos x="connsiteX1" y="connsiteY1"/>
                </a:cxn>
                <a:cxn ang="0">
                  <a:pos x="connsiteX2" y="connsiteY2"/>
                </a:cxn>
                <a:cxn ang="0">
                  <a:pos x="connsiteX3" y="connsiteY3"/>
                </a:cxn>
              </a:cxnLst>
              <a:rect l="l" t="t" r="r" b="b"/>
              <a:pathLst>
                <a:path w="6246" h="6246">
                  <a:moveTo>
                    <a:pt x="11430" y="11493"/>
                  </a:moveTo>
                  <a:cubicBezTo>
                    <a:pt x="6746" y="8370"/>
                    <a:pt x="4310" y="3435"/>
                    <a:pt x="0" y="0"/>
                  </a:cubicBezTo>
                  <a:cubicBezTo>
                    <a:pt x="4872" y="2998"/>
                    <a:pt x="9806" y="5871"/>
                    <a:pt x="11430" y="11493"/>
                  </a:cubicBezTo>
                  <a:lnTo>
                    <a:pt x="11430" y="11493"/>
                  </a:lnTo>
                  <a:close/>
                </a:path>
              </a:pathLst>
            </a:custGeom>
            <a:grpFill/>
            <a:ln w="6246" cap="flat">
              <a:noFill/>
              <a:prstDash val="solid"/>
              <a:miter/>
            </a:ln>
          </p:spPr>
          <p:txBody>
            <a:bodyPr rtlCol="0" anchor="ctr"/>
            <a:lstStyle/>
            <a:p>
              <a:endParaRPr lang="fr-FR" sz="2400"/>
            </a:p>
          </p:txBody>
        </p:sp>
        <p:sp>
          <p:nvSpPr>
            <p:cNvPr id="212" name="Freeform: Shape 211">
              <a:extLst>
                <a:ext uri="{FF2B5EF4-FFF2-40B4-BE49-F238E27FC236}">
                  <a16:creationId xmlns:a16="http://schemas.microsoft.com/office/drawing/2014/main" id="{36F6DB67-FEBB-42B0-9EA1-C1A97B9CB4F1}"/>
                </a:ext>
              </a:extLst>
            </p:cNvPr>
            <p:cNvSpPr/>
            <p:nvPr/>
          </p:nvSpPr>
          <p:spPr>
            <a:xfrm>
              <a:off x="1349617" y="433851"/>
              <a:ext cx="6246" cy="6246"/>
            </a:xfrm>
            <a:custGeom>
              <a:avLst/>
              <a:gdLst>
                <a:gd name="connsiteX0" fmla="*/ 0 w 0"/>
                <a:gd name="connsiteY0" fmla="*/ 2873 h 0"/>
                <a:gd name="connsiteX1" fmla="*/ 1062 w 0"/>
                <a:gd name="connsiteY1" fmla="*/ 0 h 0"/>
                <a:gd name="connsiteX2" fmla="*/ 5372 w 0"/>
                <a:gd name="connsiteY2" fmla="*/ 5809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375" y="1936"/>
                    <a:pt x="687" y="937"/>
                    <a:pt x="1062" y="0"/>
                  </a:cubicBezTo>
                  <a:cubicBezTo>
                    <a:pt x="3435" y="1374"/>
                    <a:pt x="8057" y="1374"/>
                    <a:pt x="5372" y="5809"/>
                  </a:cubicBezTo>
                  <a:cubicBezTo>
                    <a:pt x="3560" y="4809"/>
                    <a:pt x="1811" y="3873"/>
                    <a:pt x="0" y="2873"/>
                  </a:cubicBezTo>
                  <a:close/>
                </a:path>
              </a:pathLst>
            </a:custGeom>
            <a:grpFill/>
            <a:ln w="6246" cap="flat">
              <a:noFill/>
              <a:prstDash val="solid"/>
              <a:miter/>
            </a:ln>
          </p:spPr>
          <p:txBody>
            <a:bodyPr rtlCol="0" anchor="ctr"/>
            <a:lstStyle/>
            <a:p>
              <a:endParaRPr lang="fr-FR" sz="2400"/>
            </a:p>
          </p:txBody>
        </p:sp>
        <p:sp>
          <p:nvSpPr>
            <p:cNvPr id="213" name="Freeform: Shape 212">
              <a:extLst>
                <a:ext uri="{FF2B5EF4-FFF2-40B4-BE49-F238E27FC236}">
                  <a16:creationId xmlns:a16="http://schemas.microsoft.com/office/drawing/2014/main" id="{72C60840-3D8C-44DE-A74C-C198BF0D894E}"/>
                </a:ext>
              </a:extLst>
            </p:cNvPr>
            <p:cNvSpPr/>
            <p:nvPr/>
          </p:nvSpPr>
          <p:spPr>
            <a:xfrm>
              <a:off x="1411016" y="501371"/>
              <a:ext cx="6246" cy="6246"/>
            </a:xfrm>
            <a:custGeom>
              <a:avLst/>
              <a:gdLst>
                <a:gd name="connsiteX0" fmla="*/ 2811 w 0"/>
                <a:gd name="connsiteY0" fmla="*/ 6871 h 6246"/>
                <a:gd name="connsiteX1" fmla="*/ 687 w 0"/>
                <a:gd name="connsiteY1" fmla="*/ 6871 h 6246"/>
                <a:gd name="connsiteX2" fmla="*/ 0 w 0"/>
                <a:gd name="connsiteY2" fmla="*/ 0 h 6246"/>
                <a:gd name="connsiteX3" fmla="*/ 2811 w 0"/>
                <a:gd name="connsiteY3" fmla="*/ 6871 h 6246"/>
              </a:gdLst>
              <a:ahLst/>
              <a:cxnLst>
                <a:cxn ang="0">
                  <a:pos x="connsiteX0" y="connsiteY0"/>
                </a:cxn>
                <a:cxn ang="0">
                  <a:pos x="connsiteX1" y="connsiteY1"/>
                </a:cxn>
                <a:cxn ang="0">
                  <a:pos x="connsiteX2" y="connsiteY2"/>
                </a:cxn>
                <a:cxn ang="0">
                  <a:pos x="connsiteX3" y="connsiteY3"/>
                </a:cxn>
              </a:cxnLst>
              <a:rect l="l" t="t" r="r" b="b"/>
              <a:pathLst>
                <a:path h="6246">
                  <a:moveTo>
                    <a:pt x="2811" y="6871"/>
                  </a:moveTo>
                  <a:cubicBezTo>
                    <a:pt x="2124" y="9869"/>
                    <a:pt x="1374" y="6496"/>
                    <a:pt x="687" y="6871"/>
                  </a:cubicBezTo>
                  <a:cubicBezTo>
                    <a:pt x="937" y="4560"/>
                    <a:pt x="312" y="2311"/>
                    <a:pt x="0" y="0"/>
                  </a:cubicBezTo>
                  <a:cubicBezTo>
                    <a:pt x="1874" y="2061"/>
                    <a:pt x="2623" y="4372"/>
                    <a:pt x="2811" y="6871"/>
                  </a:cubicBezTo>
                  <a:close/>
                </a:path>
              </a:pathLst>
            </a:custGeom>
            <a:grpFill/>
            <a:ln w="6246" cap="flat">
              <a:noFill/>
              <a:prstDash val="solid"/>
              <a:miter/>
            </a:ln>
          </p:spPr>
          <p:txBody>
            <a:bodyPr rtlCol="0" anchor="ctr"/>
            <a:lstStyle/>
            <a:p>
              <a:endParaRPr lang="fr-FR" sz="2400"/>
            </a:p>
          </p:txBody>
        </p:sp>
        <p:sp>
          <p:nvSpPr>
            <p:cNvPr id="214" name="Freeform: Shape 213">
              <a:extLst>
                <a:ext uri="{FF2B5EF4-FFF2-40B4-BE49-F238E27FC236}">
                  <a16:creationId xmlns:a16="http://schemas.microsoft.com/office/drawing/2014/main" id="{825C14D2-7A95-42B3-BC04-E1E1FF2D3B16}"/>
                </a:ext>
              </a:extLst>
            </p:cNvPr>
            <p:cNvSpPr/>
            <p:nvPr/>
          </p:nvSpPr>
          <p:spPr>
            <a:xfrm>
              <a:off x="1418074" y="554712"/>
              <a:ext cx="6246" cy="6246"/>
            </a:xfrm>
            <a:custGeom>
              <a:avLst/>
              <a:gdLst>
                <a:gd name="connsiteX0" fmla="*/ 0 w 0"/>
                <a:gd name="connsiteY0" fmla="*/ 7683 h 6246"/>
                <a:gd name="connsiteX1" fmla="*/ 125 w 0"/>
                <a:gd name="connsiteY1" fmla="*/ 1874 h 6246"/>
                <a:gd name="connsiteX2" fmla="*/ 187 w 0"/>
                <a:gd name="connsiteY2" fmla="*/ 0 h 6246"/>
                <a:gd name="connsiteX3" fmla="*/ 0 w 0"/>
                <a:gd name="connsiteY3" fmla="*/ 7683 h 6246"/>
              </a:gdLst>
              <a:ahLst/>
              <a:cxnLst>
                <a:cxn ang="0">
                  <a:pos x="connsiteX0" y="connsiteY0"/>
                </a:cxn>
                <a:cxn ang="0">
                  <a:pos x="connsiteX1" y="connsiteY1"/>
                </a:cxn>
                <a:cxn ang="0">
                  <a:pos x="connsiteX2" y="connsiteY2"/>
                </a:cxn>
                <a:cxn ang="0">
                  <a:pos x="connsiteX3" y="connsiteY3"/>
                </a:cxn>
              </a:cxnLst>
              <a:rect l="l" t="t" r="r" b="b"/>
              <a:pathLst>
                <a:path h="6246">
                  <a:moveTo>
                    <a:pt x="0" y="7683"/>
                  </a:moveTo>
                  <a:cubicBezTo>
                    <a:pt x="0" y="5746"/>
                    <a:pt x="62" y="3810"/>
                    <a:pt x="125" y="1874"/>
                  </a:cubicBezTo>
                  <a:cubicBezTo>
                    <a:pt x="125" y="1249"/>
                    <a:pt x="187" y="625"/>
                    <a:pt x="187" y="0"/>
                  </a:cubicBezTo>
                  <a:cubicBezTo>
                    <a:pt x="4435" y="2623"/>
                    <a:pt x="562" y="5122"/>
                    <a:pt x="0" y="7683"/>
                  </a:cubicBezTo>
                  <a:close/>
                </a:path>
              </a:pathLst>
            </a:custGeom>
            <a:grpFill/>
            <a:ln w="6246" cap="flat">
              <a:noFill/>
              <a:prstDash val="solid"/>
              <a:miter/>
            </a:ln>
          </p:spPr>
          <p:txBody>
            <a:bodyPr rtlCol="0" anchor="ctr"/>
            <a:lstStyle/>
            <a:p>
              <a:endParaRPr lang="fr-FR" sz="2400"/>
            </a:p>
          </p:txBody>
        </p:sp>
        <p:sp>
          <p:nvSpPr>
            <p:cNvPr id="215" name="Freeform: Shape 214">
              <a:extLst>
                <a:ext uri="{FF2B5EF4-FFF2-40B4-BE49-F238E27FC236}">
                  <a16:creationId xmlns:a16="http://schemas.microsoft.com/office/drawing/2014/main" id="{0D3DB013-FE48-4F6C-ABD5-461703F7CA0D}"/>
                </a:ext>
              </a:extLst>
            </p:cNvPr>
            <p:cNvSpPr/>
            <p:nvPr/>
          </p:nvSpPr>
          <p:spPr>
            <a:xfrm>
              <a:off x="1394589" y="483132"/>
              <a:ext cx="6246" cy="6246"/>
            </a:xfrm>
            <a:custGeom>
              <a:avLst/>
              <a:gdLst>
                <a:gd name="connsiteX0" fmla="*/ 3186 w 0"/>
                <a:gd name="connsiteY0" fmla="*/ 7745 h 6246"/>
                <a:gd name="connsiteX1" fmla="*/ 0 w 0"/>
                <a:gd name="connsiteY1" fmla="*/ 0 h 6246"/>
                <a:gd name="connsiteX2" fmla="*/ 3186 w 0"/>
                <a:gd name="connsiteY2" fmla="*/ 7745 h 6246"/>
              </a:gdLst>
              <a:ahLst/>
              <a:cxnLst>
                <a:cxn ang="0">
                  <a:pos x="connsiteX0" y="connsiteY0"/>
                </a:cxn>
                <a:cxn ang="0">
                  <a:pos x="connsiteX1" y="connsiteY1"/>
                </a:cxn>
                <a:cxn ang="0">
                  <a:pos x="connsiteX2" y="connsiteY2"/>
                </a:cxn>
              </a:cxnLst>
              <a:rect l="l" t="t" r="r" b="b"/>
              <a:pathLst>
                <a:path h="6246">
                  <a:moveTo>
                    <a:pt x="3186" y="7745"/>
                  </a:moveTo>
                  <a:cubicBezTo>
                    <a:pt x="937" y="5559"/>
                    <a:pt x="312" y="2811"/>
                    <a:pt x="0" y="0"/>
                  </a:cubicBezTo>
                  <a:cubicBezTo>
                    <a:pt x="1749" y="2374"/>
                    <a:pt x="3685" y="4622"/>
                    <a:pt x="3186" y="7745"/>
                  </a:cubicBezTo>
                  <a:close/>
                </a:path>
              </a:pathLst>
            </a:custGeom>
            <a:grpFill/>
            <a:ln w="6246" cap="flat">
              <a:noFill/>
              <a:prstDash val="solid"/>
              <a:miter/>
            </a:ln>
          </p:spPr>
          <p:txBody>
            <a:bodyPr rtlCol="0" anchor="ctr"/>
            <a:lstStyle/>
            <a:p>
              <a:endParaRPr lang="fr-FR" sz="2400"/>
            </a:p>
          </p:txBody>
        </p:sp>
        <p:sp>
          <p:nvSpPr>
            <p:cNvPr id="216" name="Freeform: Shape 215">
              <a:extLst>
                <a:ext uri="{FF2B5EF4-FFF2-40B4-BE49-F238E27FC236}">
                  <a16:creationId xmlns:a16="http://schemas.microsoft.com/office/drawing/2014/main" id="{1B6AAFF6-0692-4229-BDCA-0C1C58CC2C14}"/>
                </a:ext>
              </a:extLst>
            </p:cNvPr>
            <p:cNvSpPr/>
            <p:nvPr/>
          </p:nvSpPr>
          <p:spPr>
            <a:xfrm>
              <a:off x="1409580" y="513176"/>
              <a:ext cx="6246" cy="6246"/>
            </a:xfrm>
            <a:custGeom>
              <a:avLst/>
              <a:gdLst>
                <a:gd name="connsiteX0" fmla="*/ 2124 w 0"/>
                <a:gd name="connsiteY0" fmla="*/ 6683 h 6246"/>
                <a:gd name="connsiteX1" fmla="*/ 0 w 0"/>
                <a:gd name="connsiteY1" fmla="*/ 6683 h 6246"/>
                <a:gd name="connsiteX2" fmla="*/ 0 w 0"/>
                <a:gd name="connsiteY2" fmla="*/ 62 h 6246"/>
                <a:gd name="connsiteX3" fmla="*/ 562 w 0"/>
                <a:gd name="connsiteY3" fmla="*/ 0 h 6246"/>
                <a:gd name="connsiteX4" fmla="*/ 2124 w 0"/>
                <a:gd name="connsiteY4" fmla="*/ 668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6683"/>
                  </a:moveTo>
                  <a:cubicBezTo>
                    <a:pt x="1437" y="6683"/>
                    <a:pt x="749" y="6683"/>
                    <a:pt x="0" y="6683"/>
                  </a:cubicBezTo>
                  <a:cubicBezTo>
                    <a:pt x="0" y="4497"/>
                    <a:pt x="0" y="2311"/>
                    <a:pt x="0" y="62"/>
                  </a:cubicBezTo>
                  <a:cubicBezTo>
                    <a:pt x="187" y="62"/>
                    <a:pt x="375" y="0"/>
                    <a:pt x="562" y="0"/>
                  </a:cubicBezTo>
                  <a:cubicBezTo>
                    <a:pt x="1062" y="2249"/>
                    <a:pt x="1562" y="4497"/>
                    <a:pt x="2124" y="6683"/>
                  </a:cubicBezTo>
                  <a:close/>
                </a:path>
              </a:pathLst>
            </a:custGeom>
            <a:grpFill/>
            <a:ln w="6246" cap="flat">
              <a:noFill/>
              <a:prstDash val="solid"/>
              <a:miter/>
            </a:ln>
          </p:spPr>
          <p:txBody>
            <a:bodyPr rtlCol="0" anchor="ctr"/>
            <a:lstStyle/>
            <a:p>
              <a:endParaRPr lang="fr-FR" sz="2400"/>
            </a:p>
          </p:txBody>
        </p:sp>
        <p:sp>
          <p:nvSpPr>
            <p:cNvPr id="217" name="Freeform: Shape 216">
              <a:extLst>
                <a:ext uri="{FF2B5EF4-FFF2-40B4-BE49-F238E27FC236}">
                  <a16:creationId xmlns:a16="http://schemas.microsoft.com/office/drawing/2014/main" id="{4C9AAD1D-CC77-4DDB-B912-91CBCDB2A274}"/>
                </a:ext>
              </a:extLst>
            </p:cNvPr>
            <p:cNvSpPr/>
            <p:nvPr/>
          </p:nvSpPr>
          <p:spPr>
            <a:xfrm>
              <a:off x="1357113" y="440540"/>
              <a:ext cx="6246" cy="6246"/>
            </a:xfrm>
            <a:custGeom>
              <a:avLst/>
              <a:gdLst>
                <a:gd name="connsiteX0" fmla="*/ 3186 w 0"/>
                <a:gd name="connsiteY0" fmla="*/ 3929 h 0"/>
                <a:gd name="connsiteX1" fmla="*/ 0 w 0"/>
                <a:gd name="connsiteY1" fmla="*/ 1055 h 0"/>
                <a:gd name="connsiteX2" fmla="*/ 3186 w 0"/>
                <a:gd name="connsiteY2" fmla="*/ 3929 h 0"/>
              </a:gdLst>
              <a:ahLst/>
              <a:cxnLst>
                <a:cxn ang="0">
                  <a:pos x="connsiteX0" y="connsiteY0"/>
                </a:cxn>
                <a:cxn ang="0">
                  <a:pos x="connsiteX1" y="connsiteY1"/>
                </a:cxn>
                <a:cxn ang="0">
                  <a:pos x="connsiteX2" y="connsiteY2"/>
                </a:cxn>
              </a:cxnLst>
              <a:rect l="l" t="t" r="r" b="b"/>
              <a:pathLst>
                <a:path>
                  <a:moveTo>
                    <a:pt x="3186" y="3929"/>
                  </a:moveTo>
                  <a:cubicBezTo>
                    <a:pt x="1749" y="3304"/>
                    <a:pt x="687" y="2305"/>
                    <a:pt x="0" y="1055"/>
                  </a:cubicBezTo>
                  <a:cubicBezTo>
                    <a:pt x="5684" y="-2130"/>
                    <a:pt x="2311" y="2804"/>
                    <a:pt x="3186" y="3929"/>
                  </a:cubicBezTo>
                  <a:close/>
                </a:path>
              </a:pathLst>
            </a:custGeom>
            <a:grpFill/>
            <a:ln w="6246" cap="flat">
              <a:noFill/>
              <a:prstDash val="solid"/>
              <a:miter/>
            </a:ln>
          </p:spPr>
          <p:txBody>
            <a:bodyPr rtlCol="0" anchor="ctr"/>
            <a:lstStyle/>
            <a:p>
              <a:endParaRPr lang="fr-FR" sz="2400"/>
            </a:p>
          </p:txBody>
        </p:sp>
        <p:sp>
          <p:nvSpPr>
            <p:cNvPr id="218" name="Freeform: Shape 217">
              <a:extLst>
                <a:ext uri="{FF2B5EF4-FFF2-40B4-BE49-F238E27FC236}">
                  <a16:creationId xmlns:a16="http://schemas.microsoft.com/office/drawing/2014/main" id="{77BC5878-864E-425D-8973-F9BBFD0F927A}"/>
                </a:ext>
              </a:extLst>
            </p:cNvPr>
            <p:cNvSpPr/>
            <p:nvPr/>
          </p:nvSpPr>
          <p:spPr>
            <a:xfrm>
              <a:off x="1416427" y="537286"/>
              <a:ext cx="6246" cy="6246"/>
            </a:xfrm>
            <a:custGeom>
              <a:avLst/>
              <a:gdLst>
                <a:gd name="connsiteX0" fmla="*/ 586 w 0"/>
                <a:gd name="connsiteY0" fmla="*/ 2936 h 6246"/>
                <a:gd name="connsiteX1" fmla="*/ 586 w 0"/>
                <a:gd name="connsiteY1" fmla="*/ 0 h 6246"/>
                <a:gd name="connsiteX2" fmla="*/ 586 w 0"/>
                <a:gd name="connsiteY2" fmla="*/ 6808 h 6246"/>
                <a:gd name="connsiteX3" fmla="*/ 586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586" y="2936"/>
                  </a:moveTo>
                  <a:cubicBezTo>
                    <a:pt x="586" y="1936"/>
                    <a:pt x="586" y="999"/>
                    <a:pt x="586" y="0"/>
                  </a:cubicBezTo>
                  <a:cubicBezTo>
                    <a:pt x="2272" y="2249"/>
                    <a:pt x="2210" y="4497"/>
                    <a:pt x="586" y="6808"/>
                  </a:cubicBezTo>
                  <a:cubicBezTo>
                    <a:pt x="-226" y="5497"/>
                    <a:pt x="-164" y="4247"/>
                    <a:pt x="586" y="2936"/>
                  </a:cubicBezTo>
                  <a:close/>
                </a:path>
              </a:pathLst>
            </a:custGeom>
            <a:grpFill/>
            <a:ln w="6246" cap="flat">
              <a:noFill/>
              <a:prstDash val="solid"/>
              <a:miter/>
            </a:ln>
          </p:spPr>
          <p:txBody>
            <a:bodyPr rtlCol="0" anchor="ctr"/>
            <a:lstStyle/>
            <a:p>
              <a:endParaRPr lang="fr-FR" sz="2400"/>
            </a:p>
          </p:txBody>
        </p:sp>
        <p:sp>
          <p:nvSpPr>
            <p:cNvPr id="219" name="Freeform: Shape 218">
              <a:extLst>
                <a:ext uri="{FF2B5EF4-FFF2-40B4-BE49-F238E27FC236}">
                  <a16:creationId xmlns:a16="http://schemas.microsoft.com/office/drawing/2014/main" id="{1B260F33-F269-40C1-956B-6104A02B2D67}"/>
                </a:ext>
              </a:extLst>
            </p:cNvPr>
            <p:cNvSpPr/>
            <p:nvPr/>
          </p:nvSpPr>
          <p:spPr>
            <a:xfrm>
              <a:off x="1420371" y="536286"/>
              <a:ext cx="6246" cy="6246"/>
            </a:xfrm>
            <a:custGeom>
              <a:avLst/>
              <a:gdLst>
                <a:gd name="connsiteX0" fmla="*/ 889 w 0"/>
                <a:gd name="connsiteY0" fmla="*/ 0 h 0"/>
                <a:gd name="connsiteX1" fmla="*/ 951 w 0"/>
                <a:gd name="connsiteY1" fmla="*/ 4872 h 0"/>
                <a:gd name="connsiteX2" fmla="*/ 889 w 0"/>
                <a:gd name="connsiteY2" fmla="*/ 0 h 0"/>
              </a:gdLst>
              <a:ahLst/>
              <a:cxnLst>
                <a:cxn ang="0">
                  <a:pos x="connsiteX0" y="connsiteY0"/>
                </a:cxn>
                <a:cxn ang="0">
                  <a:pos x="connsiteX1" y="connsiteY1"/>
                </a:cxn>
                <a:cxn ang="0">
                  <a:pos x="connsiteX2" y="connsiteY2"/>
                </a:cxn>
              </a:cxnLst>
              <a:rect l="l" t="t" r="r" b="b"/>
              <a:pathLst>
                <a:path>
                  <a:moveTo>
                    <a:pt x="889" y="0"/>
                  </a:moveTo>
                  <a:cubicBezTo>
                    <a:pt x="764" y="1624"/>
                    <a:pt x="3075" y="3248"/>
                    <a:pt x="951" y="4872"/>
                  </a:cubicBezTo>
                  <a:cubicBezTo>
                    <a:pt x="1139" y="3248"/>
                    <a:pt x="-1235" y="1686"/>
                    <a:pt x="889" y="0"/>
                  </a:cubicBezTo>
                  <a:close/>
                </a:path>
              </a:pathLst>
            </a:custGeom>
            <a:grpFill/>
            <a:ln w="6246" cap="flat">
              <a:noFill/>
              <a:prstDash val="solid"/>
              <a:miter/>
            </a:ln>
          </p:spPr>
          <p:txBody>
            <a:bodyPr rtlCol="0" anchor="ctr"/>
            <a:lstStyle/>
            <a:p>
              <a:endParaRPr lang="fr-FR" sz="2400"/>
            </a:p>
          </p:txBody>
        </p:sp>
        <p:sp>
          <p:nvSpPr>
            <p:cNvPr id="220" name="Freeform: Shape 219">
              <a:extLst>
                <a:ext uri="{FF2B5EF4-FFF2-40B4-BE49-F238E27FC236}">
                  <a16:creationId xmlns:a16="http://schemas.microsoft.com/office/drawing/2014/main" id="{8C6F32A9-4388-4699-8BB1-976E8A23EE40}"/>
                </a:ext>
              </a:extLst>
            </p:cNvPr>
            <p:cNvSpPr/>
            <p:nvPr/>
          </p:nvSpPr>
          <p:spPr>
            <a:xfrm>
              <a:off x="1415841" y="540221"/>
              <a:ext cx="6246" cy="6246"/>
            </a:xfrm>
            <a:custGeom>
              <a:avLst/>
              <a:gdLst>
                <a:gd name="connsiteX0" fmla="*/ 1171 w 0"/>
                <a:gd name="connsiteY0" fmla="*/ 0 h 0"/>
                <a:gd name="connsiteX1" fmla="*/ 1234 w 0"/>
                <a:gd name="connsiteY1" fmla="*/ 3810 h 0"/>
                <a:gd name="connsiteX2" fmla="*/ 1171 w 0"/>
                <a:gd name="connsiteY2" fmla="*/ 4747 h 0"/>
                <a:gd name="connsiteX3" fmla="*/ 1171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171" y="0"/>
                  </a:moveTo>
                  <a:cubicBezTo>
                    <a:pt x="1171" y="1249"/>
                    <a:pt x="1171" y="2561"/>
                    <a:pt x="1234" y="3810"/>
                  </a:cubicBezTo>
                  <a:cubicBezTo>
                    <a:pt x="1234" y="4122"/>
                    <a:pt x="1171" y="4435"/>
                    <a:pt x="1171" y="4747"/>
                  </a:cubicBezTo>
                  <a:cubicBezTo>
                    <a:pt x="-390" y="3186"/>
                    <a:pt x="-390" y="1562"/>
                    <a:pt x="1171" y="0"/>
                  </a:cubicBezTo>
                  <a:close/>
                </a:path>
              </a:pathLst>
            </a:custGeom>
            <a:grpFill/>
            <a:ln w="6246" cap="flat">
              <a:noFill/>
              <a:prstDash val="solid"/>
              <a:miter/>
            </a:ln>
          </p:spPr>
          <p:txBody>
            <a:bodyPr rtlCol="0" anchor="ctr"/>
            <a:lstStyle/>
            <a:p>
              <a:endParaRPr lang="fr-FR" sz="2400"/>
            </a:p>
          </p:txBody>
        </p:sp>
        <p:sp>
          <p:nvSpPr>
            <p:cNvPr id="221" name="Freeform: Shape 220">
              <a:extLst>
                <a:ext uri="{FF2B5EF4-FFF2-40B4-BE49-F238E27FC236}">
                  <a16:creationId xmlns:a16="http://schemas.microsoft.com/office/drawing/2014/main" id="{67F9617C-3843-4C8A-97FD-C8460282D78A}"/>
                </a:ext>
              </a:extLst>
            </p:cNvPr>
            <p:cNvSpPr/>
            <p:nvPr/>
          </p:nvSpPr>
          <p:spPr>
            <a:xfrm>
              <a:off x="1405365" y="504119"/>
              <a:ext cx="6246" cy="6246"/>
            </a:xfrm>
            <a:custGeom>
              <a:avLst/>
              <a:gdLst>
                <a:gd name="connsiteX0" fmla="*/ 1216 w 0"/>
                <a:gd name="connsiteY0" fmla="*/ 0 h 0"/>
                <a:gd name="connsiteX1" fmla="*/ 1966 w 0"/>
                <a:gd name="connsiteY1" fmla="*/ 1624 h 0"/>
                <a:gd name="connsiteX2" fmla="*/ 1091 w 0"/>
                <a:gd name="connsiteY2" fmla="*/ 2186 h 0"/>
                <a:gd name="connsiteX3" fmla="*/ 155 w 0"/>
                <a:gd name="connsiteY3" fmla="*/ 874 h 0"/>
                <a:gd name="connsiteX4" fmla="*/ 121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216" y="0"/>
                  </a:moveTo>
                  <a:cubicBezTo>
                    <a:pt x="2153" y="375"/>
                    <a:pt x="2028" y="999"/>
                    <a:pt x="1966" y="1624"/>
                  </a:cubicBezTo>
                  <a:cubicBezTo>
                    <a:pt x="1966" y="2061"/>
                    <a:pt x="1654" y="2686"/>
                    <a:pt x="1091" y="2186"/>
                  </a:cubicBezTo>
                  <a:cubicBezTo>
                    <a:pt x="717" y="1811"/>
                    <a:pt x="-408" y="1749"/>
                    <a:pt x="155" y="874"/>
                  </a:cubicBezTo>
                  <a:cubicBezTo>
                    <a:pt x="404" y="500"/>
                    <a:pt x="904" y="250"/>
                    <a:pt x="1216" y="0"/>
                  </a:cubicBezTo>
                  <a:close/>
                </a:path>
              </a:pathLst>
            </a:custGeom>
            <a:grpFill/>
            <a:ln w="6246" cap="flat">
              <a:noFill/>
              <a:prstDash val="solid"/>
              <a:miter/>
            </a:ln>
          </p:spPr>
          <p:txBody>
            <a:bodyPr rtlCol="0" anchor="ctr"/>
            <a:lstStyle/>
            <a:p>
              <a:endParaRPr lang="fr-FR" sz="2400"/>
            </a:p>
          </p:txBody>
        </p:sp>
        <p:sp>
          <p:nvSpPr>
            <p:cNvPr id="222" name="Freeform: Shape 221">
              <a:extLst>
                <a:ext uri="{FF2B5EF4-FFF2-40B4-BE49-F238E27FC236}">
                  <a16:creationId xmlns:a16="http://schemas.microsoft.com/office/drawing/2014/main" id="{145B095A-DEA1-4B17-A566-C1D06B2552A0}"/>
                </a:ext>
              </a:extLst>
            </p:cNvPr>
            <p:cNvSpPr/>
            <p:nvPr/>
          </p:nvSpPr>
          <p:spPr>
            <a:xfrm>
              <a:off x="1163984" y="643781"/>
              <a:ext cx="93691" cy="18738"/>
            </a:xfrm>
            <a:custGeom>
              <a:avLst/>
              <a:gdLst>
                <a:gd name="connsiteX0" fmla="*/ 84010 w 93690"/>
                <a:gd name="connsiteY0" fmla="*/ 19175 h 18738"/>
                <a:gd name="connsiteX1" fmla="*/ 94128 w 93690"/>
                <a:gd name="connsiteY1" fmla="*/ 20737 h 18738"/>
                <a:gd name="connsiteX2" fmla="*/ 46658 w 93690"/>
                <a:gd name="connsiteY2" fmla="*/ 23048 h 18738"/>
                <a:gd name="connsiteX3" fmla="*/ 40100 w 93690"/>
                <a:gd name="connsiteY3" fmla="*/ 20175 h 18738"/>
                <a:gd name="connsiteX4" fmla="*/ 44410 w 93690"/>
                <a:gd name="connsiteY4" fmla="*/ 18363 h 18738"/>
                <a:gd name="connsiteX5" fmla="*/ 46346 w 93690"/>
                <a:gd name="connsiteY5" fmla="*/ 18426 h 18738"/>
                <a:gd name="connsiteX6" fmla="*/ 27045 w 93690"/>
                <a:gd name="connsiteY6" fmla="*/ 14553 h 18738"/>
                <a:gd name="connsiteX7" fmla="*/ 7808 w 93690"/>
                <a:gd name="connsiteY7" fmla="*/ 7808 h 18738"/>
                <a:gd name="connsiteX8" fmla="*/ 0 w 93690"/>
                <a:gd name="connsiteY8" fmla="*/ 1874 h 18738"/>
                <a:gd name="connsiteX9" fmla="*/ 5996 w 93690"/>
                <a:gd name="connsiteY9" fmla="*/ 0 h 18738"/>
                <a:gd name="connsiteX10" fmla="*/ 18988 w 93690"/>
                <a:gd name="connsiteY10" fmla="*/ 4060 h 18738"/>
                <a:gd name="connsiteX11" fmla="*/ 22236 w 93690"/>
                <a:gd name="connsiteY11" fmla="*/ 6621 h 18738"/>
                <a:gd name="connsiteX12" fmla="*/ 16739 w 93690"/>
                <a:gd name="connsiteY12" fmla="*/ 7995 h 18738"/>
                <a:gd name="connsiteX13" fmla="*/ 35977 w 93690"/>
                <a:gd name="connsiteY13" fmla="*/ 11618 h 18738"/>
                <a:gd name="connsiteX14" fmla="*/ 63772 w 93690"/>
                <a:gd name="connsiteY14" fmla="*/ 17114 h 18738"/>
                <a:gd name="connsiteX15" fmla="*/ 78576 w 93690"/>
                <a:gd name="connsiteY15" fmla="*/ 17801 h 18738"/>
                <a:gd name="connsiteX16" fmla="*/ 84010 w 93690"/>
                <a:gd name="connsiteY16" fmla="*/ 1917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90" h="18738">
                  <a:moveTo>
                    <a:pt x="84010" y="19175"/>
                  </a:moveTo>
                  <a:cubicBezTo>
                    <a:pt x="87195" y="18926"/>
                    <a:pt x="90318" y="19425"/>
                    <a:pt x="94128" y="20737"/>
                  </a:cubicBezTo>
                  <a:cubicBezTo>
                    <a:pt x="77888" y="23360"/>
                    <a:pt x="62461" y="25546"/>
                    <a:pt x="46658" y="23048"/>
                  </a:cubicBezTo>
                  <a:cubicBezTo>
                    <a:pt x="44160" y="22673"/>
                    <a:pt x="42161" y="21362"/>
                    <a:pt x="40100" y="20175"/>
                  </a:cubicBezTo>
                  <a:cubicBezTo>
                    <a:pt x="41162" y="18863"/>
                    <a:pt x="42848" y="18801"/>
                    <a:pt x="44410" y="18363"/>
                  </a:cubicBezTo>
                  <a:cubicBezTo>
                    <a:pt x="45284" y="18301"/>
                    <a:pt x="46158" y="18363"/>
                    <a:pt x="46346" y="18426"/>
                  </a:cubicBezTo>
                  <a:cubicBezTo>
                    <a:pt x="40100" y="18239"/>
                    <a:pt x="33729" y="15740"/>
                    <a:pt x="27045" y="14553"/>
                  </a:cubicBezTo>
                  <a:cubicBezTo>
                    <a:pt x="20237" y="13367"/>
                    <a:pt x="14179" y="10119"/>
                    <a:pt x="7808" y="7808"/>
                  </a:cubicBezTo>
                  <a:cubicBezTo>
                    <a:pt x="4622" y="6683"/>
                    <a:pt x="1124" y="5434"/>
                    <a:pt x="0" y="1874"/>
                  </a:cubicBezTo>
                  <a:cubicBezTo>
                    <a:pt x="1062" y="-1249"/>
                    <a:pt x="3997" y="687"/>
                    <a:pt x="5996" y="0"/>
                  </a:cubicBezTo>
                  <a:cubicBezTo>
                    <a:pt x="10681" y="375"/>
                    <a:pt x="14741" y="2436"/>
                    <a:pt x="18988" y="4060"/>
                  </a:cubicBezTo>
                  <a:cubicBezTo>
                    <a:pt x="20425" y="4622"/>
                    <a:pt x="22548" y="4809"/>
                    <a:pt x="22236" y="6621"/>
                  </a:cubicBezTo>
                  <a:cubicBezTo>
                    <a:pt x="21799" y="8932"/>
                    <a:pt x="19488" y="7808"/>
                    <a:pt x="16739" y="7995"/>
                  </a:cubicBezTo>
                  <a:cubicBezTo>
                    <a:pt x="24297" y="7870"/>
                    <a:pt x="29981" y="10368"/>
                    <a:pt x="35977" y="11618"/>
                  </a:cubicBezTo>
                  <a:cubicBezTo>
                    <a:pt x="45471" y="12555"/>
                    <a:pt x="54278" y="16177"/>
                    <a:pt x="63772" y="17114"/>
                  </a:cubicBezTo>
                  <a:cubicBezTo>
                    <a:pt x="68707" y="17614"/>
                    <a:pt x="73641" y="17551"/>
                    <a:pt x="78576" y="17801"/>
                  </a:cubicBezTo>
                  <a:cubicBezTo>
                    <a:pt x="80512" y="17864"/>
                    <a:pt x="82510" y="17676"/>
                    <a:pt x="84010" y="19175"/>
                  </a:cubicBezTo>
                  <a:close/>
                </a:path>
              </a:pathLst>
            </a:custGeom>
            <a:grpFill/>
            <a:ln w="6246" cap="flat">
              <a:noFill/>
              <a:prstDash val="solid"/>
              <a:miter/>
            </a:ln>
          </p:spPr>
          <p:txBody>
            <a:bodyPr rtlCol="0" anchor="ctr"/>
            <a:lstStyle/>
            <a:p>
              <a:endParaRPr lang="fr-FR" sz="2400"/>
            </a:p>
          </p:txBody>
        </p:sp>
        <p:sp>
          <p:nvSpPr>
            <p:cNvPr id="223" name="Freeform: Shape 222">
              <a:extLst>
                <a:ext uri="{FF2B5EF4-FFF2-40B4-BE49-F238E27FC236}">
                  <a16:creationId xmlns:a16="http://schemas.microsoft.com/office/drawing/2014/main" id="{8F3C360D-C13E-41D6-95FA-7E2AB5CBD599}"/>
                </a:ext>
              </a:extLst>
            </p:cNvPr>
            <p:cNvSpPr/>
            <p:nvPr/>
          </p:nvSpPr>
          <p:spPr>
            <a:xfrm>
              <a:off x="1130579" y="629938"/>
              <a:ext cx="74953" cy="31230"/>
            </a:xfrm>
            <a:custGeom>
              <a:avLst/>
              <a:gdLst>
                <a:gd name="connsiteX0" fmla="*/ 77815 w 74952"/>
                <a:gd name="connsiteY0" fmla="*/ 33018 h 31230"/>
                <a:gd name="connsiteX1" fmla="*/ 73505 w 74952"/>
                <a:gd name="connsiteY1" fmla="*/ 33955 h 31230"/>
                <a:gd name="connsiteX2" fmla="*/ 48708 w 74952"/>
                <a:gd name="connsiteY2" fmla="*/ 27584 h 31230"/>
                <a:gd name="connsiteX3" fmla="*/ 38214 w 74952"/>
                <a:gd name="connsiteY3" fmla="*/ 26210 h 31230"/>
                <a:gd name="connsiteX4" fmla="*/ 32406 w 74952"/>
                <a:gd name="connsiteY4" fmla="*/ 25586 h 31230"/>
                <a:gd name="connsiteX5" fmla="*/ 26472 w 74952"/>
                <a:gd name="connsiteY5" fmla="*/ 24274 h 31230"/>
                <a:gd name="connsiteX6" fmla="*/ 26472 w 74952"/>
                <a:gd name="connsiteY6" fmla="*/ 24274 h 31230"/>
                <a:gd name="connsiteX7" fmla="*/ 23474 w 74952"/>
                <a:gd name="connsiteY7" fmla="*/ 21026 h 31230"/>
                <a:gd name="connsiteX8" fmla="*/ 6547 w 74952"/>
                <a:gd name="connsiteY8" fmla="*/ 10408 h 31230"/>
                <a:gd name="connsiteX9" fmla="*/ 1862 w 74952"/>
                <a:gd name="connsiteY9" fmla="*/ 8721 h 31230"/>
                <a:gd name="connsiteX10" fmla="*/ 801 w 74952"/>
                <a:gd name="connsiteY10" fmla="*/ 7784 h 31230"/>
                <a:gd name="connsiteX11" fmla="*/ 738 w 74952"/>
                <a:gd name="connsiteY11" fmla="*/ 4911 h 31230"/>
                <a:gd name="connsiteX12" fmla="*/ 1737 w 74952"/>
                <a:gd name="connsiteY12" fmla="*/ 289 h 31230"/>
                <a:gd name="connsiteX13" fmla="*/ 5423 w 74952"/>
                <a:gd name="connsiteY13" fmla="*/ 2788 h 31230"/>
                <a:gd name="connsiteX14" fmla="*/ 15291 w 74952"/>
                <a:gd name="connsiteY14" fmla="*/ 10720 h 31230"/>
                <a:gd name="connsiteX15" fmla="*/ 20476 w 74952"/>
                <a:gd name="connsiteY15" fmla="*/ 12469 h 31230"/>
                <a:gd name="connsiteX16" fmla="*/ 28658 w 74952"/>
                <a:gd name="connsiteY16" fmla="*/ 14905 h 31230"/>
                <a:gd name="connsiteX17" fmla="*/ 56828 w 74952"/>
                <a:gd name="connsiteY17" fmla="*/ 26960 h 31230"/>
                <a:gd name="connsiteX18" fmla="*/ 73192 w 74952"/>
                <a:gd name="connsiteY18" fmla="*/ 30957 h 31230"/>
                <a:gd name="connsiteX19" fmla="*/ 77815 w 74952"/>
                <a:gd name="connsiteY19" fmla="*/ 33018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952" h="31230">
                  <a:moveTo>
                    <a:pt x="77815" y="33018"/>
                  </a:moveTo>
                  <a:cubicBezTo>
                    <a:pt x="76690" y="34393"/>
                    <a:pt x="75004" y="33893"/>
                    <a:pt x="73505" y="33955"/>
                  </a:cubicBezTo>
                  <a:cubicBezTo>
                    <a:pt x="64760" y="33331"/>
                    <a:pt x="56953" y="29771"/>
                    <a:pt x="48708" y="27584"/>
                  </a:cubicBezTo>
                  <a:cubicBezTo>
                    <a:pt x="45272" y="26648"/>
                    <a:pt x="41962" y="25211"/>
                    <a:pt x="38214" y="26210"/>
                  </a:cubicBezTo>
                  <a:cubicBezTo>
                    <a:pt x="36091" y="27647"/>
                    <a:pt x="33905" y="26585"/>
                    <a:pt x="32406" y="25586"/>
                  </a:cubicBezTo>
                  <a:cubicBezTo>
                    <a:pt x="30469" y="24274"/>
                    <a:pt x="28595" y="24149"/>
                    <a:pt x="26472" y="24274"/>
                  </a:cubicBezTo>
                  <a:lnTo>
                    <a:pt x="26472" y="24274"/>
                  </a:lnTo>
                  <a:cubicBezTo>
                    <a:pt x="25472" y="23212"/>
                    <a:pt x="25285" y="21401"/>
                    <a:pt x="23474" y="21026"/>
                  </a:cubicBezTo>
                  <a:cubicBezTo>
                    <a:pt x="16291" y="19527"/>
                    <a:pt x="12231" y="13968"/>
                    <a:pt x="6547" y="10408"/>
                  </a:cubicBezTo>
                  <a:cubicBezTo>
                    <a:pt x="5110" y="9471"/>
                    <a:pt x="3924" y="8159"/>
                    <a:pt x="1862" y="8721"/>
                  </a:cubicBezTo>
                  <a:cubicBezTo>
                    <a:pt x="1488" y="8409"/>
                    <a:pt x="1175" y="8097"/>
                    <a:pt x="801" y="7784"/>
                  </a:cubicBezTo>
                  <a:cubicBezTo>
                    <a:pt x="801" y="6847"/>
                    <a:pt x="801" y="5848"/>
                    <a:pt x="738" y="4911"/>
                  </a:cubicBezTo>
                  <a:cubicBezTo>
                    <a:pt x="-574" y="3100"/>
                    <a:pt x="-74" y="1164"/>
                    <a:pt x="1737" y="289"/>
                  </a:cubicBezTo>
                  <a:cubicBezTo>
                    <a:pt x="4049" y="-835"/>
                    <a:pt x="4486" y="1601"/>
                    <a:pt x="5423" y="2788"/>
                  </a:cubicBezTo>
                  <a:cubicBezTo>
                    <a:pt x="8046" y="6098"/>
                    <a:pt x="11919" y="8222"/>
                    <a:pt x="15291" y="10720"/>
                  </a:cubicBezTo>
                  <a:cubicBezTo>
                    <a:pt x="16853" y="11594"/>
                    <a:pt x="17040" y="14218"/>
                    <a:pt x="20476" y="12469"/>
                  </a:cubicBezTo>
                  <a:cubicBezTo>
                    <a:pt x="22724" y="11345"/>
                    <a:pt x="25472" y="15030"/>
                    <a:pt x="28658" y="14905"/>
                  </a:cubicBezTo>
                  <a:cubicBezTo>
                    <a:pt x="37590" y="19777"/>
                    <a:pt x="46709" y="24274"/>
                    <a:pt x="56828" y="26960"/>
                  </a:cubicBezTo>
                  <a:cubicBezTo>
                    <a:pt x="62262" y="28396"/>
                    <a:pt x="67696" y="29646"/>
                    <a:pt x="73192" y="30957"/>
                  </a:cubicBezTo>
                  <a:cubicBezTo>
                    <a:pt x="74879" y="31457"/>
                    <a:pt x="76628" y="31644"/>
                    <a:pt x="77815" y="33018"/>
                  </a:cubicBezTo>
                  <a:close/>
                </a:path>
              </a:pathLst>
            </a:custGeom>
            <a:grpFill/>
            <a:ln w="6246" cap="flat">
              <a:noFill/>
              <a:prstDash val="solid"/>
              <a:miter/>
            </a:ln>
          </p:spPr>
          <p:txBody>
            <a:bodyPr rtlCol="0" anchor="ctr"/>
            <a:lstStyle/>
            <a:p>
              <a:endParaRPr lang="fr-FR" sz="2400"/>
            </a:p>
          </p:txBody>
        </p:sp>
        <p:sp>
          <p:nvSpPr>
            <p:cNvPr id="224" name="Freeform: Shape 223">
              <a:extLst>
                <a:ext uri="{FF2B5EF4-FFF2-40B4-BE49-F238E27FC236}">
                  <a16:creationId xmlns:a16="http://schemas.microsoft.com/office/drawing/2014/main" id="{77AE2D68-E3BD-4974-BD8F-B2BA32DCFDD7}"/>
                </a:ext>
              </a:extLst>
            </p:cNvPr>
            <p:cNvSpPr/>
            <p:nvPr/>
          </p:nvSpPr>
          <p:spPr>
            <a:xfrm>
              <a:off x="1281973" y="635164"/>
              <a:ext cx="68707" cy="24984"/>
            </a:xfrm>
            <a:custGeom>
              <a:avLst/>
              <a:gdLst>
                <a:gd name="connsiteX0" fmla="*/ 70830 w 68706"/>
                <a:gd name="connsiteY0" fmla="*/ 747 h 24984"/>
                <a:gd name="connsiteX1" fmla="*/ 35228 w 68706"/>
                <a:gd name="connsiteY1" fmla="*/ 17611 h 24984"/>
                <a:gd name="connsiteX2" fmla="*/ 44659 w 68706"/>
                <a:gd name="connsiteY2" fmla="*/ 17361 h 24984"/>
                <a:gd name="connsiteX3" fmla="*/ 31230 w 68706"/>
                <a:gd name="connsiteY3" fmla="*/ 22983 h 24984"/>
                <a:gd name="connsiteX4" fmla="*/ 18738 w 68706"/>
                <a:gd name="connsiteY4" fmla="*/ 23357 h 24984"/>
                <a:gd name="connsiteX5" fmla="*/ 7370 w 68706"/>
                <a:gd name="connsiteY5" fmla="*/ 27105 h 24984"/>
                <a:gd name="connsiteX6" fmla="*/ 2374 w 68706"/>
                <a:gd name="connsiteY6" fmla="*/ 26855 h 24984"/>
                <a:gd name="connsiteX7" fmla="*/ 0 w 68706"/>
                <a:gd name="connsiteY7" fmla="*/ 25294 h 24984"/>
                <a:gd name="connsiteX8" fmla="*/ 15490 w 68706"/>
                <a:gd name="connsiteY8" fmla="*/ 19610 h 24984"/>
                <a:gd name="connsiteX9" fmla="*/ 60587 w 68706"/>
                <a:gd name="connsiteY9" fmla="*/ 2433 h 24984"/>
                <a:gd name="connsiteX10" fmla="*/ 70830 w 68706"/>
                <a:gd name="connsiteY10" fmla="*/ 74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24984">
                  <a:moveTo>
                    <a:pt x="70830" y="747"/>
                  </a:moveTo>
                  <a:cubicBezTo>
                    <a:pt x="60400" y="8679"/>
                    <a:pt x="47220" y="11927"/>
                    <a:pt x="35228" y="17611"/>
                  </a:cubicBezTo>
                  <a:cubicBezTo>
                    <a:pt x="38538" y="19360"/>
                    <a:pt x="41099" y="14675"/>
                    <a:pt x="44659" y="17361"/>
                  </a:cubicBezTo>
                  <a:cubicBezTo>
                    <a:pt x="40662" y="20609"/>
                    <a:pt x="35290" y="20547"/>
                    <a:pt x="31230" y="22983"/>
                  </a:cubicBezTo>
                  <a:cubicBezTo>
                    <a:pt x="27045" y="21484"/>
                    <a:pt x="22798" y="22296"/>
                    <a:pt x="18738" y="23357"/>
                  </a:cubicBezTo>
                  <a:cubicBezTo>
                    <a:pt x="14866" y="24357"/>
                    <a:pt x="11056" y="25731"/>
                    <a:pt x="7370" y="27105"/>
                  </a:cubicBezTo>
                  <a:cubicBezTo>
                    <a:pt x="5559" y="27792"/>
                    <a:pt x="3997" y="27730"/>
                    <a:pt x="2374" y="26855"/>
                  </a:cubicBezTo>
                  <a:cubicBezTo>
                    <a:pt x="1811" y="26043"/>
                    <a:pt x="0" y="26793"/>
                    <a:pt x="0" y="25294"/>
                  </a:cubicBezTo>
                  <a:cubicBezTo>
                    <a:pt x="4310" y="21546"/>
                    <a:pt x="10244" y="21046"/>
                    <a:pt x="15490" y="19610"/>
                  </a:cubicBezTo>
                  <a:cubicBezTo>
                    <a:pt x="31168" y="15238"/>
                    <a:pt x="46471" y="10116"/>
                    <a:pt x="60587" y="2433"/>
                  </a:cubicBezTo>
                  <a:cubicBezTo>
                    <a:pt x="63960" y="1621"/>
                    <a:pt x="66895" y="-1377"/>
                    <a:pt x="70830" y="747"/>
                  </a:cubicBezTo>
                  <a:close/>
                </a:path>
              </a:pathLst>
            </a:custGeom>
            <a:grpFill/>
            <a:ln w="6246" cap="flat">
              <a:noFill/>
              <a:prstDash val="solid"/>
              <a:miter/>
            </a:ln>
          </p:spPr>
          <p:txBody>
            <a:bodyPr rtlCol="0" anchor="ctr"/>
            <a:lstStyle/>
            <a:p>
              <a:endParaRPr lang="fr-FR" sz="2400"/>
            </a:p>
          </p:txBody>
        </p:sp>
        <p:sp>
          <p:nvSpPr>
            <p:cNvPr id="225" name="Freeform: Shape 224">
              <a:extLst>
                <a:ext uri="{FF2B5EF4-FFF2-40B4-BE49-F238E27FC236}">
                  <a16:creationId xmlns:a16="http://schemas.microsoft.com/office/drawing/2014/main" id="{EE28E5E5-AA4F-418C-8705-22F245972C25}"/>
                </a:ext>
              </a:extLst>
            </p:cNvPr>
            <p:cNvSpPr/>
            <p:nvPr/>
          </p:nvSpPr>
          <p:spPr>
            <a:xfrm>
              <a:off x="1266094" y="636785"/>
              <a:ext cx="74953" cy="24984"/>
            </a:xfrm>
            <a:custGeom>
              <a:avLst/>
              <a:gdLst>
                <a:gd name="connsiteX0" fmla="*/ 77090 w 74952"/>
                <a:gd name="connsiteY0" fmla="*/ 1999 h 24984"/>
                <a:gd name="connsiteX1" fmla="*/ 38489 w 74952"/>
                <a:gd name="connsiteY1" fmla="*/ 17614 h 24984"/>
                <a:gd name="connsiteX2" fmla="*/ 16066 w 74952"/>
                <a:gd name="connsiteY2" fmla="*/ 24235 h 24984"/>
                <a:gd name="connsiteX3" fmla="*/ 4323 w 74952"/>
                <a:gd name="connsiteY3" fmla="*/ 26171 h 24984"/>
                <a:gd name="connsiteX4" fmla="*/ 14 w 74952"/>
                <a:gd name="connsiteY4" fmla="*/ 24235 h 24984"/>
                <a:gd name="connsiteX5" fmla="*/ 13005 w 74952"/>
                <a:gd name="connsiteY5" fmla="*/ 20675 h 24984"/>
                <a:gd name="connsiteX6" fmla="*/ 40988 w 74952"/>
                <a:gd name="connsiteY6" fmla="*/ 12117 h 24984"/>
                <a:gd name="connsiteX7" fmla="*/ 68720 w 74952"/>
                <a:gd name="connsiteY7" fmla="*/ 2061 h 24984"/>
                <a:gd name="connsiteX8" fmla="*/ 73967 w 74952"/>
                <a:gd name="connsiteY8" fmla="*/ 0 h 24984"/>
                <a:gd name="connsiteX9" fmla="*/ 77090 w 74952"/>
                <a:gd name="connsiteY9" fmla="*/ 199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52" h="24984">
                  <a:moveTo>
                    <a:pt x="77090" y="1999"/>
                  </a:moveTo>
                  <a:cubicBezTo>
                    <a:pt x="65160" y="9119"/>
                    <a:pt x="51731" y="13367"/>
                    <a:pt x="38489" y="17614"/>
                  </a:cubicBezTo>
                  <a:cubicBezTo>
                    <a:pt x="31119" y="19987"/>
                    <a:pt x="23499" y="21799"/>
                    <a:pt x="16066" y="24235"/>
                  </a:cubicBezTo>
                  <a:cubicBezTo>
                    <a:pt x="12318" y="25671"/>
                    <a:pt x="8633" y="27483"/>
                    <a:pt x="4323" y="26171"/>
                  </a:cubicBezTo>
                  <a:cubicBezTo>
                    <a:pt x="3012" y="25359"/>
                    <a:pt x="-236" y="27920"/>
                    <a:pt x="14" y="24235"/>
                  </a:cubicBezTo>
                  <a:cubicBezTo>
                    <a:pt x="4074" y="22174"/>
                    <a:pt x="8571" y="21424"/>
                    <a:pt x="13005" y="20675"/>
                  </a:cubicBezTo>
                  <a:cubicBezTo>
                    <a:pt x="22812" y="18988"/>
                    <a:pt x="31431" y="14303"/>
                    <a:pt x="40988" y="12117"/>
                  </a:cubicBezTo>
                  <a:cubicBezTo>
                    <a:pt x="50982" y="10493"/>
                    <a:pt x="59976" y="6496"/>
                    <a:pt x="68720" y="2061"/>
                  </a:cubicBezTo>
                  <a:cubicBezTo>
                    <a:pt x="70407" y="1187"/>
                    <a:pt x="71968" y="187"/>
                    <a:pt x="73967" y="0"/>
                  </a:cubicBezTo>
                  <a:cubicBezTo>
                    <a:pt x="75529" y="187"/>
                    <a:pt x="77153" y="0"/>
                    <a:pt x="77090" y="1999"/>
                  </a:cubicBezTo>
                  <a:close/>
                </a:path>
              </a:pathLst>
            </a:custGeom>
            <a:grpFill/>
            <a:ln w="6246" cap="flat">
              <a:noFill/>
              <a:prstDash val="solid"/>
              <a:miter/>
            </a:ln>
          </p:spPr>
          <p:txBody>
            <a:bodyPr rtlCol="0" anchor="ctr"/>
            <a:lstStyle/>
            <a:p>
              <a:endParaRPr lang="fr-FR" sz="2400"/>
            </a:p>
          </p:txBody>
        </p:sp>
        <p:sp>
          <p:nvSpPr>
            <p:cNvPr id="226" name="Freeform: Shape 225">
              <a:extLst>
                <a:ext uri="{FF2B5EF4-FFF2-40B4-BE49-F238E27FC236}">
                  <a16:creationId xmlns:a16="http://schemas.microsoft.com/office/drawing/2014/main" id="{489B10C5-0ACC-49FB-9D78-D76795044AF9}"/>
                </a:ext>
              </a:extLst>
            </p:cNvPr>
            <p:cNvSpPr/>
            <p:nvPr/>
          </p:nvSpPr>
          <p:spPr>
            <a:xfrm>
              <a:off x="1198775" y="653954"/>
              <a:ext cx="56215" cy="6246"/>
            </a:xfrm>
            <a:custGeom>
              <a:avLst/>
              <a:gdLst>
                <a:gd name="connsiteX0" fmla="*/ 49219 w 56214"/>
                <a:gd name="connsiteY0" fmla="*/ 9003 h 6246"/>
                <a:gd name="connsiteX1" fmla="*/ 0 w 56214"/>
                <a:gd name="connsiteY1" fmla="*/ 2257 h 6246"/>
                <a:gd name="connsiteX2" fmla="*/ 8745 w 56214"/>
                <a:gd name="connsiteY2" fmla="*/ 820 h 6246"/>
                <a:gd name="connsiteX3" fmla="*/ 22986 w 56214"/>
                <a:gd name="connsiteY3" fmla="*/ 2257 h 6246"/>
                <a:gd name="connsiteX4" fmla="*/ 30981 w 56214"/>
                <a:gd name="connsiteY4" fmla="*/ 3756 h 6246"/>
                <a:gd name="connsiteX5" fmla="*/ 33479 w 56214"/>
                <a:gd name="connsiteY5" fmla="*/ 3756 h 6246"/>
                <a:gd name="connsiteX6" fmla="*/ 41286 w 56214"/>
                <a:gd name="connsiteY6" fmla="*/ 4193 h 6246"/>
                <a:gd name="connsiteX7" fmla="*/ 52779 w 56214"/>
                <a:gd name="connsiteY7" fmla="*/ 4943 h 6246"/>
                <a:gd name="connsiteX8" fmla="*/ 59837 w 56214"/>
                <a:gd name="connsiteY8" fmla="*/ 6129 h 6246"/>
                <a:gd name="connsiteX9" fmla="*/ 49219 w 56214"/>
                <a:gd name="connsiteY9" fmla="*/ 900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14" h="6246">
                  <a:moveTo>
                    <a:pt x="49219" y="9003"/>
                  </a:moveTo>
                  <a:cubicBezTo>
                    <a:pt x="32167" y="10439"/>
                    <a:pt x="16115" y="6379"/>
                    <a:pt x="0" y="2257"/>
                  </a:cubicBezTo>
                  <a:cubicBezTo>
                    <a:pt x="2186" y="-1866"/>
                    <a:pt x="5746" y="945"/>
                    <a:pt x="8745" y="820"/>
                  </a:cubicBezTo>
                  <a:cubicBezTo>
                    <a:pt x="13554" y="633"/>
                    <a:pt x="18239" y="1695"/>
                    <a:pt x="22986" y="2257"/>
                  </a:cubicBezTo>
                  <a:cubicBezTo>
                    <a:pt x="25359" y="3943"/>
                    <a:pt x="28232" y="3693"/>
                    <a:pt x="30981" y="3756"/>
                  </a:cubicBezTo>
                  <a:cubicBezTo>
                    <a:pt x="31793" y="3756"/>
                    <a:pt x="32667" y="3756"/>
                    <a:pt x="33479" y="3756"/>
                  </a:cubicBezTo>
                  <a:cubicBezTo>
                    <a:pt x="36165" y="3818"/>
                    <a:pt x="39725" y="2756"/>
                    <a:pt x="41286" y="4193"/>
                  </a:cubicBezTo>
                  <a:cubicBezTo>
                    <a:pt x="45222" y="7628"/>
                    <a:pt x="48969" y="5068"/>
                    <a:pt x="52779" y="4943"/>
                  </a:cubicBezTo>
                  <a:cubicBezTo>
                    <a:pt x="55215" y="4880"/>
                    <a:pt x="57839" y="4193"/>
                    <a:pt x="59837" y="6129"/>
                  </a:cubicBezTo>
                  <a:cubicBezTo>
                    <a:pt x="56964" y="8940"/>
                    <a:pt x="52404" y="7004"/>
                    <a:pt x="49219" y="9003"/>
                  </a:cubicBezTo>
                  <a:close/>
                </a:path>
              </a:pathLst>
            </a:custGeom>
            <a:grpFill/>
            <a:ln w="6246" cap="flat">
              <a:noFill/>
              <a:prstDash val="solid"/>
              <a:miter/>
            </a:ln>
          </p:spPr>
          <p:txBody>
            <a:bodyPr rtlCol="0" anchor="ctr"/>
            <a:lstStyle/>
            <a:p>
              <a:endParaRPr lang="fr-FR" sz="2400"/>
            </a:p>
          </p:txBody>
        </p:sp>
        <p:sp>
          <p:nvSpPr>
            <p:cNvPr id="227" name="Freeform: Shape 226">
              <a:extLst>
                <a:ext uri="{FF2B5EF4-FFF2-40B4-BE49-F238E27FC236}">
                  <a16:creationId xmlns:a16="http://schemas.microsoft.com/office/drawing/2014/main" id="{78FE0AF8-D066-4192-856A-58867D6833AF}"/>
                </a:ext>
              </a:extLst>
            </p:cNvPr>
            <p:cNvSpPr/>
            <p:nvPr/>
          </p:nvSpPr>
          <p:spPr>
            <a:xfrm>
              <a:off x="1264024" y="645755"/>
              <a:ext cx="43722" cy="12492"/>
            </a:xfrm>
            <a:custGeom>
              <a:avLst/>
              <a:gdLst>
                <a:gd name="connsiteX0" fmla="*/ 43869 w 43722"/>
                <a:gd name="connsiteY0" fmla="*/ 4647 h 12492"/>
                <a:gd name="connsiteX1" fmla="*/ 20322 w 43722"/>
                <a:gd name="connsiteY1" fmla="*/ 11955 h 12492"/>
                <a:gd name="connsiteX2" fmla="*/ 2146 w 43722"/>
                <a:gd name="connsiteY2" fmla="*/ 15327 h 12492"/>
                <a:gd name="connsiteX3" fmla="*/ 209 w 43722"/>
                <a:gd name="connsiteY3" fmla="*/ 15015 h 12492"/>
                <a:gd name="connsiteX4" fmla="*/ 896 w 43722"/>
                <a:gd name="connsiteY4" fmla="*/ 14328 h 12492"/>
                <a:gd name="connsiteX5" fmla="*/ 5331 w 43722"/>
                <a:gd name="connsiteY5" fmla="*/ 13391 h 12492"/>
                <a:gd name="connsiteX6" fmla="*/ 11702 w 43722"/>
                <a:gd name="connsiteY6" fmla="*/ 10456 h 12492"/>
                <a:gd name="connsiteX7" fmla="*/ 42308 w 43722"/>
                <a:gd name="connsiteY7" fmla="*/ 150 h 12492"/>
                <a:gd name="connsiteX8" fmla="*/ 44681 w 43722"/>
                <a:gd name="connsiteY8" fmla="*/ 87 h 12492"/>
                <a:gd name="connsiteX9" fmla="*/ 47242 w 43722"/>
                <a:gd name="connsiteY9" fmla="*/ 1586 h 12492"/>
                <a:gd name="connsiteX10" fmla="*/ 43869 w 43722"/>
                <a:gd name="connsiteY10" fmla="*/ 464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22" h="12492">
                  <a:moveTo>
                    <a:pt x="43869" y="4647"/>
                  </a:moveTo>
                  <a:cubicBezTo>
                    <a:pt x="35562" y="5896"/>
                    <a:pt x="28504" y="10393"/>
                    <a:pt x="20322" y="11955"/>
                  </a:cubicBezTo>
                  <a:cubicBezTo>
                    <a:pt x="14263" y="13079"/>
                    <a:pt x="8392" y="14890"/>
                    <a:pt x="2146" y="15327"/>
                  </a:cubicBezTo>
                  <a:cubicBezTo>
                    <a:pt x="1521" y="15265"/>
                    <a:pt x="584" y="15327"/>
                    <a:pt x="209" y="15015"/>
                  </a:cubicBezTo>
                  <a:cubicBezTo>
                    <a:pt x="-415" y="14391"/>
                    <a:pt x="522" y="14391"/>
                    <a:pt x="896" y="14328"/>
                  </a:cubicBezTo>
                  <a:cubicBezTo>
                    <a:pt x="2395" y="14016"/>
                    <a:pt x="3832" y="13704"/>
                    <a:pt x="5331" y="13391"/>
                  </a:cubicBezTo>
                  <a:cubicBezTo>
                    <a:pt x="6768" y="11268"/>
                    <a:pt x="9516" y="11268"/>
                    <a:pt x="11702" y="10456"/>
                  </a:cubicBezTo>
                  <a:cubicBezTo>
                    <a:pt x="22508" y="8457"/>
                    <a:pt x="32064" y="3460"/>
                    <a:pt x="42308" y="150"/>
                  </a:cubicBezTo>
                  <a:cubicBezTo>
                    <a:pt x="43120" y="-38"/>
                    <a:pt x="43869" y="-38"/>
                    <a:pt x="44681" y="87"/>
                  </a:cubicBezTo>
                  <a:cubicBezTo>
                    <a:pt x="45743" y="337"/>
                    <a:pt x="46617" y="774"/>
                    <a:pt x="47242" y="1586"/>
                  </a:cubicBezTo>
                  <a:cubicBezTo>
                    <a:pt x="47492" y="3772"/>
                    <a:pt x="44806" y="3460"/>
                    <a:pt x="43869" y="4647"/>
                  </a:cubicBezTo>
                  <a:close/>
                </a:path>
              </a:pathLst>
            </a:custGeom>
            <a:grpFill/>
            <a:ln w="6246" cap="flat">
              <a:noFill/>
              <a:prstDash val="solid"/>
              <a:miter/>
            </a:ln>
          </p:spPr>
          <p:txBody>
            <a:bodyPr rtlCol="0" anchor="ctr"/>
            <a:lstStyle/>
            <a:p>
              <a:endParaRPr lang="fr-FR" sz="2400"/>
            </a:p>
          </p:txBody>
        </p:sp>
        <p:sp>
          <p:nvSpPr>
            <p:cNvPr id="228" name="Freeform: Shape 227">
              <a:extLst>
                <a:ext uri="{FF2B5EF4-FFF2-40B4-BE49-F238E27FC236}">
                  <a16:creationId xmlns:a16="http://schemas.microsoft.com/office/drawing/2014/main" id="{C5842D79-8611-40F9-B559-7DF0794B6999}"/>
                </a:ext>
              </a:extLst>
            </p:cNvPr>
            <p:cNvSpPr/>
            <p:nvPr/>
          </p:nvSpPr>
          <p:spPr>
            <a:xfrm>
              <a:off x="1157051" y="653456"/>
              <a:ext cx="12492" cy="6246"/>
            </a:xfrm>
            <a:custGeom>
              <a:avLst/>
              <a:gdLst>
                <a:gd name="connsiteX0" fmla="*/ 0 w 12492"/>
                <a:gd name="connsiteY0" fmla="*/ 818 h 6246"/>
                <a:gd name="connsiteX1" fmla="*/ 11743 w 12492"/>
                <a:gd name="connsiteY1" fmla="*/ 2754 h 6246"/>
                <a:gd name="connsiteX2" fmla="*/ 17114 w 12492"/>
                <a:gd name="connsiteY2" fmla="*/ 4691 h 6246"/>
                <a:gd name="connsiteX3" fmla="*/ 13804 w 12492"/>
                <a:gd name="connsiteY3" fmla="*/ 9625 h 6246"/>
                <a:gd name="connsiteX4" fmla="*/ 5309 w 12492"/>
                <a:gd name="connsiteY4" fmla="*/ 5815 h 6246"/>
                <a:gd name="connsiteX5" fmla="*/ 0 w 12492"/>
                <a:gd name="connsiteY5" fmla="*/ 8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818"/>
                  </a:moveTo>
                  <a:cubicBezTo>
                    <a:pt x="4560" y="-1743"/>
                    <a:pt x="7745" y="2504"/>
                    <a:pt x="11743" y="2754"/>
                  </a:cubicBezTo>
                  <a:cubicBezTo>
                    <a:pt x="13117" y="4253"/>
                    <a:pt x="14991" y="4753"/>
                    <a:pt x="17114" y="4691"/>
                  </a:cubicBezTo>
                  <a:cubicBezTo>
                    <a:pt x="16052" y="6315"/>
                    <a:pt x="15615" y="8313"/>
                    <a:pt x="13804" y="9625"/>
                  </a:cubicBezTo>
                  <a:cubicBezTo>
                    <a:pt x="10368" y="9375"/>
                    <a:pt x="7995" y="7376"/>
                    <a:pt x="5309" y="5815"/>
                  </a:cubicBezTo>
                  <a:cubicBezTo>
                    <a:pt x="4310" y="3379"/>
                    <a:pt x="1749" y="2504"/>
                    <a:pt x="0" y="818"/>
                  </a:cubicBezTo>
                  <a:close/>
                </a:path>
              </a:pathLst>
            </a:custGeom>
            <a:grpFill/>
            <a:ln w="6246" cap="flat">
              <a:noFill/>
              <a:prstDash val="solid"/>
              <a:miter/>
            </a:ln>
          </p:spPr>
          <p:txBody>
            <a:bodyPr rtlCol="0" anchor="ctr"/>
            <a:lstStyle/>
            <a:p>
              <a:endParaRPr lang="fr-FR" sz="2400"/>
            </a:p>
          </p:txBody>
        </p:sp>
        <p:sp>
          <p:nvSpPr>
            <p:cNvPr id="229" name="Freeform: Shape 228">
              <a:extLst>
                <a:ext uri="{FF2B5EF4-FFF2-40B4-BE49-F238E27FC236}">
                  <a16:creationId xmlns:a16="http://schemas.microsoft.com/office/drawing/2014/main" id="{1123C5FA-1D23-4B87-9F2A-76B622D94C93}"/>
                </a:ext>
              </a:extLst>
            </p:cNvPr>
            <p:cNvSpPr/>
            <p:nvPr/>
          </p:nvSpPr>
          <p:spPr>
            <a:xfrm>
              <a:off x="1249001" y="653900"/>
              <a:ext cx="24984" cy="6246"/>
            </a:xfrm>
            <a:custGeom>
              <a:avLst/>
              <a:gdLst>
                <a:gd name="connsiteX0" fmla="*/ 26788 w 24984"/>
                <a:gd name="connsiteY0" fmla="*/ 3248 h 6246"/>
                <a:gd name="connsiteX1" fmla="*/ 20354 w 24984"/>
                <a:gd name="connsiteY1" fmla="*/ 5184 h 6246"/>
                <a:gd name="connsiteX2" fmla="*/ 9674 w 24984"/>
                <a:gd name="connsiteY2" fmla="*/ 6121 h 6246"/>
                <a:gd name="connsiteX3" fmla="*/ 2178 w 24984"/>
                <a:gd name="connsiteY3" fmla="*/ 6121 h 6246"/>
                <a:gd name="connsiteX4" fmla="*/ 367 w 24984"/>
                <a:gd name="connsiteY4" fmla="*/ 6184 h 6246"/>
                <a:gd name="connsiteX5" fmla="*/ 1054 w 24984"/>
                <a:gd name="connsiteY5" fmla="*/ 4372 h 6246"/>
                <a:gd name="connsiteX6" fmla="*/ 8362 w 24984"/>
                <a:gd name="connsiteY6" fmla="*/ 1936 h 6246"/>
                <a:gd name="connsiteX7" fmla="*/ 22666 w 24984"/>
                <a:gd name="connsiteY7" fmla="*/ 0 h 6246"/>
                <a:gd name="connsiteX8" fmla="*/ 26788 w 24984"/>
                <a:gd name="connsiteY8" fmla="*/ 324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26788" y="3248"/>
                  </a:moveTo>
                  <a:cubicBezTo>
                    <a:pt x="24914" y="4622"/>
                    <a:pt x="22478" y="4497"/>
                    <a:pt x="20354" y="5184"/>
                  </a:cubicBezTo>
                  <a:cubicBezTo>
                    <a:pt x="16544" y="3498"/>
                    <a:pt x="13172" y="5247"/>
                    <a:pt x="9674" y="6121"/>
                  </a:cubicBezTo>
                  <a:cubicBezTo>
                    <a:pt x="7175" y="6121"/>
                    <a:pt x="4677" y="6121"/>
                    <a:pt x="2178" y="6121"/>
                  </a:cubicBezTo>
                  <a:cubicBezTo>
                    <a:pt x="1616" y="6496"/>
                    <a:pt x="929" y="6746"/>
                    <a:pt x="367" y="6184"/>
                  </a:cubicBezTo>
                  <a:cubicBezTo>
                    <a:pt x="-507" y="5309"/>
                    <a:pt x="367" y="4747"/>
                    <a:pt x="1054" y="4372"/>
                  </a:cubicBezTo>
                  <a:cubicBezTo>
                    <a:pt x="3303" y="3123"/>
                    <a:pt x="5801" y="2373"/>
                    <a:pt x="8362" y="1936"/>
                  </a:cubicBezTo>
                  <a:cubicBezTo>
                    <a:pt x="13172" y="1624"/>
                    <a:pt x="17856" y="375"/>
                    <a:pt x="22666" y="0"/>
                  </a:cubicBezTo>
                  <a:cubicBezTo>
                    <a:pt x="24789" y="312"/>
                    <a:pt x="27600" y="-125"/>
                    <a:pt x="26788" y="3248"/>
                  </a:cubicBezTo>
                  <a:close/>
                </a:path>
              </a:pathLst>
            </a:custGeom>
            <a:grpFill/>
            <a:ln w="6246" cap="flat">
              <a:noFill/>
              <a:prstDash val="solid"/>
              <a:miter/>
            </a:ln>
          </p:spPr>
          <p:txBody>
            <a:bodyPr rtlCol="0" anchor="ctr"/>
            <a:lstStyle/>
            <a:p>
              <a:endParaRPr lang="fr-FR" sz="2400"/>
            </a:p>
          </p:txBody>
        </p:sp>
        <p:sp>
          <p:nvSpPr>
            <p:cNvPr id="230" name="Freeform: Shape 229">
              <a:extLst>
                <a:ext uri="{FF2B5EF4-FFF2-40B4-BE49-F238E27FC236}">
                  <a16:creationId xmlns:a16="http://schemas.microsoft.com/office/drawing/2014/main" id="{9022FC4A-A824-4411-B7DB-08AA58DEFDEA}"/>
                </a:ext>
              </a:extLst>
            </p:cNvPr>
            <p:cNvSpPr/>
            <p:nvPr/>
          </p:nvSpPr>
          <p:spPr>
            <a:xfrm>
              <a:off x="1264671" y="661020"/>
              <a:ext cx="18738" cy="6246"/>
            </a:xfrm>
            <a:custGeom>
              <a:avLst/>
              <a:gdLst>
                <a:gd name="connsiteX0" fmla="*/ 5746 w 18738"/>
                <a:gd name="connsiteY0" fmla="*/ 1936 h 0"/>
                <a:gd name="connsiteX1" fmla="*/ 17489 w 18738"/>
                <a:gd name="connsiteY1" fmla="*/ 0 h 0"/>
                <a:gd name="connsiteX2" fmla="*/ 19613 w 18738"/>
                <a:gd name="connsiteY2" fmla="*/ 999 h 0"/>
                <a:gd name="connsiteX3" fmla="*/ 0 w 18738"/>
                <a:gd name="connsiteY3" fmla="*/ 5059 h 0"/>
                <a:gd name="connsiteX4" fmla="*/ 5746 w 18738"/>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5746" y="1936"/>
                  </a:moveTo>
                  <a:cubicBezTo>
                    <a:pt x="9869" y="2186"/>
                    <a:pt x="13492" y="125"/>
                    <a:pt x="17489" y="0"/>
                  </a:cubicBezTo>
                  <a:cubicBezTo>
                    <a:pt x="18363" y="62"/>
                    <a:pt x="19175" y="250"/>
                    <a:pt x="19613" y="999"/>
                  </a:cubicBezTo>
                  <a:cubicBezTo>
                    <a:pt x="13242" y="2311"/>
                    <a:pt x="6871" y="3623"/>
                    <a:pt x="0" y="5059"/>
                  </a:cubicBezTo>
                  <a:cubicBezTo>
                    <a:pt x="1499" y="2311"/>
                    <a:pt x="4435" y="3623"/>
                    <a:pt x="5746" y="1936"/>
                  </a:cubicBezTo>
                  <a:close/>
                </a:path>
              </a:pathLst>
            </a:custGeom>
            <a:grpFill/>
            <a:ln w="6246" cap="flat">
              <a:noFill/>
              <a:prstDash val="solid"/>
              <a:miter/>
            </a:ln>
          </p:spPr>
          <p:txBody>
            <a:bodyPr rtlCol="0" anchor="ctr"/>
            <a:lstStyle/>
            <a:p>
              <a:endParaRPr lang="fr-FR" sz="2400"/>
            </a:p>
          </p:txBody>
        </p:sp>
        <p:sp>
          <p:nvSpPr>
            <p:cNvPr id="231" name="Freeform: Shape 230">
              <a:extLst>
                <a:ext uri="{FF2B5EF4-FFF2-40B4-BE49-F238E27FC236}">
                  <a16:creationId xmlns:a16="http://schemas.microsoft.com/office/drawing/2014/main" id="{D32DF298-E4E0-4E05-BB5F-0FBAA1BD2629}"/>
                </a:ext>
              </a:extLst>
            </p:cNvPr>
            <p:cNvSpPr/>
            <p:nvPr/>
          </p:nvSpPr>
          <p:spPr>
            <a:xfrm>
              <a:off x="1238625" y="667891"/>
              <a:ext cx="12492" cy="6246"/>
            </a:xfrm>
            <a:custGeom>
              <a:avLst/>
              <a:gdLst>
                <a:gd name="connsiteX0" fmla="*/ 13304 w 12492"/>
                <a:gd name="connsiteY0" fmla="*/ 437 h 0"/>
                <a:gd name="connsiteX1" fmla="*/ 0 w 12492"/>
                <a:gd name="connsiteY1" fmla="*/ 1124 h 0"/>
                <a:gd name="connsiteX2" fmla="*/ 13304 w 12492"/>
                <a:gd name="connsiteY2" fmla="*/ 437 h 0"/>
              </a:gdLst>
              <a:ahLst/>
              <a:cxnLst>
                <a:cxn ang="0">
                  <a:pos x="connsiteX0" y="connsiteY0"/>
                </a:cxn>
                <a:cxn ang="0">
                  <a:pos x="connsiteX1" y="connsiteY1"/>
                </a:cxn>
                <a:cxn ang="0">
                  <a:pos x="connsiteX2" y="connsiteY2"/>
                </a:cxn>
              </a:cxnLst>
              <a:rect l="l" t="t" r="r" b="b"/>
              <a:pathLst>
                <a:path w="12492">
                  <a:moveTo>
                    <a:pt x="13304" y="437"/>
                  </a:moveTo>
                  <a:cubicBezTo>
                    <a:pt x="9119" y="687"/>
                    <a:pt x="5184" y="2811"/>
                    <a:pt x="0" y="1124"/>
                  </a:cubicBezTo>
                  <a:cubicBezTo>
                    <a:pt x="5122" y="999"/>
                    <a:pt x="9119" y="-812"/>
                    <a:pt x="13304" y="437"/>
                  </a:cubicBezTo>
                  <a:close/>
                </a:path>
              </a:pathLst>
            </a:custGeom>
            <a:grpFill/>
            <a:ln w="6246" cap="flat">
              <a:noFill/>
              <a:prstDash val="solid"/>
              <a:miter/>
            </a:ln>
          </p:spPr>
          <p:txBody>
            <a:bodyPr rtlCol="0" anchor="ctr"/>
            <a:lstStyle/>
            <a:p>
              <a:endParaRPr lang="fr-FR" sz="2400"/>
            </a:p>
          </p:txBody>
        </p:sp>
        <p:sp>
          <p:nvSpPr>
            <p:cNvPr id="232" name="Freeform: Shape 231">
              <a:extLst>
                <a:ext uri="{FF2B5EF4-FFF2-40B4-BE49-F238E27FC236}">
                  <a16:creationId xmlns:a16="http://schemas.microsoft.com/office/drawing/2014/main" id="{03D09108-ABEF-4BD4-AFE8-8CDFB704CEA0}"/>
                </a:ext>
              </a:extLst>
            </p:cNvPr>
            <p:cNvSpPr/>
            <p:nvPr/>
          </p:nvSpPr>
          <p:spPr>
            <a:xfrm>
              <a:off x="1278974" y="666364"/>
              <a:ext cx="6246" cy="6246"/>
            </a:xfrm>
            <a:custGeom>
              <a:avLst/>
              <a:gdLst>
                <a:gd name="connsiteX0" fmla="*/ 7495 w 6246"/>
                <a:gd name="connsiteY0" fmla="*/ 465 h 0"/>
                <a:gd name="connsiteX1" fmla="*/ 0 w 6246"/>
                <a:gd name="connsiteY1" fmla="*/ 1402 h 0"/>
                <a:gd name="connsiteX2" fmla="*/ 7495 w 6246"/>
                <a:gd name="connsiteY2" fmla="*/ 465 h 0"/>
              </a:gdLst>
              <a:ahLst/>
              <a:cxnLst>
                <a:cxn ang="0">
                  <a:pos x="connsiteX0" y="connsiteY0"/>
                </a:cxn>
                <a:cxn ang="0">
                  <a:pos x="connsiteX1" y="connsiteY1"/>
                </a:cxn>
                <a:cxn ang="0">
                  <a:pos x="connsiteX2" y="connsiteY2"/>
                </a:cxn>
              </a:cxnLst>
              <a:rect l="l" t="t" r="r" b="b"/>
              <a:pathLst>
                <a:path w="6246">
                  <a:moveTo>
                    <a:pt x="7495" y="465"/>
                  </a:moveTo>
                  <a:cubicBezTo>
                    <a:pt x="5122" y="1590"/>
                    <a:pt x="2873" y="3526"/>
                    <a:pt x="0" y="1402"/>
                  </a:cubicBezTo>
                  <a:cubicBezTo>
                    <a:pt x="2373" y="215"/>
                    <a:pt x="4809" y="-534"/>
                    <a:pt x="7495" y="465"/>
                  </a:cubicBezTo>
                  <a:close/>
                </a:path>
              </a:pathLst>
            </a:custGeom>
            <a:grpFill/>
            <a:ln w="6246" cap="flat">
              <a:noFill/>
              <a:prstDash val="solid"/>
              <a:miter/>
            </a:ln>
          </p:spPr>
          <p:txBody>
            <a:bodyPr rtlCol="0" anchor="ctr"/>
            <a:lstStyle/>
            <a:p>
              <a:endParaRPr lang="fr-FR" sz="2400"/>
            </a:p>
          </p:txBody>
        </p:sp>
        <p:sp>
          <p:nvSpPr>
            <p:cNvPr id="233" name="Freeform: Shape 232">
              <a:extLst>
                <a:ext uri="{FF2B5EF4-FFF2-40B4-BE49-F238E27FC236}">
                  <a16:creationId xmlns:a16="http://schemas.microsoft.com/office/drawing/2014/main" id="{791D95DC-C64E-4F26-B6C3-E33FDA432003}"/>
                </a:ext>
              </a:extLst>
            </p:cNvPr>
            <p:cNvSpPr/>
            <p:nvPr/>
          </p:nvSpPr>
          <p:spPr>
            <a:xfrm>
              <a:off x="1335439" y="600886"/>
              <a:ext cx="56215" cy="37476"/>
            </a:xfrm>
            <a:custGeom>
              <a:avLst/>
              <a:gdLst>
                <a:gd name="connsiteX0" fmla="*/ 7745 w 56214"/>
                <a:gd name="connsiteY0" fmla="*/ 37898 h 37476"/>
                <a:gd name="connsiteX1" fmla="*/ 4560 w 56214"/>
                <a:gd name="connsiteY1" fmla="*/ 36962 h 37476"/>
                <a:gd name="connsiteX2" fmla="*/ 0 w 56214"/>
                <a:gd name="connsiteY2" fmla="*/ 35900 h 37476"/>
                <a:gd name="connsiteX3" fmla="*/ 8057 w 56214"/>
                <a:gd name="connsiteY3" fmla="*/ 31028 h 37476"/>
                <a:gd name="connsiteX4" fmla="*/ 17739 w 56214"/>
                <a:gd name="connsiteY4" fmla="*/ 25406 h 37476"/>
                <a:gd name="connsiteX5" fmla="*/ 17052 w 56214"/>
                <a:gd name="connsiteY5" fmla="*/ 23907 h 37476"/>
                <a:gd name="connsiteX6" fmla="*/ 20300 w 56214"/>
                <a:gd name="connsiteY6" fmla="*/ 20784 h 37476"/>
                <a:gd name="connsiteX7" fmla="*/ 23797 w 56214"/>
                <a:gd name="connsiteY7" fmla="*/ 19847 h 37476"/>
                <a:gd name="connsiteX8" fmla="*/ 29544 w 56214"/>
                <a:gd name="connsiteY8" fmla="*/ 19348 h 37476"/>
                <a:gd name="connsiteX9" fmla="*/ 28857 w 56214"/>
                <a:gd name="connsiteY9" fmla="*/ 23720 h 37476"/>
                <a:gd name="connsiteX10" fmla="*/ 19738 w 56214"/>
                <a:gd name="connsiteY10" fmla="*/ 30153 h 37476"/>
                <a:gd name="connsiteX11" fmla="*/ 48782 w 56214"/>
                <a:gd name="connsiteY11" fmla="*/ 4107 h 37476"/>
                <a:gd name="connsiteX12" fmla="*/ 53154 w 56214"/>
                <a:gd name="connsiteY12" fmla="*/ 797 h 37476"/>
                <a:gd name="connsiteX13" fmla="*/ 56714 w 56214"/>
                <a:gd name="connsiteY13" fmla="*/ 1984 h 37476"/>
                <a:gd name="connsiteX14" fmla="*/ 52842 w 56214"/>
                <a:gd name="connsiteY14" fmla="*/ 6980 h 37476"/>
                <a:gd name="connsiteX15" fmla="*/ 47220 w 56214"/>
                <a:gd name="connsiteY15" fmla="*/ 12664 h 37476"/>
                <a:gd name="connsiteX16" fmla="*/ 21112 w 56214"/>
                <a:gd name="connsiteY16" fmla="*/ 32277 h 37476"/>
                <a:gd name="connsiteX17" fmla="*/ 17551 w 56214"/>
                <a:gd name="connsiteY17" fmla="*/ 35025 h 37476"/>
                <a:gd name="connsiteX18" fmla="*/ 7745 w 56214"/>
                <a:gd name="connsiteY18" fmla="*/ 37898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214" h="37476">
                  <a:moveTo>
                    <a:pt x="7745" y="37898"/>
                  </a:moveTo>
                  <a:cubicBezTo>
                    <a:pt x="6933" y="36837"/>
                    <a:pt x="5746" y="36962"/>
                    <a:pt x="4560" y="36962"/>
                  </a:cubicBezTo>
                  <a:cubicBezTo>
                    <a:pt x="3248" y="35837"/>
                    <a:pt x="625" y="39397"/>
                    <a:pt x="0" y="35900"/>
                  </a:cubicBezTo>
                  <a:cubicBezTo>
                    <a:pt x="1811" y="33089"/>
                    <a:pt x="5309" y="32652"/>
                    <a:pt x="8057" y="31028"/>
                  </a:cubicBezTo>
                  <a:cubicBezTo>
                    <a:pt x="11368" y="29279"/>
                    <a:pt x="15490" y="28654"/>
                    <a:pt x="17739" y="25406"/>
                  </a:cubicBezTo>
                  <a:cubicBezTo>
                    <a:pt x="17364" y="24969"/>
                    <a:pt x="17052" y="24469"/>
                    <a:pt x="17052" y="23907"/>
                  </a:cubicBezTo>
                  <a:cubicBezTo>
                    <a:pt x="17427" y="22283"/>
                    <a:pt x="18863" y="21534"/>
                    <a:pt x="20300" y="20784"/>
                  </a:cubicBezTo>
                  <a:cubicBezTo>
                    <a:pt x="21424" y="20284"/>
                    <a:pt x="22548" y="19972"/>
                    <a:pt x="23797" y="19847"/>
                  </a:cubicBezTo>
                  <a:cubicBezTo>
                    <a:pt x="25734" y="19972"/>
                    <a:pt x="27545" y="18661"/>
                    <a:pt x="29544" y="19348"/>
                  </a:cubicBezTo>
                  <a:cubicBezTo>
                    <a:pt x="31730" y="21097"/>
                    <a:pt x="30356" y="22471"/>
                    <a:pt x="28857" y="23720"/>
                  </a:cubicBezTo>
                  <a:cubicBezTo>
                    <a:pt x="26046" y="26156"/>
                    <a:pt x="22985" y="28279"/>
                    <a:pt x="19738" y="30153"/>
                  </a:cubicBezTo>
                  <a:cubicBezTo>
                    <a:pt x="31168" y="23033"/>
                    <a:pt x="39850" y="13476"/>
                    <a:pt x="48782" y="4107"/>
                  </a:cubicBezTo>
                  <a:cubicBezTo>
                    <a:pt x="50281" y="3045"/>
                    <a:pt x="51530" y="1671"/>
                    <a:pt x="53154" y="797"/>
                  </a:cubicBezTo>
                  <a:cubicBezTo>
                    <a:pt x="54778" y="-140"/>
                    <a:pt x="56464" y="-765"/>
                    <a:pt x="56714" y="1984"/>
                  </a:cubicBezTo>
                  <a:cubicBezTo>
                    <a:pt x="56215" y="4170"/>
                    <a:pt x="54840" y="5794"/>
                    <a:pt x="52842" y="6980"/>
                  </a:cubicBezTo>
                  <a:cubicBezTo>
                    <a:pt x="50031" y="8105"/>
                    <a:pt x="49157" y="10790"/>
                    <a:pt x="47220" y="12664"/>
                  </a:cubicBezTo>
                  <a:cubicBezTo>
                    <a:pt x="39350" y="20097"/>
                    <a:pt x="30731" y="26718"/>
                    <a:pt x="21112" y="32277"/>
                  </a:cubicBezTo>
                  <a:cubicBezTo>
                    <a:pt x="19800" y="33026"/>
                    <a:pt x="18176" y="33526"/>
                    <a:pt x="17551" y="35025"/>
                  </a:cubicBezTo>
                  <a:cubicBezTo>
                    <a:pt x="13866" y="35088"/>
                    <a:pt x="10993" y="37024"/>
                    <a:pt x="7745" y="37898"/>
                  </a:cubicBezTo>
                  <a:close/>
                </a:path>
              </a:pathLst>
            </a:custGeom>
            <a:grpFill/>
            <a:ln w="6246" cap="flat">
              <a:noFill/>
              <a:prstDash val="solid"/>
              <a:miter/>
            </a:ln>
          </p:spPr>
          <p:txBody>
            <a:bodyPr rtlCol="0" anchor="ctr"/>
            <a:lstStyle/>
            <a:p>
              <a:endParaRPr lang="fr-FR" sz="2400"/>
            </a:p>
          </p:txBody>
        </p:sp>
        <p:sp>
          <p:nvSpPr>
            <p:cNvPr id="234" name="Freeform: Shape 233">
              <a:extLst>
                <a:ext uri="{FF2B5EF4-FFF2-40B4-BE49-F238E27FC236}">
                  <a16:creationId xmlns:a16="http://schemas.microsoft.com/office/drawing/2014/main" id="{477F4DAA-6B7C-4E81-A8E9-945989B5C597}"/>
                </a:ext>
              </a:extLst>
            </p:cNvPr>
            <p:cNvSpPr/>
            <p:nvPr/>
          </p:nvSpPr>
          <p:spPr>
            <a:xfrm>
              <a:off x="1388156" y="586942"/>
              <a:ext cx="12492" cy="18738"/>
            </a:xfrm>
            <a:custGeom>
              <a:avLst/>
              <a:gdLst>
                <a:gd name="connsiteX0" fmla="*/ 0 w 12492"/>
                <a:gd name="connsiteY0" fmla="*/ 20924 h 18738"/>
                <a:gd name="connsiteX1" fmla="*/ 3186 w 12492"/>
                <a:gd name="connsiteY1" fmla="*/ 16115 h 18738"/>
                <a:gd name="connsiteX2" fmla="*/ 6558 w 12492"/>
                <a:gd name="connsiteY2" fmla="*/ 9307 h 18738"/>
                <a:gd name="connsiteX3" fmla="*/ 12180 w 12492"/>
                <a:gd name="connsiteY3" fmla="*/ 2373 h 18738"/>
                <a:gd name="connsiteX4" fmla="*/ 15303 w 12492"/>
                <a:gd name="connsiteY4" fmla="*/ 0 h 18738"/>
                <a:gd name="connsiteX5" fmla="*/ 17801 w 12492"/>
                <a:gd name="connsiteY5" fmla="*/ 2311 h 18738"/>
                <a:gd name="connsiteX6" fmla="*/ 15990 w 12492"/>
                <a:gd name="connsiteY6" fmla="*/ 6433 h 18738"/>
                <a:gd name="connsiteX7" fmla="*/ 11680 w 12492"/>
                <a:gd name="connsiteY7" fmla="*/ 14179 h 18738"/>
                <a:gd name="connsiteX8" fmla="*/ 7245 w 12492"/>
                <a:gd name="connsiteY8" fmla="*/ 16864 h 18738"/>
                <a:gd name="connsiteX9" fmla="*/ 2124 w 12492"/>
                <a:gd name="connsiteY9" fmla="*/ 24797 h 18738"/>
                <a:gd name="connsiteX10" fmla="*/ 1062 w 12492"/>
                <a:gd name="connsiteY10" fmla="*/ 22861 h 18738"/>
                <a:gd name="connsiteX11" fmla="*/ 0 w 12492"/>
                <a:gd name="connsiteY11" fmla="*/ 2092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18738">
                  <a:moveTo>
                    <a:pt x="0" y="20924"/>
                  </a:moveTo>
                  <a:cubicBezTo>
                    <a:pt x="250" y="18863"/>
                    <a:pt x="1811" y="17551"/>
                    <a:pt x="3186" y="16115"/>
                  </a:cubicBezTo>
                  <a:cubicBezTo>
                    <a:pt x="4060" y="13741"/>
                    <a:pt x="3810" y="10931"/>
                    <a:pt x="6558" y="9307"/>
                  </a:cubicBezTo>
                  <a:cubicBezTo>
                    <a:pt x="9369" y="7620"/>
                    <a:pt x="10119" y="4560"/>
                    <a:pt x="12180" y="2373"/>
                  </a:cubicBezTo>
                  <a:cubicBezTo>
                    <a:pt x="13117" y="1374"/>
                    <a:pt x="13616" y="125"/>
                    <a:pt x="15303" y="0"/>
                  </a:cubicBezTo>
                  <a:cubicBezTo>
                    <a:pt x="16989" y="62"/>
                    <a:pt x="17801" y="812"/>
                    <a:pt x="17801" y="2311"/>
                  </a:cubicBezTo>
                  <a:cubicBezTo>
                    <a:pt x="17239" y="3685"/>
                    <a:pt x="17052" y="5247"/>
                    <a:pt x="15990" y="6433"/>
                  </a:cubicBezTo>
                  <a:cubicBezTo>
                    <a:pt x="14866" y="9182"/>
                    <a:pt x="11618" y="10931"/>
                    <a:pt x="11680" y="14179"/>
                  </a:cubicBezTo>
                  <a:cubicBezTo>
                    <a:pt x="8620" y="12992"/>
                    <a:pt x="7308" y="15303"/>
                    <a:pt x="7245" y="16864"/>
                  </a:cubicBezTo>
                  <a:cubicBezTo>
                    <a:pt x="7120" y="20550"/>
                    <a:pt x="4122" y="22361"/>
                    <a:pt x="2124" y="24797"/>
                  </a:cubicBezTo>
                  <a:cubicBezTo>
                    <a:pt x="1437" y="24297"/>
                    <a:pt x="999" y="23673"/>
                    <a:pt x="1062" y="22861"/>
                  </a:cubicBezTo>
                  <a:cubicBezTo>
                    <a:pt x="999" y="22049"/>
                    <a:pt x="812" y="21362"/>
                    <a:pt x="0" y="20924"/>
                  </a:cubicBezTo>
                  <a:close/>
                </a:path>
              </a:pathLst>
            </a:custGeom>
            <a:grpFill/>
            <a:ln w="6246" cap="flat">
              <a:noFill/>
              <a:prstDash val="solid"/>
              <a:miter/>
            </a:ln>
          </p:spPr>
          <p:txBody>
            <a:bodyPr rtlCol="0" anchor="ctr"/>
            <a:lstStyle/>
            <a:p>
              <a:endParaRPr lang="fr-FR" sz="2400"/>
            </a:p>
          </p:txBody>
        </p:sp>
        <p:sp>
          <p:nvSpPr>
            <p:cNvPr id="235" name="Freeform: Shape 234">
              <a:extLst>
                <a:ext uri="{FF2B5EF4-FFF2-40B4-BE49-F238E27FC236}">
                  <a16:creationId xmlns:a16="http://schemas.microsoft.com/office/drawing/2014/main" id="{850B22BB-77CF-4CD2-86E8-98E8CB67B5AE}"/>
                </a:ext>
              </a:extLst>
            </p:cNvPr>
            <p:cNvSpPr/>
            <p:nvPr/>
          </p:nvSpPr>
          <p:spPr>
            <a:xfrm>
              <a:off x="1359674" y="609802"/>
              <a:ext cx="24984" cy="24984"/>
            </a:xfrm>
            <a:custGeom>
              <a:avLst/>
              <a:gdLst>
                <a:gd name="connsiteX0" fmla="*/ 29544 w 24984"/>
                <a:gd name="connsiteY0" fmla="*/ 0 h 24984"/>
                <a:gd name="connsiteX1" fmla="*/ 30606 w 24984"/>
                <a:gd name="connsiteY1" fmla="*/ 1936 h 24984"/>
                <a:gd name="connsiteX2" fmla="*/ 22049 w 24984"/>
                <a:gd name="connsiteY2" fmla="*/ 11618 h 24984"/>
                <a:gd name="connsiteX3" fmla="*/ 0 w 24984"/>
                <a:gd name="connsiteY3" fmla="*/ 25359 h 24984"/>
                <a:gd name="connsiteX4" fmla="*/ 13741 w 24984"/>
                <a:gd name="connsiteY4" fmla="*/ 14741 h 24984"/>
                <a:gd name="connsiteX5" fmla="*/ 29544 w 24984"/>
                <a:gd name="connsiteY5"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24984">
                  <a:moveTo>
                    <a:pt x="29544" y="0"/>
                  </a:moveTo>
                  <a:cubicBezTo>
                    <a:pt x="30356" y="437"/>
                    <a:pt x="30606" y="1124"/>
                    <a:pt x="30606" y="1936"/>
                  </a:cubicBezTo>
                  <a:cubicBezTo>
                    <a:pt x="27108" y="4685"/>
                    <a:pt x="24984" y="8432"/>
                    <a:pt x="22049" y="11618"/>
                  </a:cubicBezTo>
                  <a:cubicBezTo>
                    <a:pt x="14678" y="16177"/>
                    <a:pt x="7370" y="20799"/>
                    <a:pt x="0" y="25359"/>
                  </a:cubicBezTo>
                  <a:cubicBezTo>
                    <a:pt x="3748" y="20799"/>
                    <a:pt x="8620" y="17676"/>
                    <a:pt x="13741" y="14741"/>
                  </a:cubicBezTo>
                  <a:cubicBezTo>
                    <a:pt x="20300" y="10931"/>
                    <a:pt x="24047" y="4685"/>
                    <a:pt x="29544" y="0"/>
                  </a:cubicBezTo>
                  <a:close/>
                </a:path>
              </a:pathLst>
            </a:custGeom>
            <a:grpFill/>
            <a:ln w="6246" cap="flat">
              <a:noFill/>
              <a:prstDash val="solid"/>
              <a:miter/>
            </a:ln>
          </p:spPr>
          <p:txBody>
            <a:bodyPr rtlCol="0" anchor="ctr"/>
            <a:lstStyle/>
            <a:p>
              <a:endParaRPr lang="fr-FR" sz="2400"/>
            </a:p>
          </p:txBody>
        </p:sp>
        <p:sp>
          <p:nvSpPr>
            <p:cNvPr id="236" name="Freeform: Shape 235">
              <a:extLst>
                <a:ext uri="{FF2B5EF4-FFF2-40B4-BE49-F238E27FC236}">
                  <a16:creationId xmlns:a16="http://schemas.microsoft.com/office/drawing/2014/main" id="{C07F3A0B-8F82-4062-A57D-8CCA8F26A952}"/>
                </a:ext>
              </a:extLst>
            </p:cNvPr>
            <p:cNvSpPr/>
            <p:nvPr/>
          </p:nvSpPr>
          <p:spPr>
            <a:xfrm>
              <a:off x="1404208" y="587257"/>
              <a:ext cx="6246" cy="6246"/>
            </a:xfrm>
            <a:custGeom>
              <a:avLst/>
              <a:gdLst>
                <a:gd name="connsiteX0" fmla="*/ 0 w 0"/>
                <a:gd name="connsiteY0" fmla="*/ 6056 h 6246"/>
                <a:gd name="connsiteX1" fmla="*/ 1062 w 0"/>
                <a:gd name="connsiteY1" fmla="*/ 2121 h 6246"/>
                <a:gd name="connsiteX2" fmla="*/ 2186 w 0"/>
                <a:gd name="connsiteY2" fmla="*/ 60 h 6246"/>
                <a:gd name="connsiteX3" fmla="*/ 4247 w 0"/>
                <a:gd name="connsiteY3" fmla="*/ 1184 h 6246"/>
                <a:gd name="connsiteX4" fmla="*/ 1187 w 0"/>
                <a:gd name="connsiteY4" fmla="*/ 7055 h 6246"/>
                <a:gd name="connsiteX5" fmla="*/ 125 w 0"/>
                <a:gd name="connsiteY5" fmla="*/ 8117 h 6246"/>
                <a:gd name="connsiteX6" fmla="*/ 0 w 0"/>
                <a:gd name="connsiteY6" fmla="*/ 60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056"/>
                  </a:moveTo>
                  <a:cubicBezTo>
                    <a:pt x="125" y="4682"/>
                    <a:pt x="-375" y="3183"/>
                    <a:pt x="1062" y="2121"/>
                  </a:cubicBezTo>
                  <a:cubicBezTo>
                    <a:pt x="1874" y="1621"/>
                    <a:pt x="1374" y="560"/>
                    <a:pt x="2186" y="60"/>
                  </a:cubicBezTo>
                  <a:cubicBezTo>
                    <a:pt x="3310" y="-190"/>
                    <a:pt x="3873" y="372"/>
                    <a:pt x="4247" y="1184"/>
                  </a:cubicBezTo>
                  <a:cubicBezTo>
                    <a:pt x="3310" y="3183"/>
                    <a:pt x="1187" y="4682"/>
                    <a:pt x="1187" y="7055"/>
                  </a:cubicBezTo>
                  <a:cubicBezTo>
                    <a:pt x="812" y="7430"/>
                    <a:pt x="437" y="7743"/>
                    <a:pt x="125" y="8117"/>
                  </a:cubicBezTo>
                  <a:cubicBezTo>
                    <a:pt x="0" y="7430"/>
                    <a:pt x="0" y="6743"/>
                    <a:pt x="0" y="6056"/>
                  </a:cubicBezTo>
                  <a:close/>
                </a:path>
              </a:pathLst>
            </a:custGeom>
            <a:grpFill/>
            <a:ln w="6246" cap="flat">
              <a:noFill/>
              <a:prstDash val="solid"/>
              <a:miter/>
            </a:ln>
          </p:spPr>
          <p:txBody>
            <a:bodyPr rtlCol="0" anchor="ctr"/>
            <a:lstStyle/>
            <a:p>
              <a:endParaRPr lang="fr-FR" sz="2400"/>
            </a:p>
          </p:txBody>
        </p:sp>
        <p:sp>
          <p:nvSpPr>
            <p:cNvPr id="237" name="Freeform: Shape 236">
              <a:extLst>
                <a:ext uri="{FF2B5EF4-FFF2-40B4-BE49-F238E27FC236}">
                  <a16:creationId xmlns:a16="http://schemas.microsoft.com/office/drawing/2014/main" id="{329D36A7-511A-42FF-B405-200CBA56157C}"/>
                </a:ext>
              </a:extLst>
            </p:cNvPr>
            <p:cNvSpPr/>
            <p:nvPr/>
          </p:nvSpPr>
          <p:spPr>
            <a:xfrm>
              <a:off x="1406394" y="583694"/>
              <a:ext cx="6246" cy="6246"/>
            </a:xfrm>
            <a:custGeom>
              <a:avLst/>
              <a:gdLst>
                <a:gd name="connsiteX0" fmla="*/ 1999 w 0"/>
                <a:gd name="connsiteY0" fmla="*/ 4809 h 0"/>
                <a:gd name="connsiteX1" fmla="*/ 0 w 0"/>
                <a:gd name="connsiteY1" fmla="*/ 3935 h 0"/>
                <a:gd name="connsiteX2" fmla="*/ 3061 w 0"/>
                <a:gd name="connsiteY2" fmla="*/ 0 h 0"/>
                <a:gd name="connsiteX3" fmla="*/ 3123 w 0"/>
                <a:gd name="connsiteY3" fmla="*/ 999 h 0"/>
                <a:gd name="connsiteX4" fmla="*/ 3248 w 0"/>
                <a:gd name="connsiteY4" fmla="*/ 2998 h 0"/>
                <a:gd name="connsiteX5" fmla="*/ 1999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999" y="4809"/>
                  </a:moveTo>
                  <a:cubicBezTo>
                    <a:pt x="1312" y="4497"/>
                    <a:pt x="624" y="4247"/>
                    <a:pt x="0" y="3935"/>
                  </a:cubicBezTo>
                  <a:cubicBezTo>
                    <a:pt x="937" y="2561"/>
                    <a:pt x="0" y="0"/>
                    <a:pt x="3061" y="0"/>
                  </a:cubicBezTo>
                  <a:cubicBezTo>
                    <a:pt x="3061" y="312"/>
                    <a:pt x="3123" y="687"/>
                    <a:pt x="3123" y="999"/>
                  </a:cubicBezTo>
                  <a:cubicBezTo>
                    <a:pt x="3185" y="1686"/>
                    <a:pt x="3185" y="2311"/>
                    <a:pt x="3248" y="2998"/>
                  </a:cubicBezTo>
                  <a:cubicBezTo>
                    <a:pt x="2811" y="3560"/>
                    <a:pt x="2436" y="4185"/>
                    <a:pt x="1999" y="4809"/>
                  </a:cubicBezTo>
                  <a:close/>
                </a:path>
              </a:pathLst>
            </a:custGeom>
            <a:grpFill/>
            <a:ln w="6246" cap="flat">
              <a:noFill/>
              <a:prstDash val="solid"/>
              <a:miter/>
            </a:ln>
          </p:spPr>
          <p:txBody>
            <a:bodyPr rtlCol="0" anchor="ctr"/>
            <a:lstStyle/>
            <a:p>
              <a:endParaRPr lang="fr-FR" sz="2400"/>
            </a:p>
          </p:txBody>
        </p:sp>
        <p:sp>
          <p:nvSpPr>
            <p:cNvPr id="238" name="Freeform: Shape 237">
              <a:extLst>
                <a:ext uri="{FF2B5EF4-FFF2-40B4-BE49-F238E27FC236}">
                  <a16:creationId xmlns:a16="http://schemas.microsoft.com/office/drawing/2014/main" id="{02252D71-E193-4156-8562-98EAB16447A6}"/>
                </a:ext>
              </a:extLst>
            </p:cNvPr>
            <p:cNvSpPr/>
            <p:nvPr/>
          </p:nvSpPr>
          <p:spPr>
            <a:xfrm>
              <a:off x="1406380" y="562395"/>
              <a:ext cx="6246" cy="18738"/>
            </a:xfrm>
            <a:custGeom>
              <a:avLst/>
              <a:gdLst>
                <a:gd name="connsiteX0" fmla="*/ 8508 w 6246"/>
                <a:gd name="connsiteY0" fmla="*/ 0 h 18738"/>
                <a:gd name="connsiteX1" fmla="*/ 10695 w 6246"/>
                <a:gd name="connsiteY1" fmla="*/ 0 h 18738"/>
                <a:gd name="connsiteX2" fmla="*/ 9570 w 6246"/>
                <a:gd name="connsiteY2" fmla="*/ 8682 h 18738"/>
                <a:gd name="connsiteX3" fmla="*/ 3137 w 6246"/>
                <a:gd name="connsiteY3" fmla="*/ 20300 h 18738"/>
                <a:gd name="connsiteX4" fmla="*/ 14 w 6246"/>
                <a:gd name="connsiteY4" fmla="*/ 16615 h 18738"/>
                <a:gd name="connsiteX5" fmla="*/ 1076 w 6246"/>
                <a:gd name="connsiteY5" fmla="*/ 10993 h 18738"/>
                <a:gd name="connsiteX6" fmla="*/ 2575 w 6246"/>
                <a:gd name="connsiteY6" fmla="*/ 8620 h 18738"/>
                <a:gd name="connsiteX7" fmla="*/ 5510 w 6246"/>
                <a:gd name="connsiteY7" fmla="*/ 5122 h 18738"/>
                <a:gd name="connsiteX8" fmla="*/ 8508 w 6246"/>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8738">
                  <a:moveTo>
                    <a:pt x="8508" y="0"/>
                  </a:moveTo>
                  <a:cubicBezTo>
                    <a:pt x="9258" y="0"/>
                    <a:pt x="9945" y="0"/>
                    <a:pt x="10695" y="0"/>
                  </a:cubicBezTo>
                  <a:cubicBezTo>
                    <a:pt x="10320" y="2873"/>
                    <a:pt x="9945" y="5746"/>
                    <a:pt x="9570" y="8682"/>
                  </a:cubicBezTo>
                  <a:cubicBezTo>
                    <a:pt x="5198" y="11555"/>
                    <a:pt x="4761" y="16177"/>
                    <a:pt x="3137" y="20300"/>
                  </a:cubicBezTo>
                  <a:cubicBezTo>
                    <a:pt x="389" y="20237"/>
                    <a:pt x="638" y="18114"/>
                    <a:pt x="14" y="16615"/>
                  </a:cubicBezTo>
                  <a:cubicBezTo>
                    <a:pt x="-111" y="14678"/>
                    <a:pt x="638" y="12867"/>
                    <a:pt x="1076" y="10993"/>
                  </a:cubicBezTo>
                  <a:cubicBezTo>
                    <a:pt x="1388" y="10119"/>
                    <a:pt x="1950" y="9369"/>
                    <a:pt x="2575" y="8620"/>
                  </a:cubicBezTo>
                  <a:cubicBezTo>
                    <a:pt x="3699" y="7558"/>
                    <a:pt x="5011" y="6621"/>
                    <a:pt x="5510" y="5122"/>
                  </a:cubicBezTo>
                  <a:cubicBezTo>
                    <a:pt x="6135" y="3248"/>
                    <a:pt x="7134" y="1562"/>
                    <a:pt x="8508" y="0"/>
                  </a:cubicBezTo>
                  <a:close/>
                </a:path>
              </a:pathLst>
            </a:custGeom>
            <a:grpFill/>
            <a:ln w="6246" cap="flat">
              <a:noFill/>
              <a:prstDash val="solid"/>
              <a:miter/>
            </a:ln>
          </p:spPr>
          <p:txBody>
            <a:bodyPr rtlCol="0" anchor="ctr"/>
            <a:lstStyle/>
            <a:p>
              <a:endParaRPr lang="fr-FR" sz="2400"/>
            </a:p>
          </p:txBody>
        </p:sp>
        <p:sp>
          <p:nvSpPr>
            <p:cNvPr id="239" name="Freeform: Shape 238">
              <a:extLst>
                <a:ext uri="{FF2B5EF4-FFF2-40B4-BE49-F238E27FC236}">
                  <a16:creationId xmlns:a16="http://schemas.microsoft.com/office/drawing/2014/main" id="{86817FC1-F8CE-4D0A-B234-840DCDA09DF7}"/>
                </a:ext>
              </a:extLst>
            </p:cNvPr>
            <p:cNvSpPr/>
            <p:nvPr/>
          </p:nvSpPr>
          <p:spPr>
            <a:xfrm>
              <a:off x="1402782" y="578822"/>
              <a:ext cx="6246" cy="6246"/>
            </a:xfrm>
            <a:custGeom>
              <a:avLst/>
              <a:gdLst>
                <a:gd name="connsiteX0" fmla="*/ 4611 w 6246"/>
                <a:gd name="connsiteY0" fmla="*/ 0 h 6246"/>
                <a:gd name="connsiteX1" fmla="*/ 6735 w 6246"/>
                <a:gd name="connsiteY1" fmla="*/ 3873 h 6246"/>
                <a:gd name="connsiteX2" fmla="*/ 6672 w 6246"/>
                <a:gd name="connsiteY2" fmla="*/ 4809 h 6246"/>
                <a:gd name="connsiteX3" fmla="*/ 3612 w 6246"/>
                <a:gd name="connsiteY3" fmla="*/ 8745 h 6246"/>
                <a:gd name="connsiteX4" fmla="*/ 2487 w 6246"/>
                <a:gd name="connsiteY4" fmla="*/ 10556 h 6246"/>
                <a:gd name="connsiteX5" fmla="*/ 364 w 6246"/>
                <a:gd name="connsiteY5" fmla="*/ 8682 h 6246"/>
                <a:gd name="connsiteX6" fmla="*/ 4611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4611" y="0"/>
                  </a:moveTo>
                  <a:cubicBezTo>
                    <a:pt x="5298" y="1312"/>
                    <a:pt x="6048" y="2561"/>
                    <a:pt x="6735" y="3873"/>
                  </a:cubicBezTo>
                  <a:cubicBezTo>
                    <a:pt x="6735" y="4185"/>
                    <a:pt x="6735" y="4497"/>
                    <a:pt x="6672" y="4809"/>
                  </a:cubicBezTo>
                  <a:cubicBezTo>
                    <a:pt x="4674" y="5497"/>
                    <a:pt x="5236" y="7808"/>
                    <a:pt x="3612" y="8745"/>
                  </a:cubicBezTo>
                  <a:cubicBezTo>
                    <a:pt x="3549" y="9494"/>
                    <a:pt x="3300" y="10181"/>
                    <a:pt x="2487" y="10556"/>
                  </a:cubicBezTo>
                  <a:cubicBezTo>
                    <a:pt x="2425" y="9369"/>
                    <a:pt x="1675" y="8745"/>
                    <a:pt x="364" y="8682"/>
                  </a:cubicBezTo>
                  <a:cubicBezTo>
                    <a:pt x="-760" y="4809"/>
                    <a:pt x="739" y="1936"/>
                    <a:pt x="4611" y="0"/>
                  </a:cubicBezTo>
                  <a:close/>
                </a:path>
              </a:pathLst>
            </a:custGeom>
            <a:grpFill/>
            <a:ln w="6246" cap="flat">
              <a:noFill/>
              <a:prstDash val="solid"/>
              <a:miter/>
            </a:ln>
          </p:spPr>
          <p:txBody>
            <a:bodyPr rtlCol="0" anchor="ctr"/>
            <a:lstStyle/>
            <a:p>
              <a:endParaRPr lang="fr-FR" sz="2400"/>
            </a:p>
          </p:txBody>
        </p:sp>
        <p:sp>
          <p:nvSpPr>
            <p:cNvPr id="240" name="Freeform: Shape 239">
              <a:extLst>
                <a:ext uri="{FF2B5EF4-FFF2-40B4-BE49-F238E27FC236}">
                  <a16:creationId xmlns:a16="http://schemas.microsoft.com/office/drawing/2014/main" id="{B0711365-692C-4A70-BA9F-C124EFB3446F}"/>
                </a:ext>
              </a:extLst>
            </p:cNvPr>
            <p:cNvSpPr/>
            <p:nvPr/>
          </p:nvSpPr>
          <p:spPr>
            <a:xfrm>
              <a:off x="1160760" y="431731"/>
              <a:ext cx="12492" cy="6246"/>
            </a:xfrm>
            <a:custGeom>
              <a:avLst/>
              <a:gdLst>
                <a:gd name="connsiteX0" fmla="*/ 11220 w 12492"/>
                <a:gd name="connsiteY0" fmla="*/ 58 h 6246"/>
                <a:gd name="connsiteX1" fmla="*/ 12281 w 12492"/>
                <a:gd name="connsiteY1" fmla="*/ 2119 h 6246"/>
                <a:gd name="connsiteX2" fmla="*/ 11532 w 12492"/>
                <a:gd name="connsiteY2" fmla="*/ 4493 h 6246"/>
                <a:gd name="connsiteX3" fmla="*/ 4974 w 12492"/>
                <a:gd name="connsiteY3" fmla="*/ 9552 h 6246"/>
                <a:gd name="connsiteX4" fmla="*/ 164 w 12492"/>
                <a:gd name="connsiteY4" fmla="*/ 10677 h 6246"/>
                <a:gd name="connsiteX5" fmla="*/ 414 w 12492"/>
                <a:gd name="connsiteY5" fmla="*/ 8740 h 6246"/>
                <a:gd name="connsiteX6" fmla="*/ 6972 w 12492"/>
                <a:gd name="connsiteY6" fmla="*/ 3056 h 6246"/>
                <a:gd name="connsiteX7" fmla="*/ 11220 w 12492"/>
                <a:gd name="connsiteY7" fmla="*/ 5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220" y="58"/>
                  </a:moveTo>
                  <a:cubicBezTo>
                    <a:pt x="12157" y="496"/>
                    <a:pt x="12281" y="1308"/>
                    <a:pt x="12281" y="2119"/>
                  </a:cubicBezTo>
                  <a:cubicBezTo>
                    <a:pt x="12844" y="3119"/>
                    <a:pt x="12219" y="3806"/>
                    <a:pt x="11532" y="4493"/>
                  </a:cubicBezTo>
                  <a:cubicBezTo>
                    <a:pt x="9158" y="5992"/>
                    <a:pt x="7285" y="7991"/>
                    <a:pt x="4974" y="9552"/>
                  </a:cubicBezTo>
                  <a:cubicBezTo>
                    <a:pt x="3474" y="10177"/>
                    <a:pt x="2163" y="11676"/>
                    <a:pt x="164" y="10677"/>
                  </a:cubicBezTo>
                  <a:cubicBezTo>
                    <a:pt x="-86" y="9990"/>
                    <a:pt x="-86" y="9302"/>
                    <a:pt x="414" y="8740"/>
                  </a:cubicBezTo>
                  <a:cubicBezTo>
                    <a:pt x="2725" y="6991"/>
                    <a:pt x="5348" y="5492"/>
                    <a:pt x="6972" y="3056"/>
                  </a:cubicBezTo>
                  <a:cubicBezTo>
                    <a:pt x="8097" y="1745"/>
                    <a:pt x="8534" y="-379"/>
                    <a:pt x="11220" y="58"/>
                  </a:cubicBezTo>
                  <a:close/>
                </a:path>
              </a:pathLst>
            </a:custGeom>
            <a:grpFill/>
            <a:ln w="6246" cap="flat">
              <a:noFill/>
              <a:prstDash val="solid"/>
              <a:miter/>
            </a:ln>
          </p:spPr>
          <p:txBody>
            <a:bodyPr rtlCol="0" anchor="ctr"/>
            <a:lstStyle/>
            <a:p>
              <a:endParaRPr lang="fr-FR" sz="2400"/>
            </a:p>
          </p:txBody>
        </p:sp>
        <p:sp>
          <p:nvSpPr>
            <p:cNvPr id="241" name="Freeform: Shape 240">
              <a:extLst>
                <a:ext uri="{FF2B5EF4-FFF2-40B4-BE49-F238E27FC236}">
                  <a16:creationId xmlns:a16="http://schemas.microsoft.com/office/drawing/2014/main" id="{26C2E887-4CF7-4FE4-BB14-F39AE58CBEDC}"/>
                </a:ext>
              </a:extLst>
            </p:cNvPr>
            <p:cNvSpPr/>
            <p:nvPr/>
          </p:nvSpPr>
          <p:spPr>
            <a:xfrm>
              <a:off x="1156739" y="440534"/>
              <a:ext cx="6246" cy="6246"/>
            </a:xfrm>
            <a:custGeom>
              <a:avLst/>
              <a:gdLst>
                <a:gd name="connsiteX0" fmla="*/ 4497 w 0"/>
                <a:gd name="connsiteY0" fmla="*/ 0 h 0"/>
                <a:gd name="connsiteX1" fmla="*/ 4560 w 0"/>
                <a:gd name="connsiteY1" fmla="*/ 1936 h 0"/>
                <a:gd name="connsiteX2" fmla="*/ 562 w 0"/>
                <a:gd name="connsiteY2" fmla="*/ 4060 h 0"/>
                <a:gd name="connsiteX3" fmla="*/ 0 w 0"/>
                <a:gd name="connsiteY3" fmla="*/ 3935 h 0"/>
                <a:gd name="connsiteX4" fmla="*/ 4497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497" y="0"/>
                  </a:moveTo>
                  <a:cubicBezTo>
                    <a:pt x="4497" y="625"/>
                    <a:pt x="4497" y="1312"/>
                    <a:pt x="4560" y="1936"/>
                  </a:cubicBezTo>
                  <a:cubicBezTo>
                    <a:pt x="4497" y="4560"/>
                    <a:pt x="2811" y="4747"/>
                    <a:pt x="562" y="4060"/>
                  </a:cubicBezTo>
                  <a:cubicBezTo>
                    <a:pt x="375" y="4060"/>
                    <a:pt x="187" y="3997"/>
                    <a:pt x="0" y="3935"/>
                  </a:cubicBezTo>
                  <a:cubicBezTo>
                    <a:pt x="1499" y="2623"/>
                    <a:pt x="2998" y="1312"/>
                    <a:pt x="4497" y="0"/>
                  </a:cubicBezTo>
                  <a:close/>
                </a:path>
              </a:pathLst>
            </a:custGeom>
            <a:grpFill/>
            <a:ln w="6246" cap="flat">
              <a:noFill/>
              <a:prstDash val="solid"/>
              <a:miter/>
            </a:ln>
          </p:spPr>
          <p:txBody>
            <a:bodyPr rtlCol="0" anchor="ctr"/>
            <a:lstStyle/>
            <a:p>
              <a:endParaRPr lang="fr-FR" sz="2400"/>
            </a:p>
          </p:txBody>
        </p:sp>
        <p:sp>
          <p:nvSpPr>
            <p:cNvPr id="242" name="Freeform: Shape 241">
              <a:extLst>
                <a:ext uri="{FF2B5EF4-FFF2-40B4-BE49-F238E27FC236}">
                  <a16:creationId xmlns:a16="http://schemas.microsoft.com/office/drawing/2014/main" id="{4C4C8F37-FFC8-411C-820C-16A8AACFDCF4}"/>
                </a:ext>
              </a:extLst>
            </p:cNvPr>
            <p:cNvSpPr/>
            <p:nvPr/>
          </p:nvSpPr>
          <p:spPr>
            <a:xfrm>
              <a:off x="1119389" y="430382"/>
              <a:ext cx="62461" cy="99937"/>
            </a:xfrm>
            <a:custGeom>
              <a:avLst/>
              <a:gdLst>
                <a:gd name="connsiteX0" fmla="*/ 52590 w 62460"/>
                <a:gd name="connsiteY0" fmla="*/ 5342 h 99937"/>
                <a:gd name="connsiteX1" fmla="*/ 53714 w 62460"/>
                <a:gd name="connsiteY1" fmla="*/ 3531 h 99937"/>
                <a:gd name="connsiteX2" fmla="*/ 57712 w 62460"/>
                <a:gd name="connsiteY2" fmla="*/ 1470 h 99937"/>
                <a:gd name="connsiteX3" fmla="*/ 63333 w 62460"/>
                <a:gd name="connsiteY3" fmla="*/ 595 h 99937"/>
                <a:gd name="connsiteX4" fmla="*/ 60335 w 62460"/>
                <a:gd name="connsiteY4" fmla="*/ 5155 h 99937"/>
                <a:gd name="connsiteX5" fmla="*/ 44720 w 62460"/>
                <a:gd name="connsiteY5" fmla="*/ 18709 h 99937"/>
                <a:gd name="connsiteX6" fmla="*/ 43533 w 62460"/>
                <a:gd name="connsiteY6" fmla="*/ 21270 h 99937"/>
                <a:gd name="connsiteX7" fmla="*/ 38661 w 62460"/>
                <a:gd name="connsiteY7" fmla="*/ 27266 h 99937"/>
                <a:gd name="connsiteX8" fmla="*/ 36225 w 62460"/>
                <a:gd name="connsiteY8" fmla="*/ 31888 h 99937"/>
                <a:gd name="connsiteX9" fmla="*/ 29105 w 62460"/>
                <a:gd name="connsiteY9" fmla="*/ 38884 h 99937"/>
                <a:gd name="connsiteX10" fmla="*/ 23421 w 62460"/>
                <a:gd name="connsiteY10" fmla="*/ 46816 h 99937"/>
                <a:gd name="connsiteX11" fmla="*/ 21484 w 62460"/>
                <a:gd name="connsiteY11" fmla="*/ 49190 h 99937"/>
                <a:gd name="connsiteX12" fmla="*/ 20298 w 62460"/>
                <a:gd name="connsiteY12" fmla="*/ 49752 h 99937"/>
                <a:gd name="connsiteX13" fmla="*/ 12990 w 62460"/>
                <a:gd name="connsiteY13" fmla="*/ 62182 h 99937"/>
                <a:gd name="connsiteX14" fmla="*/ 22359 w 62460"/>
                <a:gd name="connsiteY14" fmla="*/ 48065 h 99937"/>
                <a:gd name="connsiteX15" fmla="*/ 28542 w 62460"/>
                <a:gd name="connsiteY15" fmla="*/ 39571 h 99937"/>
                <a:gd name="connsiteX16" fmla="*/ 35288 w 62460"/>
                <a:gd name="connsiteY16" fmla="*/ 33762 h 99937"/>
                <a:gd name="connsiteX17" fmla="*/ 38161 w 62460"/>
                <a:gd name="connsiteY17" fmla="*/ 32325 h 99937"/>
                <a:gd name="connsiteX18" fmla="*/ 38849 w 62460"/>
                <a:gd name="connsiteY18" fmla="*/ 35698 h 99937"/>
                <a:gd name="connsiteX19" fmla="*/ 29292 w 62460"/>
                <a:gd name="connsiteY19" fmla="*/ 51563 h 99937"/>
                <a:gd name="connsiteX20" fmla="*/ 27793 w 62460"/>
                <a:gd name="connsiteY20" fmla="*/ 57435 h 99937"/>
                <a:gd name="connsiteX21" fmla="*/ 28043 w 62460"/>
                <a:gd name="connsiteY21" fmla="*/ 61932 h 99937"/>
                <a:gd name="connsiteX22" fmla="*/ 27793 w 62460"/>
                <a:gd name="connsiteY22" fmla="*/ 67865 h 99937"/>
                <a:gd name="connsiteX23" fmla="*/ 24920 w 62460"/>
                <a:gd name="connsiteY23" fmla="*/ 80420 h 99937"/>
                <a:gd name="connsiteX24" fmla="*/ 18424 w 62460"/>
                <a:gd name="connsiteY24" fmla="*/ 95473 h 99937"/>
                <a:gd name="connsiteX25" fmla="*/ 16488 w 62460"/>
                <a:gd name="connsiteY25" fmla="*/ 96722 h 99937"/>
                <a:gd name="connsiteX26" fmla="*/ 13490 w 62460"/>
                <a:gd name="connsiteY26" fmla="*/ 94349 h 99937"/>
                <a:gd name="connsiteX27" fmla="*/ 16925 w 62460"/>
                <a:gd name="connsiteY27" fmla="*/ 83106 h 99937"/>
                <a:gd name="connsiteX28" fmla="*/ 18986 w 62460"/>
                <a:gd name="connsiteY28" fmla="*/ 75423 h 99937"/>
                <a:gd name="connsiteX29" fmla="*/ 18986 w 62460"/>
                <a:gd name="connsiteY29" fmla="*/ 70989 h 99937"/>
                <a:gd name="connsiteX30" fmla="*/ 20048 w 62460"/>
                <a:gd name="connsiteY30" fmla="*/ 66429 h 99937"/>
                <a:gd name="connsiteX31" fmla="*/ 12365 w 62460"/>
                <a:gd name="connsiteY31" fmla="*/ 81607 h 99937"/>
                <a:gd name="connsiteX32" fmla="*/ 9492 w 62460"/>
                <a:gd name="connsiteY32" fmla="*/ 87041 h 99937"/>
                <a:gd name="connsiteX33" fmla="*/ 7931 w 62460"/>
                <a:gd name="connsiteY33" fmla="*/ 97035 h 99937"/>
                <a:gd name="connsiteX34" fmla="*/ 6307 w 62460"/>
                <a:gd name="connsiteY34" fmla="*/ 104842 h 99937"/>
                <a:gd name="connsiteX35" fmla="*/ 248 w 62460"/>
                <a:gd name="connsiteY35" fmla="*/ 98159 h 99937"/>
                <a:gd name="connsiteX36" fmla="*/ 1310 w 62460"/>
                <a:gd name="connsiteY36" fmla="*/ 90039 h 99937"/>
                <a:gd name="connsiteX37" fmla="*/ 435 w 62460"/>
                <a:gd name="connsiteY37" fmla="*/ 83980 h 99937"/>
                <a:gd name="connsiteX38" fmla="*/ 4808 w 62460"/>
                <a:gd name="connsiteY38" fmla="*/ 67491 h 99937"/>
                <a:gd name="connsiteX39" fmla="*/ 5744 w 62460"/>
                <a:gd name="connsiteY39" fmla="*/ 62931 h 99937"/>
                <a:gd name="connsiteX40" fmla="*/ 9804 w 62460"/>
                <a:gd name="connsiteY40" fmla="*/ 54999 h 99937"/>
                <a:gd name="connsiteX41" fmla="*/ 11178 w 62460"/>
                <a:gd name="connsiteY41" fmla="*/ 52750 h 99937"/>
                <a:gd name="connsiteX42" fmla="*/ 13240 w 62460"/>
                <a:gd name="connsiteY42" fmla="*/ 49440 h 99937"/>
                <a:gd name="connsiteX43" fmla="*/ 16050 w 62460"/>
                <a:gd name="connsiteY43" fmla="*/ 45754 h 99937"/>
                <a:gd name="connsiteX44" fmla="*/ 21672 w 62460"/>
                <a:gd name="connsiteY44" fmla="*/ 38946 h 99937"/>
                <a:gd name="connsiteX45" fmla="*/ 36850 w 62460"/>
                <a:gd name="connsiteY45" fmla="*/ 20583 h 99937"/>
                <a:gd name="connsiteX46" fmla="*/ 38849 w 62460"/>
                <a:gd name="connsiteY46" fmla="*/ 16835 h 99937"/>
                <a:gd name="connsiteX47" fmla="*/ 45657 w 62460"/>
                <a:gd name="connsiteY47" fmla="*/ 11026 h 99937"/>
                <a:gd name="connsiteX48" fmla="*/ 52590 w 62460"/>
                <a:gd name="connsiteY48" fmla="*/ 5342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460" h="99937">
                  <a:moveTo>
                    <a:pt x="52590" y="5342"/>
                  </a:moveTo>
                  <a:cubicBezTo>
                    <a:pt x="52965" y="4718"/>
                    <a:pt x="53339" y="4156"/>
                    <a:pt x="53714" y="3531"/>
                  </a:cubicBezTo>
                  <a:cubicBezTo>
                    <a:pt x="55588" y="3718"/>
                    <a:pt x="56150" y="1782"/>
                    <a:pt x="57712" y="1470"/>
                  </a:cubicBezTo>
                  <a:cubicBezTo>
                    <a:pt x="59835" y="2344"/>
                    <a:pt x="61022" y="-1403"/>
                    <a:pt x="63333" y="595"/>
                  </a:cubicBezTo>
                  <a:cubicBezTo>
                    <a:pt x="64020" y="3031"/>
                    <a:pt x="61959" y="4031"/>
                    <a:pt x="60335" y="5155"/>
                  </a:cubicBezTo>
                  <a:cubicBezTo>
                    <a:pt x="54526" y="9152"/>
                    <a:pt x="49717" y="14024"/>
                    <a:pt x="44720" y="18709"/>
                  </a:cubicBezTo>
                  <a:cubicBezTo>
                    <a:pt x="43908" y="19458"/>
                    <a:pt x="43596" y="20270"/>
                    <a:pt x="43533" y="21270"/>
                  </a:cubicBezTo>
                  <a:cubicBezTo>
                    <a:pt x="42908" y="23956"/>
                    <a:pt x="40285" y="25267"/>
                    <a:pt x="38661" y="27266"/>
                  </a:cubicBezTo>
                  <a:cubicBezTo>
                    <a:pt x="37474" y="28640"/>
                    <a:pt x="36475" y="30077"/>
                    <a:pt x="36225" y="31888"/>
                  </a:cubicBezTo>
                  <a:cubicBezTo>
                    <a:pt x="35038" y="35199"/>
                    <a:pt x="31291" y="36385"/>
                    <a:pt x="29105" y="38884"/>
                  </a:cubicBezTo>
                  <a:cubicBezTo>
                    <a:pt x="26419" y="41070"/>
                    <a:pt x="25295" y="44193"/>
                    <a:pt x="23421" y="46816"/>
                  </a:cubicBezTo>
                  <a:cubicBezTo>
                    <a:pt x="22484" y="47441"/>
                    <a:pt x="22172" y="48440"/>
                    <a:pt x="21484" y="49190"/>
                  </a:cubicBezTo>
                  <a:cubicBezTo>
                    <a:pt x="21110" y="49377"/>
                    <a:pt x="20672" y="49564"/>
                    <a:pt x="20298" y="49752"/>
                  </a:cubicBezTo>
                  <a:cubicBezTo>
                    <a:pt x="16675" y="53749"/>
                    <a:pt x="14989" y="58621"/>
                    <a:pt x="12990" y="62182"/>
                  </a:cubicBezTo>
                  <a:cubicBezTo>
                    <a:pt x="13739" y="56997"/>
                    <a:pt x="19798" y="53437"/>
                    <a:pt x="22359" y="48065"/>
                  </a:cubicBezTo>
                  <a:cubicBezTo>
                    <a:pt x="24982" y="45567"/>
                    <a:pt x="25794" y="41944"/>
                    <a:pt x="28542" y="39571"/>
                  </a:cubicBezTo>
                  <a:cubicBezTo>
                    <a:pt x="30604" y="37510"/>
                    <a:pt x="33477" y="36135"/>
                    <a:pt x="35288" y="33762"/>
                  </a:cubicBezTo>
                  <a:cubicBezTo>
                    <a:pt x="35975" y="32888"/>
                    <a:pt x="36725" y="31701"/>
                    <a:pt x="38161" y="32325"/>
                  </a:cubicBezTo>
                  <a:cubicBezTo>
                    <a:pt x="39848" y="33075"/>
                    <a:pt x="39036" y="34449"/>
                    <a:pt x="38849" y="35698"/>
                  </a:cubicBezTo>
                  <a:cubicBezTo>
                    <a:pt x="36100" y="41195"/>
                    <a:pt x="31853" y="45942"/>
                    <a:pt x="29292" y="51563"/>
                  </a:cubicBezTo>
                  <a:cubicBezTo>
                    <a:pt x="28418" y="53437"/>
                    <a:pt x="27043" y="55186"/>
                    <a:pt x="27793" y="57435"/>
                  </a:cubicBezTo>
                  <a:cubicBezTo>
                    <a:pt x="28043" y="58934"/>
                    <a:pt x="27606" y="60433"/>
                    <a:pt x="28043" y="61932"/>
                  </a:cubicBezTo>
                  <a:cubicBezTo>
                    <a:pt x="28418" y="63930"/>
                    <a:pt x="27731" y="65867"/>
                    <a:pt x="27793" y="67865"/>
                  </a:cubicBezTo>
                  <a:cubicBezTo>
                    <a:pt x="27168" y="72113"/>
                    <a:pt x="24670" y="75985"/>
                    <a:pt x="24920" y="80420"/>
                  </a:cubicBezTo>
                  <a:cubicBezTo>
                    <a:pt x="23796" y="85792"/>
                    <a:pt x="19423" y="90039"/>
                    <a:pt x="18424" y="95473"/>
                  </a:cubicBezTo>
                  <a:cubicBezTo>
                    <a:pt x="17987" y="96160"/>
                    <a:pt x="17424" y="96597"/>
                    <a:pt x="16488" y="96722"/>
                  </a:cubicBezTo>
                  <a:cubicBezTo>
                    <a:pt x="15113" y="96348"/>
                    <a:pt x="14177" y="95473"/>
                    <a:pt x="13490" y="94349"/>
                  </a:cubicBezTo>
                  <a:cubicBezTo>
                    <a:pt x="12927" y="90164"/>
                    <a:pt x="17175" y="87228"/>
                    <a:pt x="16925" y="83106"/>
                  </a:cubicBezTo>
                  <a:cubicBezTo>
                    <a:pt x="17175" y="80483"/>
                    <a:pt x="17924" y="77922"/>
                    <a:pt x="18986" y="75423"/>
                  </a:cubicBezTo>
                  <a:cubicBezTo>
                    <a:pt x="19611" y="73924"/>
                    <a:pt x="20110" y="72488"/>
                    <a:pt x="18986" y="70989"/>
                  </a:cubicBezTo>
                  <a:cubicBezTo>
                    <a:pt x="18486" y="69302"/>
                    <a:pt x="19361" y="67928"/>
                    <a:pt x="20048" y="66429"/>
                  </a:cubicBezTo>
                  <a:cubicBezTo>
                    <a:pt x="14676" y="70301"/>
                    <a:pt x="14926" y="76548"/>
                    <a:pt x="12365" y="81607"/>
                  </a:cubicBezTo>
                  <a:cubicBezTo>
                    <a:pt x="11428" y="83418"/>
                    <a:pt x="11678" y="85792"/>
                    <a:pt x="9492" y="87041"/>
                  </a:cubicBezTo>
                  <a:cubicBezTo>
                    <a:pt x="6494" y="90039"/>
                    <a:pt x="6994" y="93474"/>
                    <a:pt x="7931" y="97035"/>
                  </a:cubicBezTo>
                  <a:cubicBezTo>
                    <a:pt x="8430" y="99845"/>
                    <a:pt x="8118" y="102469"/>
                    <a:pt x="6307" y="104842"/>
                  </a:cubicBezTo>
                  <a:cubicBezTo>
                    <a:pt x="2871" y="103655"/>
                    <a:pt x="60" y="101969"/>
                    <a:pt x="248" y="98159"/>
                  </a:cubicBezTo>
                  <a:cubicBezTo>
                    <a:pt x="373" y="95411"/>
                    <a:pt x="810" y="92725"/>
                    <a:pt x="1310" y="90039"/>
                  </a:cubicBezTo>
                  <a:cubicBezTo>
                    <a:pt x="1684" y="87915"/>
                    <a:pt x="1497" y="85917"/>
                    <a:pt x="435" y="83980"/>
                  </a:cubicBezTo>
                  <a:cubicBezTo>
                    <a:pt x="-1376" y="77797"/>
                    <a:pt x="2934" y="72925"/>
                    <a:pt x="4808" y="67491"/>
                  </a:cubicBezTo>
                  <a:cubicBezTo>
                    <a:pt x="5307" y="65992"/>
                    <a:pt x="6244" y="64555"/>
                    <a:pt x="5744" y="62931"/>
                  </a:cubicBezTo>
                  <a:cubicBezTo>
                    <a:pt x="6057" y="59871"/>
                    <a:pt x="8180" y="57560"/>
                    <a:pt x="9804" y="54999"/>
                  </a:cubicBezTo>
                  <a:cubicBezTo>
                    <a:pt x="10242" y="54249"/>
                    <a:pt x="10741" y="53500"/>
                    <a:pt x="11178" y="52750"/>
                  </a:cubicBezTo>
                  <a:cubicBezTo>
                    <a:pt x="11866" y="51626"/>
                    <a:pt x="12553" y="50564"/>
                    <a:pt x="13240" y="49440"/>
                  </a:cubicBezTo>
                  <a:cubicBezTo>
                    <a:pt x="14052" y="48128"/>
                    <a:pt x="14614" y="46629"/>
                    <a:pt x="16050" y="45754"/>
                  </a:cubicBezTo>
                  <a:cubicBezTo>
                    <a:pt x="19111" y="44255"/>
                    <a:pt x="20048" y="41320"/>
                    <a:pt x="21672" y="38946"/>
                  </a:cubicBezTo>
                  <a:cubicBezTo>
                    <a:pt x="26044" y="32325"/>
                    <a:pt x="31291" y="26329"/>
                    <a:pt x="36850" y="20583"/>
                  </a:cubicBezTo>
                  <a:cubicBezTo>
                    <a:pt x="37912" y="19458"/>
                    <a:pt x="38911" y="18397"/>
                    <a:pt x="38849" y="16835"/>
                  </a:cubicBezTo>
                  <a:cubicBezTo>
                    <a:pt x="40035" y="13837"/>
                    <a:pt x="43408" y="12963"/>
                    <a:pt x="45657" y="11026"/>
                  </a:cubicBezTo>
                  <a:cubicBezTo>
                    <a:pt x="47656" y="8590"/>
                    <a:pt x="51278" y="8153"/>
                    <a:pt x="52590" y="5342"/>
                  </a:cubicBezTo>
                  <a:close/>
                </a:path>
              </a:pathLst>
            </a:custGeom>
            <a:grpFill/>
            <a:ln w="6246" cap="flat">
              <a:noFill/>
              <a:prstDash val="solid"/>
              <a:miter/>
            </a:ln>
          </p:spPr>
          <p:txBody>
            <a:bodyPr rtlCol="0" anchor="ctr"/>
            <a:lstStyle/>
            <a:p>
              <a:endParaRPr lang="fr-FR" sz="2400"/>
            </a:p>
          </p:txBody>
        </p:sp>
        <p:sp>
          <p:nvSpPr>
            <p:cNvPr id="243" name="Freeform: Shape 242">
              <a:extLst>
                <a:ext uri="{FF2B5EF4-FFF2-40B4-BE49-F238E27FC236}">
                  <a16:creationId xmlns:a16="http://schemas.microsoft.com/office/drawing/2014/main" id="{F06B525B-5408-4967-B3C2-33B41F1C6AE4}"/>
                </a:ext>
              </a:extLst>
            </p:cNvPr>
            <p:cNvSpPr/>
            <p:nvPr/>
          </p:nvSpPr>
          <p:spPr>
            <a:xfrm>
              <a:off x="1194653" y="405806"/>
              <a:ext cx="31230" cy="12492"/>
            </a:xfrm>
            <a:custGeom>
              <a:avLst/>
              <a:gdLst>
                <a:gd name="connsiteX0" fmla="*/ 36415 w 31230"/>
                <a:gd name="connsiteY0" fmla="*/ 187 h 12492"/>
                <a:gd name="connsiteX1" fmla="*/ 0 w 31230"/>
                <a:gd name="connsiteY1" fmla="*/ 14678 h 12492"/>
                <a:gd name="connsiteX2" fmla="*/ 6371 w 31230"/>
                <a:gd name="connsiteY2" fmla="*/ 9806 h 12492"/>
                <a:gd name="connsiteX3" fmla="*/ 13741 w 31230"/>
                <a:gd name="connsiteY3" fmla="*/ 5996 h 12492"/>
                <a:gd name="connsiteX4" fmla="*/ 30793 w 31230"/>
                <a:gd name="connsiteY4" fmla="*/ 0 h 12492"/>
                <a:gd name="connsiteX5" fmla="*/ 36415 w 31230"/>
                <a:gd name="connsiteY5" fmla="*/ 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36415" y="187"/>
                  </a:moveTo>
                  <a:cubicBezTo>
                    <a:pt x="23548" y="3498"/>
                    <a:pt x="12117" y="9806"/>
                    <a:pt x="0" y="14678"/>
                  </a:cubicBezTo>
                  <a:cubicBezTo>
                    <a:pt x="937" y="11805"/>
                    <a:pt x="4997" y="12242"/>
                    <a:pt x="6371" y="9806"/>
                  </a:cubicBezTo>
                  <a:cubicBezTo>
                    <a:pt x="9182" y="9057"/>
                    <a:pt x="12242" y="8745"/>
                    <a:pt x="13741" y="5996"/>
                  </a:cubicBezTo>
                  <a:cubicBezTo>
                    <a:pt x="19425" y="3997"/>
                    <a:pt x="25109" y="1999"/>
                    <a:pt x="30793" y="0"/>
                  </a:cubicBezTo>
                  <a:cubicBezTo>
                    <a:pt x="32667" y="0"/>
                    <a:pt x="34541" y="62"/>
                    <a:pt x="36415" y="187"/>
                  </a:cubicBezTo>
                  <a:close/>
                </a:path>
              </a:pathLst>
            </a:custGeom>
            <a:grpFill/>
            <a:ln w="6246" cap="flat">
              <a:noFill/>
              <a:prstDash val="solid"/>
              <a:miter/>
            </a:ln>
          </p:spPr>
          <p:txBody>
            <a:bodyPr rtlCol="0" anchor="ctr"/>
            <a:lstStyle/>
            <a:p>
              <a:endParaRPr lang="fr-FR" sz="2400"/>
            </a:p>
          </p:txBody>
        </p:sp>
        <p:sp>
          <p:nvSpPr>
            <p:cNvPr id="244" name="Freeform: Shape 243">
              <a:extLst>
                <a:ext uri="{FF2B5EF4-FFF2-40B4-BE49-F238E27FC236}">
                  <a16:creationId xmlns:a16="http://schemas.microsoft.com/office/drawing/2014/main" id="{1C1F7394-A2D7-49F6-AD15-7E49509B2B6C}"/>
                </a:ext>
              </a:extLst>
            </p:cNvPr>
            <p:cNvSpPr/>
            <p:nvPr/>
          </p:nvSpPr>
          <p:spPr>
            <a:xfrm>
              <a:off x="1114266" y="469382"/>
              <a:ext cx="6246" cy="18738"/>
            </a:xfrm>
            <a:custGeom>
              <a:avLst/>
              <a:gdLst>
                <a:gd name="connsiteX0" fmla="*/ 3248 w 6246"/>
                <a:gd name="connsiteY0" fmla="*/ 9815 h 18738"/>
                <a:gd name="connsiteX1" fmla="*/ 4185 w 6246"/>
                <a:gd name="connsiteY1" fmla="*/ 7878 h 18738"/>
                <a:gd name="connsiteX2" fmla="*/ 3123 w 6246"/>
                <a:gd name="connsiteY2" fmla="*/ 5005 h 18738"/>
                <a:gd name="connsiteX3" fmla="*/ 7370 w 6246"/>
                <a:gd name="connsiteY3" fmla="*/ 258 h 18738"/>
                <a:gd name="connsiteX4" fmla="*/ 8495 w 6246"/>
                <a:gd name="connsiteY4" fmla="*/ 258 h 18738"/>
                <a:gd name="connsiteX5" fmla="*/ 7370 w 6246"/>
                <a:gd name="connsiteY5" fmla="*/ 7941 h 18738"/>
                <a:gd name="connsiteX6" fmla="*/ 7995 w 6246"/>
                <a:gd name="connsiteY6" fmla="*/ 12813 h 18738"/>
                <a:gd name="connsiteX7" fmla="*/ 5122 w 6246"/>
                <a:gd name="connsiteY7" fmla="*/ 18434 h 18738"/>
                <a:gd name="connsiteX8" fmla="*/ 2436 w 6246"/>
                <a:gd name="connsiteY8" fmla="*/ 20808 h 18738"/>
                <a:gd name="connsiteX9" fmla="*/ 0 w 6246"/>
                <a:gd name="connsiteY9" fmla="*/ 19559 h 18738"/>
                <a:gd name="connsiteX10" fmla="*/ 1062 w 6246"/>
                <a:gd name="connsiteY10" fmla="*/ 15686 h 18738"/>
                <a:gd name="connsiteX11" fmla="*/ 3248 w 6246"/>
                <a:gd name="connsiteY11" fmla="*/ 9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18738">
                  <a:moveTo>
                    <a:pt x="3248" y="9815"/>
                  </a:moveTo>
                  <a:cubicBezTo>
                    <a:pt x="4060" y="9377"/>
                    <a:pt x="4185" y="8628"/>
                    <a:pt x="4185" y="7878"/>
                  </a:cubicBezTo>
                  <a:cubicBezTo>
                    <a:pt x="3186" y="7129"/>
                    <a:pt x="3123" y="6067"/>
                    <a:pt x="3123" y="5005"/>
                  </a:cubicBezTo>
                  <a:cubicBezTo>
                    <a:pt x="4934" y="3694"/>
                    <a:pt x="4560" y="758"/>
                    <a:pt x="7370" y="258"/>
                  </a:cubicBezTo>
                  <a:cubicBezTo>
                    <a:pt x="7745" y="-117"/>
                    <a:pt x="8120" y="-54"/>
                    <a:pt x="8495" y="258"/>
                  </a:cubicBezTo>
                  <a:cubicBezTo>
                    <a:pt x="7870" y="2819"/>
                    <a:pt x="4997" y="5068"/>
                    <a:pt x="7370" y="7941"/>
                  </a:cubicBezTo>
                  <a:cubicBezTo>
                    <a:pt x="9182" y="9440"/>
                    <a:pt x="8807" y="11126"/>
                    <a:pt x="7995" y="12813"/>
                  </a:cubicBezTo>
                  <a:cubicBezTo>
                    <a:pt x="6496" y="14437"/>
                    <a:pt x="5684" y="16373"/>
                    <a:pt x="5122" y="18434"/>
                  </a:cubicBezTo>
                  <a:cubicBezTo>
                    <a:pt x="4560" y="19496"/>
                    <a:pt x="3685" y="20371"/>
                    <a:pt x="2436" y="20808"/>
                  </a:cubicBezTo>
                  <a:cubicBezTo>
                    <a:pt x="1187" y="21120"/>
                    <a:pt x="562" y="20371"/>
                    <a:pt x="0" y="19559"/>
                  </a:cubicBezTo>
                  <a:cubicBezTo>
                    <a:pt x="375" y="18247"/>
                    <a:pt x="687" y="16998"/>
                    <a:pt x="1062" y="15686"/>
                  </a:cubicBezTo>
                  <a:cubicBezTo>
                    <a:pt x="2623" y="14000"/>
                    <a:pt x="3061" y="11938"/>
                    <a:pt x="3248" y="9815"/>
                  </a:cubicBezTo>
                  <a:close/>
                </a:path>
              </a:pathLst>
            </a:custGeom>
            <a:grpFill/>
            <a:ln w="6246" cap="flat">
              <a:noFill/>
              <a:prstDash val="solid"/>
              <a:miter/>
            </a:ln>
          </p:spPr>
          <p:txBody>
            <a:bodyPr rtlCol="0" anchor="ctr"/>
            <a:lstStyle/>
            <a:p>
              <a:endParaRPr lang="fr-FR" sz="2400"/>
            </a:p>
          </p:txBody>
        </p:sp>
        <p:sp>
          <p:nvSpPr>
            <p:cNvPr id="245" name="Freeform: Shape 244">
              <a:extLst>
                <a:ext uri="{FF2B5EF4-FFF2-40B4-BE49-F238E27FC236}">
                  <a16:creationId xmlns:a16="http://schemas.microsoft.com/office/drawing/2014/main" id="{882121CD-6049-4C35-9A66-9EC05D83AB68}"/>
                </a:ext>
              </a:extLst>
            </p:cNvPr>
            <p:cNvSpPr/>
            <p:nvPr/>
          </p:nvSpPr>
          <p:spPr>
            <a:xfrm>
              <a:off x="1119729" y="475387"/>
              <a:ext cx="6246" cy="6246"/>
            </a:xfrm>
            <a:custGeom>
              <a:avLst/>
              <a:gdLst>
                <a:gd name="connsiteX0" fmla="*/ 908 w 0"/>
                <a:gd name="connsiteY0" fmla="*/ 6808 h 6246"/>
                <a:gd name="connsiteX1" fmla="*/ 1907 w 0"/>
                <a:gd name="connsiteY1" fmla="*/ 1936 h 6246"/>
                <a:gd name="connsiteX2" fmla="*/ 3031 w 0"/>
                <a:gd name="connsiteY2" fmla="*/ 0 h 6246"/>
                <a:gd name="connsiteX3" fmla="*/ 4967 w 0"/>
                <a:gd name="connsiteY3" fmla="*/ 1936 h 6246"/>
                <a:gd name="connsiteX4" fmla="*/ 5779 w 0"/>
                <a:gd name="connsiteY4" fmla="*/ 4560 h 6246"/>
                <a:gd name="connsiteX5" fmla="*/ 1657 w 0"/>
                <a:gd name="connsiteY5" fmla="*/ 11930 h 6246"/>
                <a:gd name="connsiteX6" fmla="*/ 283 w 0"/>
                <a:gd name="connsiteY6" fmla="*/ 11180 h 6246"/>
                <a:gd name="connsiteX7" fmla="*/ 908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908" y="6808"/>
                  </a:moveTo>
                  <a:cubicBezTo>
                    <a:pt x="2594" y="5434"/>
                    <a:pt x="1720" y="3623"/>
                    <a:pt x="1907" y="1936"/>
                  </a:cubicBezTo>
                  <a:cubicBezTo>
                    <a:pt x="1969" y="1187"/>
                    <a:pt x="2157" y="437"/>
                    <a:pt x="3031" y="0"/>
                  </a:cubicBezTo>
                  <a:cubicBezTo>
                    <a:pt x="3968" y="375"/>
                    <a:pt x="4530" y="1124"/>
                    <a:pt x="4967" y="1936"/>
                  </a:cubicBezTo>
                  <a:cubicBezTo>
                    <a:pt x="5405" y="2748"/>
                    <a:pt x="5717" y="3623"/>
                    <a:pt x="5779" y="4560"/>
                  </a:cubicBezTo>
                  <a:cubicBezTo>
                    <a:pt x="5405" y="7495"/>
                    <a:pt x="5280" y="10493"/>
                    <a:pt x="1657" y="11930"/>
                  </a:cubicBezTo>
                  <a:cubicBezTo>
                    <a:pt x="1032" y="11930"/>
                    <a:pt x="595" y="11680"/>
                    <a:pt x="283" y="11180"/>
                  </a:cubicBezTo>
                  <a:cubicBezTo>
                    <a:pt x="-342" y="9681"/>
                    <a:pt x="158" y="8245"/>
                    <a:pt x="908" y="6808"/>
                  </a:cubicBezTo>
                  <a:close/>
                </a:path>
              </a:pathLst>
            </a:custGeom>
            <a:grpFill/>
            <a:ln w="6246" cap="flat">
              <a:noFill/>
              <a:prstDash val="solid"/>
              <a:miter/>
            </a:ln>
          </p:spPr>
          <p:txBody>
            <a:bodyPr rtlCol="0" anchor="ctr"/>
            <a:lstStyle/>
            <a:p>
              <a:endParaRPr lang="fr-FR" sz="2400"/>
            </a:p>
          </p:txBody>
        </p:sp>
        <p:sp>
          <p:nvSpPr>
            <p:cNvPr id="246" name="Freeform: Shape 245">
              <a:extLst>
                <a:ext uri="{FF2B5EF4-FFF2-40B4-BE49-F238E27FC236}">
                  <a16:creationId xmlns:a16="http://schemas.microsoft.com/office/drawing/2014/main" id="{773A9890-A2EE-4568-8BD4-C666E06A48E3}"/>
                </a:ext>
              </a:extLst>
            </p:cNvPr>
            <p:cNvSpPr/>
            <p:nvPr/>
          </p:nvSpPr>
          <p:spPr>
            <a:xfrm>
              <a:off x="1124865" y="467605"/>
              <a:ext cx="6246" cy="6246"/>
            </a:xfrm>
            <a:custGeom>
              <a:avLst/>
              <a:gdLst>
                <a:gd name="connsiteX0" fmla="*/ 82 w 0"/>
                <a:gd name="connsiteY0" fmla="*/ 5846 h 6246"/>
                <a:gd name="connsiteX1" fmla="*/ 2268 w 0"/>
                <a:gd name="connsiteY1" fmla="*/ 37 h 6246"/>
                <a:gd name="connsiteX2" fmla="*/ 4204 w 0"/>
                <a:gd name="connsiteY2" fmla="*/ 1786 h 6246"/>
                <a:gd name="connsiteX3" fmla="*/ 2705 w 0"/>
                <a:gd name="connsiteY3" fmla="*/ 6658 h 6246"/>
                <a:gd name="connsiteX4" fmla="*/ 1268 w 0"/>
                <a:gd name="connsiteY4" fmla="*/ 7220 h 6246"/>
                <a:gd name="connsiteX5" fmla="*/ 82 w 0"/>
                <a:gd name="connsiteY5" fmla="*/ 58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82" y="5846"/>
                  </a:moveTo>
                  <a:cubicBezTo>
                    <a:pt x="-106" y="3660"/>
                    <a:pt x="1268" y="1911"/>
                    <a:pt x="2268" y="37"/>
                  </a:cubicBezTo>
                  <a:cubicBezTo>
                    <a:pt x="3829" y="-213"/>
                    <a:pt x="3954" y="849"/>
                    <a:pt x="4204" y="1786"/>
                  </a:cubicBezTo>
                  <a:cubicBezTo>
                    <a:pt x="4079" y="3535"/>
                    <a:pt x="3767" y="5159"/>
                    <a:pt x="2705" y="6658"/>
                  </a:cubicBezTo>
                  <a:cubicBezTo>
                    <a:pt x="2330" y="7033"/>
                    <a:pt x="1830" y="7220"/>
                    <a:pt x="1268" y="7220"/>
                  </a:cubicBezTo>
                  <a:cubicBezTo>
                    <a:pt x="394" y="7158"/>
                    <a:pt x="-231" y="6845"/>
                    <a:pt x="82" y="5846"/>
                  </a:cubicBezTo>
                  <a:close/>
                </a:path>
              </a:pathLst>
            </a:custGeom>
            <a:grpFill/>
            <a:ln w="6246" cap="flat">
              <a:noFill/>
              <a:prstDash val="solid"/>
              <a:miter/>
            </a:ln>
          </p:spPr>
          <p:txBody>
            <a:bodyPr rtlCol="0" anchor="ctr"/>
            <a:lstStyle/>
            <a:p>
              <a:endParaRPr lang="fr-FR" sz="2400"/>
            </a:p>
          </p:txBody>
        </p:sp>
        <p:sp>
          <p:nvSpPr>
            <p:cNvPr id="247" name="Freeform: Shape 246">
              <a:extLst>
                <a:ext uri="{FF2B5EF4-FFF2-40B4-BE49-F238E27FC236}">
                  <a16:creationId xmlns:a16="http://schemas.microsoft.com/office/drawing/2014/main" id="{1877CC92-99F6-4A0B-9E45-764AC36A41B2}"/>
                </a:ext>
              </a:extLst>
            </p:cNvPr>
            <p:cNvSpPr/>
            <p:nvPr/>
          </p:nvSpPr>
          <p:spPr>
            <a:xfrm>
              <a:off x="1132245" y="462770"/>
              <a:ext cx="6246" cy="6246"/>
            </a:xfrm>
            <a:custGeom>
              <a:avLst/>
              <a:gdLst>
                <a:gd name="connsiteX0" fmla="*/ 1196 w 0"/>
                <a:gd name="connsiteY0" fmla="*/ 0 h 0"/>
                <a:gd name="connsiteX1" fmla="*/ 4382 w 0"/>
                <a:gd name="connsiteY1" fmla="*/ 125 h 0"/>
                <a:gd name="connsiteX2" fmla="*/ 4257 w 0"/>
                <a:gd name="connsiteY2" fmla="*/ 3186 h 0"/>
                <a:gd name="connsiteX3" fmla="*/ 2008 w 0"/>
                <a:gd name="connsiteY3" fmla="*/ 4497 h 0"/>
                <a:gd name="connsiteX4" fmla="*/ 759 w 0"/>
                <a:gd name="connsiteY4" fmla="*/ 3998 h 0"/>
                <a:gd name="connsiteX5" fmla="*/ 9 w 0"/>
                <a:gd name="connsiteY5" fmla="*/ 1686 h 0"/>
                <a:gd name="connsiteX6" fmla="*/ 72 w 0"/>
                <a:gd name="connsiteY6" fmla="*/ 1062 h 0"/>
                <a:gd name="connsiteX7" fmla="*/ 1196 w 0"/>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196" y="0"/>
                  </a:moveTo>
                  <a:cubicBezTo>
                    <a:pt x="2258" y="62"/>
                    <a:pt x="3320" y="62"/>
                    <a:pt x="4382" y="125"/>
                  </a:cubicBezTo>
                  <a:cubicBezTo>
                    <a:pt x="5194" y="1187"/>
                    <a:pt x="4694" y="2186"/>
                    <a:pt x="4257" y="3186"/>
                  </a:cubicBezTo>
                  <a:cubicBezTo>
                    <a:pt x="3757" y="3998"/>
                    <a:pt x="3070" y="4497"/>
                    <a:pt x="2008" y="4497"/>
                  </a:cubicBezTo>
                  <a:cubicBezTo>
                    <a:pt x="1571" y="4435"/>
                    <a:pt x="1134" y="4247"/>
                    <a:pt x="759" y="3998"/>
                  </a:cubicBezTo>
                  <a:cubicBezTo>
                    <a:pt x="197" y="3310"/>
                    <a:pt x="-53" y="2561"/>
                    <a:pt x="9" y="1686"/>
                  </a:cubicBezTo>
                  <a:cubicBezTo>
                    <a:pt x="9" y="1499"/>
                    <a:pt x="72" y="1312"/>
                    <a:pt x="72" y="1062"/>
                  </a:cubicBezTo>
                  <a:cubicBezTo>
                    <a:pt x="509" y="687"/>
                    <a:pt x="884" y="375"/>
                    <a:pt x="1196" y="0"/>
                  </a:cubicBezTo>
                  <a:close/>
                </a:path>
              </a:pathLst>
            </a:custGeom>
            <a:grpFill/>
            <a:ln w="6246" cap="flat">
              <a:noFill/>
              <a:prstDash val="solid"/>
              <a:miter/>
            </a:ln>
          </p:spPr>
          <p:txBody>
            <a:bodyPr rtlCol="0" anchor="ctr"/>
            <a:lstStyle/>
            <a:p>
              <a:endParaRPr lang="fr-FR" sz="2400"/>
            </a:p>
          </p:txBody>
        </p:sp>
        <p:sp>
          <p:nvSpPr>
            <p:cNvPr id="248" name="Freeform: Shape 247">
              <a:extLst>
                <a:ext uri="{FF2B5EF4-FFF2-40B4-BE49-F238E27FC236}">
                  <a16:creationId xmlns:a16="http://schemas.microsoft.com/office/drawing/2014/main" id="{973E0039-9833-495F-B5EC-B9E9536ED70B}"/>
                </a:ext>
              </a:extLst>
            </p:cNvPr>
            <p:cNvSpPr/>
            <p:nvPr/>
          </p:nvSpPr>
          <p:spPr>
            <a:xfrm>
              <a:off x="1128680" y="464427"/>
              <a:ext cx="6246" cy="6246"/>
            </a:xfrm>
            <a:custGeom>
              <a:avLst/>
              <a:gdLst>
                <a:gd name="connsiteX0" fmla="*/ 1576 w 0"/>
                <a:gd name="connsiteY0" fmla="*/ 1278 h 0"/>
                <a:gd name="connsiteX1" fmla="*/ 1576 w 0"/>
                <a:gd name="connsiteY1" fmla="*/ 279 h 0"/>
                <a:gd name="connsiteX2" fmla="*/ 2887 w 0"/>
                <a:gd name="connsiteY2" fmla="*/ 154 h 0"/>
                <a:gd name="connsiteX3" fmla="*/ 4699 w 0"/>
                <a:gd name="connsiteY3" fmla="*/ 2278 h 0"/>
                <a:gd name="connsiteX4" fmla="*/ 4886 w 0"/>
                <a:gd name="connsiteY4" fmla="*/ 2278 h 0"/>
                <a:gd name="connsiteX5" fmla="*/ 5011 w 0"/>
                <a:gd name="connsiteY5" fmla="*/ 3527 h 0"/>
                <a:gd name="connsiteX6" fmla="*/ 1388 w 0"/>
                <a:gd name="connsiteY6" fmla="*/ 5713 h 0"/>
                <a:gd name="connsiteX7" fmla="*/ 139 w 0"/>
                <a:gd name="connsiteY7" fmla="*/ 5026 h 0"/>
                <a:gd name="connsiteX8" fmla="*/ 1576 w 0"/>
                <a:gd name="connsiteY8" fmla="*/ 127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a:moveTo>
                    <a:pt x="1576" y="1278"/>
                  </a:moveTo>
                  <a:cubicBezTo>
                    <a:pt x="1576" y="966"/>
                    <a:pt x="1576" y="591"/>
                    <a:pt x="1576" y="279"/>
                  </a:cubicBezTo>
                  <a:cubicBezTo>
                    <a:pt x="2013" y="-33"/>
                    <a:pt x="2450" y="-96"/>
                    <a:pt x="2887" y="154"/>
                  </a:cubicBezTo>
                  <a:cubicBezTo>
                    <a:pt x="3824" y="654"/>
                    <a:pt x="4074" y="1528"/>
                    <a:pt x="4699" y="2278"/>
                  </a:cubicBezTo>
                  <a:lnTo>
                    <a:pt x="4886" y="2278"/>
                  </a:lnTo>
                  <a:cubicBezTo>
                    <a:pt x="5198" y="2653"/>
                    <a:pt x="5261" y="3090"/>
                    <a:pt x="5011" y="3527"/>
                  </a:cubicBezTo>
                  <a:cubicBezTo>
                    <a:pt x="4074" y="4651"/>
                    <a:pt x="3075" y="5651"/>
                    <a:pt x="1388" y="5713"/>
                  </a:cubicBezTo>
                  <a:cubicBezTo>
                    <a:pt x="889" y="5651"/>
                    <a:pt x="451" y="5401"/>
                    <a:pt x="139" y="5026"/>
                  </a:cubicBezTo>
                  <a:cubicBezTo>
                    <a:pt x="-298" y="3465"/>
                    <a:pt x="326" y="2278"/>
                    <a:pt x="1576" y="1278"/>
                  </a:cubicBezTo>
                  <a:close/>
                </a:path>
              </a:pathLst>
            </a:custGeom>
            <a:grpFill/>
            <a:ln w="6246" cap="flat">
              <a:noFill/>
              <a:prstDash val="solid"/>
              <a:miter/>
            </a:ln>
          </p:spPr>
          <p:txBody>
            <a:bodyPr rtlCol="0" anchor="ctr"/>
            <a:lstStyle/>
            <a:p>
              <a:endParaRPr lang="fr-FR" sz="2400"/>
            </a:p>
          </p:txBody>
        </p:sp>
        <p:sp>
          <p:nvSpPr>
            <p:cNvPr id="249" name="Freeform: Shape 248">
              <a:extLst>
                <a:ext uri="{FF2B5EF4-FFF2-40B4-BE49-F238E27FC236}">
                  <a16:creationId xmlns:a16="http://schemas.microsoft.com/office/drawing/2014/main" id="{F6767046-560A-414B-A4BE-2F58230316AC}"/>
                </a:ext>
              </a:extLst>
            </p:cNvPr>
            <p:cNvSpPr/>
            <p:nvPr/>
          </p:nvSpPr>
          <p:spPr>
            <a:xfrm>
              <a:off x="1122823" y="473451"/>
              <a:ext cx="6246" cy="6246"/>
            </a:xfrm>
            <a:custGeom>
              <a:avLst/>
              <a:gdLst>
                <a:gd name="connsiteX0" fmla="*/ 2124 w 0"/>
                <a:gd name="connsiteY0" fmla="*/ 0 h 0"/>
                <a:gd name="connsiteX1" fmla="*/ 3061 w 0"/>
                <a:gd name="connsiteY1" fmla="*/ 937 h 0"/>
                <a:gd name="connsiteX2" fmla="*/ 1124 w 0"/>
                <a:gd name="connsiteY2" fmla="*/ 3935 h 0"/>
                <a:gd name="connsiteX3" fmla="*/ 0 w 0"/>
                <a:gd name="connsiteY3" fmla="*/ 1874 h 0"/>
                <a:gd name="connsiteX4" fmla="*/ 2124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0"/>
                  </a:moveTo>
                  <a:cubicBezTo>
                    <a:pt x="2436" y="312"/>
                    <a:pt x="2748" y="625"/>
                    <a:pt x="3061" y="937"/>
                  </a:cubicBezTo>
                  <a:cubicBezTo>
                    <a:pt x="3873" y="2686"/>
                    <a:pt x="3373" y="3748"/>
                    <a:pt x="1124" y="3935"/>
                  </a:cubicBezTo>
                  <a:cubicBezTo>
                    <a:pt x="250" y="3498"/>
                    <a:pt x="62" y="2686"/>
                    <a:pt x="0" y="1874"/>
                  </a:cubicBezTo>
                  <a:cubicBezTo>
                    <a:pt x="687" y="1312"/>
                    <a:pt x="1374" y="687"/>
                    <a:pt x="2124" y="0"/>
                  </a:cubicBezTo>
                  <a:close/>
                </a:path>
              </a:pathLst>
            </a:custGeom>
            <a:grpFill/>
            <a:ln w="6246" cap="flat">
              <a:noFill/>
              <a:prstDash val="solid"/>
              <a:miter/>
            </a:ln>
          </p:spPr>
          <p:txBody>
            <a:bodyPr rtlCol="0" anchor="ctr"/>
            <a:lstStyle/>
            <a:p>
              <a:endParaRPr lang="fr-FR" sz="2400"/>
            </a:p>
          </p:txBody>
        </p:sp>
        <p:sp>
          <p:nvSpPr>
            <p:cNvPr id="250" name="Freeform: Shape 249">
              <a:extLst>
                <a:ext uri="{FF2B5EF4-FFF2-40B4-BE49-F238E27FC236}">
                  <a16:creationId xmlns:a16="http://schemas.microsoft.com/office/drawing/2014/main" id="{B669979B-9B07-4B75-A72E-3B9B63DC2298}"/>
                </a:ext>
              </a:extLst>
            </p:cNvPr>
            <p:cNvSpPr/>
            <p:nvPr/>
          </p:nvSpPr>
          <p:spPr>
            <a:xfrm>
              <a:off x="1127070" y="465706"/>
              <a:ext cx="6246" cy="6246"/>
            </a:xfrm>
            <a:custGeom>
              <a:avLst/>
              <a:gdLst>
                <a:gd name="connsiteX0" fmla="*/ 3185 w 0"/>
                <a:gd name="connsiteY0" fmla="*/ 0 h 0"/>
                <a:gd name="connsiteX1" fmla="*/ 1999 w 0"/>
                <a:gd name="connsiteY1" fmla="*/ 3810 h 0"/>
                <a:gd name="connsiteX2" fmla="*/ 1062 w 0"/>
                <a:gd name="connsiteY2" fmla="*/ 3873 h 0"/>
                <a:gd name="connsiteX3" fmla="*/ 0 w 0"/>
                <a:gd name="connsiteY3" fmla="*/ 1936 h 0"/>
                <a:gd name="connsiteX4" fmla="*/ 31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185" y="0"/>
                  </a:moveTo>
                  <a:cubicBezTo>
                    <a:pt x="2811" y="1249"/>
                    <a:pt x="2374" y="2561"/>
                    <a:pt x="1999" y="3810"/>
                  </a:cubicBezTo>
                  <a:cubicBezTo>
                    <a:pt x="1686" y="4122"/>
                    <a:pt x="1374" y="4122"/>
                    <a:pt x="1062" y="3873"/>
                  </a:cubicBezTo>
                  <a:cubicBezTo>
                    <a:pt x="999" y="3123"/>
                    <a:pt x="812" y="2374"/>
                    <a:pt x="0" y="1936"/>
                  </a:cubicBezTo>
                  <a:cubicBezTo>
                    <a:pt x="562" y="625"/>
                    <a:pt x="1749" y="187"/>
                    <a:pt x="3185" y="0"/>
                  </a:cubicBezTo>
                  <a:close/>
                </a:path>
              </a:pathLst>
            </a:custGeom>
            <a:grpFill/>
            <a:ln w="6246" cap="flat">
              <a:noFill/>
              <a:prstDash val="solid"/>
              <a:miter/>
            </a:ln>
          </p:spPr>
          <p:txBody>
            <a:bodyPr rtlCol="0" anchor="ctr"/>
            <a:lstStyle/>
            <a:p>
              <a:endParaRPr lang="fr-FR" sz="2400"/>
            </a:p>
          </p:txBody>
        </p:sp>
        <p:sp>
          <p:nvSpPr>
            <p:cNvPr id="251" name="Freeform: Shape 250">
              <a:extLst>
                <a:ext uri="{FF2B5EF4-FFF2-40B4-BE49-F238E27FC236}">
                  <a16:creationId xmlns:a16="http://schemas.microsoft.com/office/drawing/2014/main" id="{264BB426-F04E-427B-92A9-832D8D1D35B6}"/>
                </a:ext>
              </a:extLst>
            </p:cNvPr>
            <p:cNvSpPr/>
            <p:nvPr/>
          </p:nvSpPr>
          <p:spPr>
            <a:xfrm>
              <a:off x="1133441" y="457086"/>
              <a:ext cx="6246" cy="6246"/>
            </a:xfrm>
            <a:custGeom>
              <a:avLst/>
              <a:gdLst>
                <a:gd name="connsiteX0" fmla="*/ 3248 w 0"/>
                <a:gd name="connsiteY0" fmla="*/ 0 h 0"/>
                <a:gd name="connsiteX1" fmla="*/ 0 w 0"/>
                <a:gd name="connsiteY1" fmla="*/ 3873 h 0"/>
                <a:gd name="connsiteX2" fmla="*/ 3248 w 0"/>
                <a:gd name="connsiteY2" fmla="*/ 0 h 0"/>
              </a:gdLst>
              <a:ahLst/>
              <a:cxnLst>
                <a:cxn ang="0">
                  <a:pos x="connsiteX0" y="connsiteY0"/>
                </a:cxn>
                <a:cxn ang="0">
                  <a:pos x="connsiteX1" y="connsiteY1"/>
                </a:cxn>
                <a:cxn ang="0">
                  <a:pos x="connsiteX2" y="connsiteY2"/>
                </a:cxn>
              </a:cxnLst>
              <a:rect l="l" t="t" r="r" b="b"/>
              <a:pathLst>
                <a:path>
                  <a:moveTo>
                    <a:pt x="3248" y="0"/>
                  </a:moveTo>
                  <a:cubicBezTo>
                    <a:pt x="3123" y="1936"/>
                    <a:pt x="1749" y="2998"/>
                    <a:pt x="0" y="3873"/>
                  </a:cubicBezTo>
                  <a:cubicBezTo>
                    <a:pt x="125" y="1874"/>
                    <a:pt x="1499" y="812"/>
                    <a:pt x="3248" y="0"/>
                  </a:cubicBezTo>
                  <a:close/>
                </a:path>
              </a:pathLst>
            </a:custGeom>
            <a:grpFill/>
            <a:ln w="6246" cap="flat">
              <a:noFill/>
              <a:prstDash val="solid"/>
              <a:miter/>
            </a:ln>
          </p:spPr>
          <p:txBody>
            <a:bodyPr rtlCol="0" anchor="ctr"/>
            <a:lstStyle/>
            <a:p>
              <a:endParaRPr lang="fr-FR" sz="2400"/>
            </a:p>
          </p:txBody>
        </p:sp>
        <p:sp>
          <p:nvSpPr>
            <p:cNvPr id="252" name="Freeform: Shape 251">
              <a:extLst>
                <a:ext uri="{FF2B5EF4-FFF2-40B4-BE49-F238E27FC236}">
                  <a16:creationId xmlns:a16="http://schemas.microsoft.com/office/drawing/2014/main" id="{E41BA7D4-070E-412E-8A81-A9B1AF0496B1}"/>
                </a:ext>
              </a:extLst>
            </p:cNvPr>
            <p:cNvSpPr/>
            <p:nvPr/>
          </p:nvSpPr>
          <p:spPr>
            <a:xfrm>
              <a:off x="1121699" y="467339"/>
              <a:ext cx="6246" cy="6246"/>
            </a:xfrm>
            <a:custGeom>
              <a:avLst/>
              <a:gdLst>
                <a:gd name="connsiteX0" fmla="*/ 1124 w 0"/>
                <a:gd name="connsiteY0" fmla="*/ 2239 h 0"/>
                <a:gd name="connsiteX1" fmla="*/ 0 w 0"/>
                <a:gd name="connsiteY1" fmla="*/ 2239 h 0"/>
                <a:gd name="connsiteX2" fmla="*/ 2186 w 0"/>
                <a:gd name="connsiteY2" fmla="*/ 303 h 0"/>
                <a:gd name="connsiteX3" fmla="*/ 1124 w 0"/>
                <a:gd name="connsiteY3" fmla="*/ 2239 h 0"/>
              </a:gdLst>
              <a:ahLst/>
              <a:cxnLst>
                <a:cxn ang="0">
                  <a:pos x="connsiteX0" y="connsiteY0"/>
                </a:cxn>
                <a:cxn ang="0">
                  <a:pos x="connsiteX1" y="connsiteY1"/>
                </a:cxn>
                <a:cxn ang="0">
                  <a:pos x="connsiteX2" y="connsiteY2"/>
                </a:cxn>
                <a:cxn ang="0">
                  <a:pos x="connsiteX3" y="connsiteY3"/>
                </a:cxn>
              </a:cxnLst>
              <a:rect l="l" t="t" r="r" b="b"/>
              <a:pathLst>
                <a:path>
                  <a:moveTo>
                    <a:pt x="1124" y="2239"/>
                  </a:moveTo>
                  <a:cubicBezTo>
                    <a:pt x="749" y="2239"/>
                    <a:pt x="375" y="2239"/>
                    <a:pt x="0" y="2239"/>
                  </a:cubicBezTo>
                  <a:cubicBezTo>
                    <a:pt x="63" y="990"/>
                    <a:pt x="-375" y="-696"/>
                    <a:pt x="2186" y="303"/>
                  </a:cubicBezTo>
                  <a:cubicBezTo>
                    <a:pt x="2124" y="1115"/>
                    <a:pt x="1936" y="1802"/>
                    <a:pt x="1124" y="2239"/>
                  </a:cubicBezTo>
                  <a:close/>
                </a:path>
              </a:pathLst>
            </a:custGeom>
            <a:grpFill/>
            <a:ln w="6246" cap="flat">
              <a:noFill/>
              <a:prstDash val="solid"/>
              <a:miter/>
            </a:ln>
          </p:spPr>
          <p:txBody>
            <a:bodyPr rtlCol="0" anchor="ctr"/>
            <a:lstStyle/>
            <a:p>
              <a:endParaRPr lang="fr-FR" sz="2400"/>
            </a:p>
          </p:txBody>
        </p:sp>
        <p:sp>
          <p:nvSpPr>
            <p:cNvPr id="253" name="Freeform: Shape 252">
              <a:extLst>
                <a:ext uri="{FF2B5EF4-FFF2-40B4-BE49-F238E27FC236}">
                  <a16:creationId xmlns:a16="http://schemas.microsoft.com/office/drawing/2014/main" id="{59BBDDED-EAAB-4259-968D-3A8A3EE7E226}"/>
                </a:ext>
              </a:extLst>
            </p:cNvPr>
            <p:cNvSpPr/>
            <p:nvPr/>
          </p:nvSpPr>
          <p:spPr>
            <a:xfrm>
              <a:off x="1130318" y="463832"/>
              <a:ext cx="6246" cy="6246"/>
            </a:xfrm>
            <a:custGeom>
              <a:avLst/>
              <a:gdLst>
                <a:gd name="connsiteX0" fmla="*/ 1062 w 0"/>
                <a:gd name="connsiteY0" fmla="*/ 1062 h 0"/>
                <a:gd name="connsiteX1" fmla="*/ 0 w 0"/>
                <a:gd name="connsiteY1" fmla="*/ 937 h 0"/>
                <a:gd name="connsiteX2" fmla="*/ 2124 w 0"/>
                <a:gd name="connsiteY2" fmla="*/ 0 h 0"/>
                <a:gd name="connsiteX3" fmla="*/ 2124 w 0"/>
                <a:gd name="connsiteY3" fmla="*/ 0 h 0"/>
                <a:gd name="connsiteX4" fmla="*/ 1062 w 0"/>
                <a:gd name="connsiteY4" fmla="*/ 106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062" y="1062"/>
                  </a:moveTo>
                  <a:cubicBezTo>
                    <a:pt x="687" y="999"/>
                    <a:pt x="312" y="937"/>
                    <a:pt x="0" y="937"/>
                  </a:cubicBezTo>
                  <a:cubicBezTo>
                    <a:pt x="437" y="125"/>
                    <a:pt x="1249" y="0"/>
                    <a:pt x="2124" y="0"/>
                  </a:cubicBezTo>
                  <a:cubicBezTo>
                    <a:pt x="2124" y="0"/>
                    <a:pt x="2124" y="0"/>
                    <a:pt x="2124" y="0"/>
                  </a:cubicBezTo>
                  <a:cubicBezTo>
                    <a:pt x="2498" y="937"/>
                    <a:pt x="1999" y="1187"/>
                    <a:pt x="1062" y="1062"/>
                  </a:cubicBezTo>
                  <a:close/>
                </a:path>
              </a:pathLst>
            </a:custGeom>
            <a:grpFill/>
            <a:ln w="6246" cap="flat">
              <a:noFill/>
              <a:prstDash val="solid"/>
              <a:miter/>
            </a:ln>
          </p:spPr>
          <p:txBody>
            <a:bodyPr rtlCol="0" anchor="ctr"/>
            <a:lstStyle/>
            <a:p>
              <a:endParaRPr lang="fr-FR" sz="2400"/>
            </a:p>
          </p:txBody>
        </p:sp>
        <p:sp>
          <p:nvSpPr>
            <p:cNvPr id="254" name="Freeform: Shape 253">
              <a:extLst>
                <a:ext uri="{FF2B5EF4-FFF2-40B4-BE49-F238E27FC236}">
                  <a16:creationId xmlns:a16="http://schemas.microsoft.com/office/drawing/2014/main" id="{ACF058F8-5880-4554-82B4-95F45F58E0C1}"/>
                </a:ext>
              </a:extLst>
            </p:cNvPr>
            <p:cNvSpPr/>
            <p:nvPr/>
          </p:nvSpPr>
          <p:spPr>
            <a:xfrm>
              <a:off x="1116327" y="474388"/>
              <a:ext cx="6246" cy="6246"/>
            </a:xfrm>
            <a:custGeom>
              <a:avLst/>
              <a:gdLst>
                <a:gd name="connsiteX0" fmla="*/ 1062 w 0"/>
                <a:gd name="connsiteY0" fmla="*/ 0 h 0"/>
                <a:gd name="connsiteX1" fmla="*/ 2124 w 0"/>
                <a:gd name="connsiteY1" fmla="*/ 2936 h 0"/>
                <a:gd name="connsiteX2" fmla="*/ 0 w 0"/>
                <a:gd name="connsiteY2" fmla="*/ 1062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2249" y="750"/>
                    <a:pt x="2061" y="1811"/>
                    <a:pt x="2124" y="2936"/>
                  </a:cubicBezTo>
                  <a:cubicBezTo>
                    <a:pt x="750" y="2936"/>
                    <a:pt x="125" y="2249"/>
                    <a:pt x="0" y="1062"/>
                  </a:cubicBezTo>
                  <a:cubicBezTo>
                    <a:pt x="375" y="687"/>
                    <a:pt x="750" y="312"/>
                    <a:pt x="1062" y="0"/>
                  </a:cubicBezTo>
                  <a:close/>
                </a:path>
              </a:pathLst>
            </a:custGeom>
            <a:grpFill/>
            <a:ln w="6246" cap="flat">
              <a:noFill/>
              <a:prstDash val="solid"/>
              <a:miter/>
            </a:ln>
          </p:spPr>
          <p:txBody>
            <a:bodyPr rtlCol="0" anchor="ctr"/>
            <a:lstStyle/>
            <a:p>
              <a:endParaRPr lang="fr-FR" sz="2400"/>
            </a:p>
          </p:txBody>
        </p:sp>
        <p:sp>
          <p:nvSpPr>
            <p:cNvPr id="255" name="Freeform: Shape 254">
              <a:extLst>
                <a:ext uri="{FF2B5EF4-FFF2-40B4-BE49-F238E27FC236}">
                  <a16:creationId xmlns:a16="http://schemas.microsoft.com/office/drawing/2014/main" id="{4D64338E-98EB-41D8-A47E-ED415AEC51B3}"/>
                </a:ext>
              </a:extLst>
            </p:cNvPr>
            <p:cNvSpPr/>
            <p:nvPr/>
          </p:nvSpPr>
          <p:spPr>
            <a:xfrm>
              <a:off x="1136118" y="456149"/>
              <a:ext cx="6246" cy="6246"/>
            </a:xfrm>
            <a:custGeom>
              <a:avLst/>
              <a:gdLst>
                <a:gd name="connsiteX0" fmla="*/ 1633 w 6246"/>
                <a:gd name="connsiteY0" fmla="*/ 5746 h 6246"/>
                <a:gd name="connsiteX1" fmla="*/ 4881 w 6246"/>
                <a:gd name="connsiteY1" fmla="*/ 1874 h 6246"/>
                <a:gd name="connsiteX2" fmla="*/ 7004 w 6246"/>
                <a:gd name="connsiteY2" fmla="*/ 0 h 6246"/>
                <a:gd name="connsiteX3" fmla="*/ 10440 w 6246"/>
                <a:gd name="connsiteY3" fmla="*/ 62 h 6246"/>
                <a:gd name="connsiteX4" fmla="*/ 10815 w 6246"/>
                <a:gd name="connsiteY4" fmla="*/ 1936 h 6246"/>
                <a:gd name="connsiteX5" fmla="*/ 10127 w 6246"/>
                <a:gd name="connsiteY5" fmla="*/ 3123 h 6246"/>
                <a:gd name="connsiteX6" fmla="*/ 1445 w 6246"/>
                <a:gd name="connsiteY6" fmla="*/ 11868 h 6246"/>
                <a:gd name="connsiteX7" fmla="*/ 9 w 6246"/>
                <a:gd name="connsiteY7" fmla="*/ 9931 h 6246"/>
                <a:gd name="connsiteX8" fmla="*/ 1633 w 6246"/>
                <a:gd name="connsiteY8" fmla="*/ 57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1633" y="5746"/>
                  </a:moveTo>
                  <a:cubicBezTo>
                    <a:pt x="2507" y="4310"/>
                    <a:pt x="1633" y="1686"/>
                    <a:pt x="4881" y="1874"/>
                  </a:cubicBezTo>
                  <a:cubicBezTo>
                    <a:pt x="5568" y="1249"/>
                    <a:pt x="5755" y="125"/>
                    <a:pt x="7004" y="0"/>
                  </a:cubicBezTo>
                  <a:cubicBezTo>
                    <a:pt x="8129" y="625"/>
                    <a:pt x="9315" y="375"/>
                    <a:pt x="10440" y="62"/>
                  </a:cubicBezTo>
                  <a:cubicBezTo>
                    <a:pt x="11002" y="625"/>
                    <a:pt x="11002" y="1249"/>
                    <a:pt x="10815" y="1936"/>
                  </a:cubicBezTo>
                  <a:cubicBezTo>
                    <a:pt x="10627" y="2374"/>
                    <a:pt x="10440" y="2748"/>
                    <a:pt x="10127" y="3123"/>
                  </a:cubicBezTo>
                  <a:cubicBezTo>
                    <a:pt x="7254" y="6059"/>
                    <a:pt x="5443" y="9869"/>
                    <a:pt x="1445" y="11868"/>
                  </a:cubicBezTo>
                  <a:cubicBezTo>
                    <a:pt x="196" y="11743"/>
                    <a:pt x="-54" y="10931"/>
                    <a:pt x="9" y="9931"/>
                  </a:cubicBezTo>
                  <a:cubicBezTo>
                    <a:pt x="9" y="8307"/>
                    <a:pt x="2070" y="7433"/>
                    <a:pt x="1633" y="5746"/>
                  </a:cubicBezTo>
                  <a:close/>
                </a:path>
              </a:pathLst>
            </a:custGeom>
            <a:grpFill/>
            <a:ln w="6246" cap="flat">
              <a:noFill/>
              <a:prstDash val="solid"/>
              <a:miter/>
            </a:ln>
          </p:spPr>
          <p:txBody>
            <a:bodyPr rtlCol="0" anchor="ctr"/>
            <a:lstStyle/>
            <a:p>
              <a:endParaRPr lang="fr-FR" sz="2400"/>
            </a:p>
          </p:txBody>
        </p:sp>
        <p:sp>
          <p:nvSpPr>
            <p:cNvPr id="256" name="Freeform: Shape 255">
              <a:extLst>
                <a:ext uri="{FF2B5EF4-FFF2-40B4-BE49-F238E27FC236}">
                  <a16:creationId xmlns:a16="http://schemas.microsoft.com/office/drawing/2014/main" id="{B9B4973A-2607-486A-A769-C5942426F2E5}"/>
                </a:ext>
              </a:extLst>
            </p:cNvPr>
            <p:cNvSpPr/>
            <p:nvPr/>
          </p:nvSpPr>
          <p:spPr>
            <a:xfrm>
              <a:off x="1146121" y="450965"/>
              <a:ext cx="6246" cy="6246"/>
            </a:xfrm>
            <a:custGeom>
              <a:avLst/>
              <a:gdLst>
                <a:gd name="connsiteX0" fmla="*/ 0 w 6246"/>
                <a:gd name="connsiteY0" fmla="*/ 6871 h 6246"/>
                <a:gd name="connsiteX1" fmla="*/ 375 w 6246"/>
                <a:gd name="connsiteY1" fmla="*/ 5184 h 6246"/>
                <a:gd name="connsiteX2" fmla="*/ 3310 w 6246"/>
                <a:gd name="connsiteY2" fmla="*/ 2061 h 6246"/>
                <a:gd name="connsiteX3" fmla="*/ 6246 w 6246"/>
                <a:gd name="connsiteY3" fmla="*/ 0 h 6246"/>
                <a:gd name="connsiteX4" fmla="*/ 7245 w 6246"/>
                <a:gd name="connsiteY4" fmla="*/ 999 h 6246"/>
                <a:gd name="connsiteX5" fmla="*/ 0 w 6246"/>
                <a:gd name="connsiteY5" fmla="*/ 687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871"/>
                  </a:moveTo>
                  <a:cubicBezTo>
                    <a:pt x="125" y="6309"/>
                    <a:pt x="250" y="5746"/>
                    <a:pt x="375" y="5184"/>
                  </a:cubicBezTo>
                  <a:cubicBezTo>
                    <a:pt x="1374" y="4122"/>
                    <a:pt x="2374" y="3061"/>
                    <a:pt x="3310" y="2061"/>
                  </a:cubicBezTo>
                  <a:cubicBezTo>
                    <a:pt x="4185" y="1312"/>
                    <a:pt x="4747" y="125"/>
                    <a:pt x="6246" y="0"/>
                  </a:cubicBezTo>
                  <a:cubicBezTo>
                    <a:pt x="6746" y="187"/>
                    <a:pt x="7058" y="562"/>
                    <a:pt x="7245" y="999"/>
                  </a:cubicBezTo>
                  <a:cubicBezTo>
                    <a:pt x="6621" y="4747"/>
                    <a:pt x="4560" y="7058"/>
                    <a:pt x="0" y="6871"/>
                  </a:cubicBezTo>
                  <a:close/>
                </a:path>
              </a:pathLst>
            </a:custGeom>
            <a:grpFill/>
            <a:ln w="6246" cap="flat">
              <a:noFill/>
              <a:prstDash val="solid"/>
              <a:miter/>
            </a:ln>
          </p:spPr>
          <p:txBody>
            <a:bodyPr rtlCol="0" anchor="ctr"/>
            <a:lstStyle/>
            <a:p>
              <a:endParaRPr lang="fr-FR" sz="2400"/>
            </a:p>
          </p:txBody>
        </p:sp>
        <p:sp>
          <p:nvSpPr>
            <p:cNvPr id="257" name="Freeform: Shape 256">
              <a:extLst>
                <a:ext uri="{FF2B5EF4-FFF2-40B4-BE49-F238E27FC236}">
                  <a16:creationId xmlns:a16="http://schemas.microsoft.com/office/drawing/2014/main" id="{64A2B8D9-0291-4FEE-BABF-4791AF09EDF6}"/>
                </a:ext>
              </a:extLst>
            </p:cNvPr>
            <p:cNvSpPr/>
            <p:nvPr/>
          </p:nvSpPr>
          <p:spPr>
            <a:xfrm>
              <a:off x="1149493" y="447337"/>
              <a:ext cx="6246" cy="6246"/>
            </a:xfrm>
            <a:custGeom>
              <a:avLst/>
              <a:gdLst>
                <a:gd name="connsiteX0" fmla="*/ 2998 w 0"/>
                <a:gd name="connsiteY0" fmla="*/ 3690 h 0"/>
                <a:gd name="connsiteX1" fmla="*/ 0 w 0"/>
                <a:gd name="connsiteY1" fmla="*/ 5689 h 0"/>
                <a:gd name="connsiteX2" fmla="*/ 1124 w 0"/>
                <a:gd name="connsiteY2" fmla="*/ 2941 h 0"/>
                <a:gd name="connsiteX3" fmla="*/ 5372 w 0"/>
                <a:gd name="connsiteY3" fmla="*/ 5 h 0"/>
                <a:gd name="connsiteX4" fmla="*/ 2998 w 0"/>
                <a:gd name="connsiteY4" fmla="*/ 369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998" y="3690"/>
                  </a:moveTo>
                  <a:cubicBezTo>
                    <a:pt x="1999" y="4378"/>
                    <a:pt x="999" y="5002"/>
                    <a:pt x="0" y="5689"/>
                  </a:cubicBezTo>
                  <a:cubicBezTo>
                    <a:pt x="375" y="4752"/>
                    <a:pt x="750" y="3878"/>
                    <a:pt x="1124" y="2941"/>
                  </a:cubicBezTo>
                  <a:cubicBezTo>
                    <a:pt x="2561" y="2004"/>
                    <a:pt x="2998" y="-120"/>
                    <a:pt x="5372" y="5"/>
                  </a:cubicBezTo>
                  <a:cubicBezTo>
                    <a:pt x="6059" y="2004"/>
                    <a:pt x="4809" y="3003"/>
                    <a:pt x="2998" y="3690"/>
                  </a:cubicBezTo>
                  <a:close/>
                </a:path>
              </a:pathLst>
            </a:custGeom>
            <a:grpFill/>
            <a:ln w="6246" cap="flat">
              <a:noFill/>
              <a:prstDash val="solid"/>
              <a:miter/>
            </a:ln>
          </p:spPr>
          <p:txBody>
            <a:bodyPr rtlCol="0" anchor="ctr"/>
            <a:lstStyle/>
            <a:p>
              <a:endParaRPr lang="fr-FR" sz="2400"/>
            </a:p>
          </p:txBody>
        </p:sp>
        <p:sp>
          <p:nvSpPr>
            <p:cNvPr id="258" name="Freeform: Shape 257">
              <a:extLst>
                <a:ext uri="{FF2B5EF4-FFF2-40B4-BE49-F238E27FC236}">
                  <a16:creationId xmlns:a16="http://schemas.microsoft.com/office/drawing/2014/main" id="{F4758A3B-AFAD-44C2-9124-D62026D62ADE}"/>
                </a:ext>
              </a:extLst>
            </p:cNvPr>
            <p:cNvSpPr/>
            <p:nvPr/>
          </p:nvSpPr>
          <p:spPr>
            <a:xfrm>
              <a:off x="1140978" y="454088"/>
              <a:ext cx="6246" cy="6246"/>
            </a:xfrm>
            <a:custGeom>
              <a:avLst/>
              <a:gdLst>
                <a:gd name="connsiteX0" fmla="*/ 2145 w 0"/>
                <a:gd name="connsiteY0" fmla="*/ 1999 h 0"/>
                <a:gd name="connsiteX1" fmla="*/ 21 w 0"/>
                <a:gd name="connsiteY1" fmla="*/ 3873 h 0"/>
                <a:gd name="connsiteX2" fmla="*/ 1083 w 0"/>
                <a:gd name="connsiteY2" fmla="*/ 0 h 0"/>
                <a:gd name="connsiteX3" fmla="*/ 2145 w 0"/>
                <a:gd name="connsiteY3" fmla="*/ 1999 h 0"/>
              </a:gdLst>
              <a:ahLst/>
              <a:cxnLst>
                <a:cxn ang="0">
                  <a:pos x="connsiteX0" y="connsiteY0"/>
                </a:cxn>
                <a:cxn ang="0">
                  <a:pos x="connsiteX1" y="connsiteY1"/>
                </a:cxn>
                <a:cxn ang="0">
                  <a:pos x="connsiteX2" y="connsiteY2"/>
                </a:cxn>
                <a:cxn ang="0">
                  <a:pos x="connsiteX3" y="connsiteY3"/>
                </a:cxn>
              </a:cxnLst>
              <a:rect l="l" t="t" r="r" b="b"/>
              <a:pathLst>
                <a:path>
                  <a:moveTo>
                    <a:pt x="2145" y="1999"/>
                  </a:moveTo>
                  <a:cubicBezTo>
                    <a:pt x="1458" y="2623"/>
                    <a:pt x="708" y="3248"/>
                    <a:pt x="21" y="3873"/>
                  </a:cubicBezTo>
                  <a:cubicBezTo>
                    <a:pt x="-104" y="2498"/>
                    <a:pt x="333" y="1187"/>
                    <a:pt x="1083" y="0"/>
                  </a:cubicBezTo>
                  <a:cubicBezTo>
                    <a:pt x="1895" y="500"/>
                    <a:pt x="2082" y="1249"/>
                    <a:pt x="2145" y="1999"/>
                  </a:cubicBezTo>
                  <a:close/>
                </a:path>
              </a:pathLst>
            </a:custGeom>
            <a:grpFill/>
            <a:ln w="6246" cap="flat">
              <a:noFill/>
              <a:prstDash val="solid"/>
              <a:miter/>
            </a:ln>
          </p:spPr>
          <p:txBody>
            <a:bodyPr rtlCol="0" anchor="ctr"/>
            <a:lstStyle/>
            <a:p>
              <a:endParaRPr lang="fr-FR" sz="2400"/>
            </a:p>
          </p:txBody>
        </p:sp>
        <p:sp>
          <p:nvSpPr>
            <p:cNvPr id="259" name="Freeform: Shape 258">
              <a:extLst>
                <a:ext uri="{FF2B5EF4-FFF2-40B4-BE49-F238E27FC236}">
                  <a16:creationId xmlns:a16="http://schemas.microsoft.com/office/drawing/2014/main" id="{52F07063-D0FE-46BF-8424-E8F1229AE116}"/>
                </a:ext>
              </a:extLst>
            </p:cNvPr>
            <p:cNvSpPr/>
            <p:nvPr/>
          </p:nvSpPr>
          <p:spPr>
            <a:xfrm>
              <a:off x="1135565" y="461896"/>
              <a:ext cx="6246" cy="6246"/>
            </a:xfrm>
            <a:custGeom>
              <a:avLst/>
              <a:gdLst>
                <a:gd name="connsiteX0" fmla="*/ 2186 w 0"/>
                <a:gd name="connsiteY0" fmla="*/ 0 h 0"/>
                <a:gd name="connsiteX1" fmla="*/ 1124 w 0"/>
                <a:gd name="connsiteY1" fmla="*/ 3935 h 0"/>
                <a:gd name="connsiteX2" fmla="*/ 0 w 0"/>
                <a:gd name="connsiteY2" fmla="*/ 4060 h 0"/>
                <a:gd name="connsiteX3" fmla="*/ 1062 w 0"/>
                <a:gd name="connsiteY3" fmla="*/ 1062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4622" y="1936"/>
                    <a:pt x="1874" y="2686"/>
                    <a:pt x="1124" y="3935"/>
                  </a:cubicBezTo>
                  <a:cubicBezTo>
                    <a:pt x="812" y="4372"/>
                    <a:pt x="437" y="4372"/>
                    <a:pt x="0" y="4060"/>
                  </a:cubicBezTo>
                  <a:cubicBezTo>
                    <a:pt x="375" y="3061"/>
                    <a:pt x="687" y="2061"/>
                    <a:pt x="1062" y="1062"/>
                  </a:cubicBezTo>
                  <a:cubicBezTo>
                    <a:pt x="1437" y="687"/>
                    <a:pt x="1811" y="312"/>
                    <a:pt x="2186" y="0"/>
                  </a:cubicBezTo>
                  <a:close/>
                </a:path>
              </a:pathLst>
            </a:custGeom>
            <a:grpFill/>
            <a:ln w="6246" cap="flat">
              <a:noFill/>
              <a:prstDash val="solid"/>
              <a:miter/>
            </a:ln>
          </p:spPr>
          <p:txBody>
            <a:bodyPr rtlCol="0" anchor="ctr"/>
            <a:lstStyle/>
            <a:p>
              <a:endParaRPr lang="fr-FR" sz="2400"/>
            </a:p>
          </p:txBody>
        </p:sp>
        <p:sp>
          <p:nvSpPr>
            <p:cNvPr id="260" name="Freeform: Shape 259">
              <a:extLst>
                <a:ext uri="{FF2B5EF4-FFF2-40B4-BE49-F238E27FC236}">
                  <a16:creationId xmlns:a16="http://schemas.microsoft.com/office/drawing/2014/main" id="{3AAFBBEA-890B-4733-93FC-2BC2106ED7DC}"/>
                </a:ext>
              </a:extLst>
            </p:cNvPr>
            <p:cNvSpPr/>
            <p:nvPr/>
          </p:nvSpPr>
          <p:spPr>
            <a:xfrm>
              <a:off x="1152492" y="440409"/>
              <a:ext cx="12492" cy="6246"/>
            </a:xfrm>
            <a:custGeom>
              <a:avLst/>
              <a:gdLst>
                <a:gd name="connsiteX0" fmla="*/ 0 w 12492"/>
                <a:gd name="connsiteY0" fmla="*/ 10618 h 6246"/>
                <a:gd name="connsiteX1" fmla="*/ 2373 w 12492"/>
                <a:gd name="connsiteY1" fmla="*/ 6933 h 6246"/>
                <a:gd name="connsiteX2" fmla="*/ 4809 w 12492"/>
                <a:gd name="connsiteY2" fmla="*/ 4185 h 6246"/>
                <a:gd name="connsiteX3" fmla="*/ 8807 w 12492"/>
                <a:gd name="connsiteY3" fmla="*/ 2061 h 6246"/>
                <a:gd name="connsiteX4" fmla="*/ 13054 w 12492"/>
                <a:gd name="connsiteY4" fmla="*/ 0 h 6246"/>
                <a:gd name="connsiteX5" fmla="*/ 13117 w 12492"/>
                <a:gd name="connsiteY5" fmla="*/ 1124 h 6246"/>
                <a:gd name="connsiteX6" fmla="*/ 6683 w 12492"/>
                <a:gd name="connsiteY6" fmla="*/ 6933 h 6246"/>
                <a:gd name="connsiteX7" fmla="*/ 437 w 12492"/>
                <a:gd name="connsiteY7" fmla="*/ 10931 h 6246"/>
                <a:gd name="connsiteX8" fmla="*/ 0 w 12492"/>
                <a:gd name="connsiteY8" fmla="*/ 1061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0" y="10618"/>
                  </a:moveTo>
                  <a:cubicBezTo>
                    <a:pt x="812" y="9369"/>
                    <a:pt x="1562" y="8182"/>
                    <a:pt x="2373" y="6933"/>
                  </a:cubicBezTo>
                  <a:cubicBezTo>
                    <a:pt x="3185" y="5996"/>
                    <a:pt x="3997" y="5122"/>
                    <a:pt x="4809" y="4185"/>
                  </a:cubicBezTo>
                  <a:cubicBezTo>
                    <a:pt x="6621" y="4185"/>
                    <a:pt x="7683" y="3123"/>
                    <a:pt x="8807" y="2061"/>
                  </a:cubicBezTo>
                  <a:cubicBezTo>
                    <a:pt x="10244" y="1374"/>
                    <a:pt x="11618" y="687"/>
                    <a:pt x="13054" y="0"/>
                  </a:cubicBezTo>
                  <a:cubicBezTo>
                    <a:pt x="13616" y="375"/>
                    <a:pt x="13616" y="749"/>
                    <a:pt x="13117" y="1124"/>
                  </a:cubicBezTo>
                  <a:cubicBezTo>
                    <a:pt x="10806" y="2936"/>
                    <a:pt x="7932" y="4185"/>
                    <a:pt x="6683" y="6933"/>
                  </a:cubicBezTo>
                  <a:cubicBezTo>
                    <a:pt x="5247" y="9119"/>
                    <a:pt x="4185" y="11743"/>
                    <a:pt x="437" y="10931"/>
                  </a:cubicBezTo>
                  <a:cubicBezTo>
                    <a:pt x="250" y="10806"/>
                    <a:pt x="125" y="10681"/>
                    <a:pt x="0" y="10618"/>
                  </a:cubicBezTo>
                  <a:close/>
                </a:path>
              </a:pathLst>
            </a:custGeom>
            <a:grpFill/>
            <a:ln w="6246" cap="flat">
              <a:noFill/>
              <a:prstDash val="solid"/>
              <a:miter/>
            </a:ln>
          </p:spPr>
          <p:txBody>
            <a:bodyPr rtlCol="0" anchor="ctr"/>
            <a:lstStyle/>
            <a:p>
              <a:endParaRPr lang="fr-FR" sz="2400"/>
            </a:p>
          </p:txBody>
        </p:sp>
        <p:sp>
          <p:nvSpPr>
            <p:cNvPr id="261" name="Freeform: Shape 260">
              <a:extLst>
                <a:ext uri="{FF2B5EF4-FFF2-40B4-BE49-F238E27FC236}">
                  <a16:creationId xmlns:a16="http://schemas.microsoft.com/office/drawing/2014/main" id="{AB1E3262-3409-4A09-A6F4-D40373EADC72}"/>
                </a:ext>
              </a:extLst>
            </p:cNvPr>
            <p:cNvSpPr/>
            <p:nvPr/>
          </p:nvSpPr>
          <p:spPr>
            <a:xfrm>
              <a:off x="1100271" y="508897"/>
              <a:ext cx="6246" cy="6246"/>
            </a:xfrm>
            <a:custGeom>
              <a:avLst/>
              <a:gdLst>
                <a:gd name="connsiteX0" fmla="*/ 4 w 6246"/>
                <a:gd name="connsiteY0" fmla="*/ 8026 h 6246"/>
                <a:gd name="connsiteX1" fmla="*/ 2253 w 6246"/>
                <a:gd name="connsiteY1" fmla="*/ 1280 h 6246"/>
                <a:gd name="connsiteX2" fmla="*/ 5813 w 6246"/>
                <a:gd name="connsiteY2" fmla="*/ 406 h 6246"/>
                <a:gd name="connsiteX3" fmla="*/ 6875 w 6246"/>
                <a:gd name="connsiteY3" fmla="*/ 3904 h 6246"/>
                <a:gd name="connsiteX4" fmla="*/ 6937 w 6246"/>
                <a:gd name="connsiteY4" fmla="*/ 8151 h 6246"/>
                <a:gd name="connsiteX5" fmla="*/ 6875 w 6246"/>
                <a:gd name="connsiteY5" fmla="*/ 10899 h 6246"/>
                <a:gd name="connsiteX6" fmla="*/ 4564 w 6246"/>
                <a:gd name="connsiteY6" fmla="*/ 12211 h 6246"/>
                <a:gd name="connsiteX7" fmla="*/ 1940 w 6246"/>
                <a:gd name="connsiteY7" fmla="*/ 11149 h 6246"/>
                <a:gd name="connsiteX8" fmla="*/ 4 w 6246"/>
                <a:gd name="connsiteY8" fmla="*/ 80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4" y="8026"/>
                  </a:moveTo>
                  <a:cubicBezTo>
                    <a:pt x="-121" y="5528"/>
                    <a:pt x="2752" y="3904"/>
                    <a:pt x="2253" y="1280"/>
                  </a:cubicBezTo>
                  <a:cubicBezTo>
                    <a:pt x="3314" y="468"/>
                    <a:pt x="4251" y="-594"/>
                    <a:pt x="5813" y="406"/>
                  </a:cubicBezTo>
                  <a:cubicBezTo>
                    <a:pt x="6750" y="1468"/>
                    <a:pt x="6812" y="2654"/>
                    <a:pt x="6875" y="3904"/>
                  </a:cubicBezTo>
                  <a:cubicBezTo>
                    <a:pt x="6875" y="5278"/>
                    <a:pt x="6875" y="6714"/>
                    <a:pt x="6937" y="8151"/>
                  </a:cubicBezTo>
                  <a:cubicBezTo>
                    <a:pt x="7000" y="9088"/>
                    <a:pt x="7249" y="9962"/>
                    <a:pt x="6875" y="10899"/>
                  </a:cubicBezTo>
                  <a:cubicBezTo>
                    <a:pt x="6375" y="11711"/>
                    <a:pt x="5688" y="12273"/>
                    <a:pt x="4564" y="12211"/>
                  </a:cubicBezTo>
                  <a:cubicBezTo>
                    <a:pt x="3939" y="11336"/>
                    <a:pt x="3252" y="10649"/>
                    <a:pt x="1940" y="11149"/>
                  </a:cubicBezTo>
                  <a:cubicBezTo>
                    <a:pt x="629" y="10524"/>
                    <a:pt x="941" y="8900"/>
                    <a:pt x="4" y="8026"/>
                  </a:cubicBezTo>
                  <a:close/>
                </a:path>
              </a:pathLst>
            </a:custGeom>
            <a:grpFill/>
            <a:ln w="6246" cap="flat">
              <a:noFill/>
              <a:prstDash val="solid"/>
              <a:miter/>
            </a:ln>
          </p:spPr>
          <p:txBody>
            <a:bodyPr rtlCol="0" anchor="ctr"/>
            <a:lstStyle/>
            <a:p>
              <a:endParaRPr lang="fr-FR" sz="2400"/>
            </a:p>
          </p:txBody>
        </p:sp>
        <p:sp>
          <p:nvSpPr>
            <p:cNvPr id="262" name="Freeform: Shape 261">
              <a:extLst>
                <a:ext uri="{FF2B5EF4-FFF2-40B4-BE49-F238E27FC236}">
                  <a16:creationId xmlns:a16="http://schemas.microsoft.com/office/drawing/2014/main" id="{2DF4BA14-237B-41A9-AA25-1B8AE5127EC4}"/>
                </a:ext>
              </a:extLst>
            </p:cNvPr>
            <p:cNvSpPr/>
            <p:nvPr/>
          </p:nvSpPr>
          <p:spPr>
            <a:xfrm>
              <a:off x="1098088" y="516923"/>
              <a:ext cx="6246" cy="12492"/>
            </a:xfrm>
            <a:custGeom>
              <a:avLst/>
              <a:gdLst>
                <a:gd name="connsiteX0" fmla="*/ 2186 w 0"/>
                <a:gd name="connsiteY0" fmla="*/ 0 h 12492"/>
                <a:gd name="connsiteX1" fmla="*/ 4372 w 0"/>
                <a:gd name="connsiteY1" fmla="*/ 2936 h 12492"/>
                <a:gd name="connsiteX2" fmla="*/ 5247 w 0"/>
                <a:gd name="connsiteY2" fmla="*/ 7932 h 12492"/>
                <a:gd name="connsiteX3" fmla="*/ 812 w 0"/>
                <a:gd name="connsiteY3" fmla="*/ 13554 h 12492"/>
                <a:gd name="connsiteX4" fmla="*/ 0 w 0"/>
                <a:gd name="connsiteY4" fmla="*/ 8807 h 12492"/>
                <a:gd name="connsiteX5" fmla="*/ 2061 w 0"/>
                <a:gd name="connsiteY5" fmla="*/ 4934 h 12492"/>
                <a:gd name="connsiteX6" fmla="*/ 2061 w 0"/>
                <a:gd name="connsiteY6" fmla="*/ 874 h 12492"/>
                <a:gd name="connsiteX7" fmla="*/ 2186 w 0"/>
                <a:gd name="connsiteY7"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2186" y="0"/>
                  </a:moveTo>
                  <a:cubicBezTo>
                    <a:pt x="3623" y="562"/>
                    <a:pt x="4310" y="1562"/>
                    <a:pt x="4372" y="2936"/>
                  </a:cubicBezTo>
                  <a:cubicBezTo>
                    <a:pt x="5871" y="4435"/>
                    <a:pt x="5996" y="6121"/>
                    <a:pt x="5247" y="7932"/>
                  </a:cubicBezTo>
                  <a:cubicBezTo>
                    <a:pt x="2811" y="9182"/>
                    <a:pt x="4997" y="13429"/>
                    <a:pt x="812" y="13554"/>
                  </a:cubicBezTo>
                  <a:cubicBezTo>
                    <a:pt x="-500" y="12117"/>
                    <a:pt x="1562" y="10181"/>
                    <a:pt x="0" y="8807"/>
                  </a:cubicBezTo>
                  <a:cubicBezTo>
                    <a:pt x="687" y="7495"/>
                    <a:pt x="1374" y="6246"/>
                    <a:pt x="2061" y="4934"/>
                  </a:cubicBezTo>
                  <a:cubicBezTo>
                    <a:pt x="3185" y="3623"/>
                    <a:pt x="625" y="2249"/>
                    <a:pt x="2061" y="874"/>
                  </a:cubicBezTo>
                  <a:cubicBezTo>
                    <a:pt x="2061" y="562"/>
                    <a:pt x="2061" y="312"/>
                    <a:pt x="2186" y="0"/>
                  </a:cubicBezTo>
                  <a:close/>
                </a:path>
              </a:pathLst>
            </a:custGeom>
            <a:grpFill/>
            <a:ln w="6246" cap="flat">
              <a:noFill/>
              <a:prstDash val="solid"/>
              <a:miter/>
            </a:ln>
          </p:spPr>
          <p:txBody>
            <a:bodyPr rtlCol="0" anchor="ctr"/>
            <a:lstStyle/>
            <a:p>
              <a:endParaRPr lang="fr-FR" sz="2400"/>
            </a:p>
          </p:txBody>
        </p:sp>
        <p:sp>
          <p:nvSpPr>
            <p:cNvPr id="263" name="Freeform: Shape 262">
              <a:extLst>
                <a:ext uri="{FF2B5EF4-FFF2-40B4-BE49-F238E27FC236}">
                  <a16:creationId xmlns:a16="http://schemas.microsoft.com/office/drawing/2014/main" id="{53BB001B-1FDE-4362-ADEF-CF3A8BCA03D2}"/>
                </a:ext>
              </a:extLst>
            </p:cNvPr>
            <p:cNvSpPr/>
            <p:nvPr/>
          </p:nvSpPr>
          <p:spPr>
            <a:xfrm>
              <a:off x="1102470" y="506133"/>
              <a:ext cx="6246" cy="6246"/>
            </a:xfrm>
            <a:custGeom>
              <a:avLst/>
              <a:gdLst>
                <a:gd name="connsiteX0" fmla="*/ 3238 w 0"/>
                <a:gd name="connsiteY0" fmla="*/ 3107 h 0"/>
                <a:gd name="connsiteX1" fmla="*/ 53 w 0"/>
                <a:gd name="connsiteY1" fmla="*/ 4107 h 0"/>
                <a:gd name="connsiteX2" fmla="*/ 1114 w 0"/>
                <a:gd name="connsiteY2" fmla="*/ 1171 h 0"/>
                <a:gd name="connsiteX3" fmla="*/ 3176 w 0"/>
                <a:gd name="connsiteY3" fmla="*/ 234 h 0"/>
                <a:gd name="connsiteX4" fmla="*/ 4487 w 0"/>
                <a:gd name="connsiteY4" fmla="*/ 234 h 0"/>
                <a:gd name="connsiteX5" fmla="*/ 3238 w 0"/>
                <a:gd name="connsiteY5" fmla="*/ 310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238" y="3107"/>
                  </a:moveTo>
                  <a:cubicBezTo>
                    <a:pt x="2176" y="3420"/>
                    <a:pt x="1114" y="3794"/>
                    <a:pt x="53" y="4107"/>
                  </a:cubicBezTo>
                  <a:cubicBezTo>
                    <a:pt x="-197" y="2983"/>
                    <a:pt x="490" y="2108"/>
                    <a:pt x="1114" y="1171"/>
                  </a:cubicBezTo>
                  <a:cubicBezTo>
                    <a:pt x="1802" y="859"/>
                    <a:pt x="2489" y="547"/>
                    <a:pt x="3176" y="234"/>
                  </a:cubicBezTo>
                  <a:cubicBezTo>
                    <a:pt x="3613" y="-78"/>
                    <a:pt x="4050" y="-78"/>
                    <a:pt x="4487" y="234"/>
                  </a:cubicBezTo>
                  <a:cubicBezTo>
                    <a:pt x="4925" y="1483"/>
                    <a:pt x="4425" y="2420"/>
                    <a:pt x="3238" y="3107"/>
                  </a:cubicBezTo>
                  <a:close/>
                </a:path>
              </a:pathLst>
            </a:custGeom>
            <a:grpFill/>
            <a:ln w="6246" cap="flat">
              <a:noFill/>
              <a:prstDash val="solid"/>
              <a:miter/>
            </a:ln>
          </p:spPr>
          <p:txBody>
            <a:bodyPr rtlCol="0" anchor="ctr"/>
            <a:lstStyle/>
            <a:p>
              <a:endParaRPr lang="fr-FR" sz="2400"/>
            </a:p>
          </p:txBody>
        </p:sp>
        <p:sp>
          <p:nvSpPr>
            <p:cNvPr id="264" name="Freeform: Shape 263">
              <a:extLst>
                <a:ext uri="{FF2B5EF4-FFF2-40B4-BE49-F238E27FC236}">
                  <a16:creationId xmlns:a16="http://schemas.microsoft.com/office/drawing/2014/main" id="{5444E187-C9E6-4217-A969-2610CDCC1270}"/>
                </a:ext>
              </a:extLst>
            </p:cNvPr>
            <p:cNvSpPr/>
            <p:nvPr/>
          </p:nvSpPr>
          <p:spPr>
            <a:xfrm>
              <a:off x="1099213" y="517798"/>
              <a:ext cx="6246" cy="6246"/>
            </a:xfrm>
            <a:custGeom>
              <a:avLst/>
              <a:gdLst>
                <a:gd name="connsiteX0" fmla="*/ 999 w 0"/>
                <a:gd name="connsiteY0" fmla="*/ 0 h 0"/>
                <a:gd name="connsiteX1" fmla="*/ 999 w 0"/>
                <a:gd name="connsiteY1" fmla="*/ 4060 h 0"/>
                <a:gd name="connsiteX2" fmla="*/ 0 w 0"/>
                <a:gd name="connsiteY2" fmla="*/ 2124 h 0"/>
                <a:gd name="connsiteX3" fmla="*/ 99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99" y="0"/>
                  </a:moveTo>
                  <a:cubicBezTo>
                    <a:pt x="749" y="1374"/>
                    <a:pt x="2936" y="2686"/>
                    <a:pt x="999" y="4060"/>
                  </a:cubicBezTo>
                  <a:cubicBezTo>
                    <a:pt x="687" y="3435"/>
                    <a:pt x="375" y="2748"/>
                    <a:pt x="0" y="2124"/>
                  </a:cubicBezTo>
                  <a:cubicBezTo>
                    <a:pt x="375" y="1374"/>
                    <a:pt x="687" y="687"/>
                    <a:pt x="999" y="0"/>
                  </a:cubicBezTo>
                  <a:close/>
                </a:path>
              </a:pathLst>
            </a:custGeom>
            <a:grpFill/>
            <a:ln w="6246" cap="flat">
              <a:noFill/>
              <a:prstDash val="solid"/>
              <a:miter/>
            </a:ln>
          </p:spPr>
          <p:txBody>
            <a:bodyPr rtlCol="0" anchor="ctr"/>
            <a:lstStyle/>
            <a:p>
              <a:endParaRPr lang="fr-FR" sz="2400"/>
            </a:p>
          </p:txBody>
        </p:sp>
        <p:sp>
          <p:nvSpPr>
            <p:cNvPr id="265" name="Freeform: Shape 264">
              <a:extLst>
                <a:ext uri="{FF2B5EF4-FFF2-40B4-BE49-F238E27FC236}">
                  <a16:creationId xmlns:a16="http://schemas.microsoft.com/office/drawing/2014/main" id="{8CD0EA4D-9D8E-4DAA-8910-BA72D45E2A91}"/>
                </a:ext>
              </a:extLst>
            </p:cNvPr>
            <p:cNvSpPr/>
            <p:nvPr/>
          </p:nvSpPr>
          <p:spPr>
            <a:xfrm>
              <a:off x="1111165" y="488941"/>
              <a:ext cx="6246" cy="6246"/>
            </a:xfrm>
            <a:custGeom>
              <a:avLst/>
              <a:gdLst>
                <a:gd name="connsiteX0" fmla="*/ 3101 w 0"/>
                <a:gd name="connsiteY0" fmla="*/ 0 h 6246"/>
                <a:gd name="connsiteX1" fmla="*/ 5100 w 0"/>
                <a:gd name="connsiteY1" fmla="*/ 937 h 6246"/>
                <a:gd name="connsiteX2" fmla="*/ 5162 w 0"/>
                <a:gd name="connsiteY2" fmla="*/ 5871 h 6246"/>
                <a:gd name="connsiteX3" fmla="*/ 1977 w 0"/>
                <a:gd name="connsiteY3" fmla="*/ 9119 h 6246"/>
                <a:gd name="connsiteX4" fmla="*/ 103 w 0"/>
                <a:gd name="connsiteY4" fmla="*/ 7745 h 6246"/>
                <a:gd name="connsiteX5" fmla="*/ 915 w 0"/>
                <a:gd name="connsiteY5" fmla="*/ 4809 h 6246"/>
                <a:gd name="connsiteX6" fmla="*/ 310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101" y="0"/>
                  </a:moveTo>
                  <a:cubicBezTo>
                    <a:pt x="3788" y="312"/>
                    <a:pt x="4475" y="625"/>
                    <a:pt x="5100" y="937"/>
                  </a:cubicBezTo>
                  <a:cubicBezTo>
                    <a:pt x="6723" y="2561"/>
                    <a:pt x="5474" y="4247"/>
                    <a:pt x="5162" y="5871"/>
                  </a:cubicBezTo>
                  <a:cubicBezTo>
                    <a:pt x="4475" y="7245"/>
                    <a:pt x="4038" y="8807"/>
                    <a:pt x="1977" y="9119"/>
                  </a:cubicBezTo>
                  <a:cubicBezTo>
                    <a:pt x="1040" y="8994"/>
                    <a:pt x="415" y="8495"/>
                    <a:pt x="103" y="7745"/>
                  </a:cubicBezTo>
                  <a:cubicBezTo>
                    <a:pt x="-210" y="6621"/>
                    <a:pt x="228" y="5684"/>
                    <a:pt x="915" y="4809"/>
                  </a:cubicBezTo>
                  <a:cubicBezTo>
                    <a:pt x="1664" y="3248"/>
                    <a:pt x="2351" y="1624"/>
                    <a:pt x="3101" y="0"/>
                  </a:cubicBezTo>
                  <a:close/>
                </a:path>
              </a:pathLst>
            </a:custGeom>
            <a:grpFill/>
            <a:ln w="6246" cap="flat">
              <a:noFill/>
              <a:prstDash val="solid"/>
              <a:miter/>
            </a:ln>
          </p:spPr>
          <p:txBody>
            <a:bodyPr rtlCol="0" anchor="ctr"/>
            <a:lstStyle/>
            <a:p>
              <a:endParaRPr lang="fr-FR" sz="2400"/>
            </a:p>
          </p:txBody>
        </p:sp>
        <p:sp>
          <p:nvSpPr>
            <p:cNvPr id="266" name="Freeform: Shape 265">
              <a:extLst>
                <a:ext uri="{FF2B5EF4-FFF2-40B4-BE49-F238E27FC236}">
                  <a16:creationId xmlns:a16="http://schemas.microsoft.com/office/drawing/2014/main" id="{8C9D6398-CCE7-4C9E-B55A-8580029EEFF9}"/>
                </a:ext>
              </a:extLst>
            </p:cNvPr>
            <p:cNvSpPr/>
            <p:nvPr/>
          </p:nvSpPr>
          <p:spPr>
            <a:xfrm>
              <a:off x="1108894" y="493813"/>
              <a:ext cx="6246" cy="6246"/>
            </a:xfrm>
            <a:custGeom>
              <a:avLst/>
              <a:gdLst>
                <a:gd name="connsiteX0" fmla="*/ 3186 w 0"/>
                <a:gd name="connsiteY0" fmla="*/ 0 h 0"/>
                <a:gd name="connsiteX1" fmla="*/ 3123 w 0"/>
                <a:gd name="connsiteY1" fmla="*/ 2811 h 0"/>
                <a:gd name="connsiteX2" fmla="*/ 1874 w 0"/>
                <a:gd name="connsiteY2" fmla="*/ 4122 h 0"/>
                <a:gd name="connsiteX3" fmla="*/ 0 w 0"/>
                <a:gd name="connsiteY3" fmla="*/ 1874 h 0"/>
                <a:gd name="connsiteX4" fmla="*/ 0 w 0"/>
                <a:gd name="connsiteY4" fmla="*/ 1874 h 0"/>
                <a:gd name="connsiteX5" fmla="*/ 3186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6" y="0"/>
                  </a:moveTo>
                  <a:cubicBezTo>
                    <a:pt x="3186" y="937"/>
                    <a:pt x="3123" y="1874"/>
                    <a:pt x="3123" y="2811"/>
                  </a:cubicBezTo>
                  <a:cubicBezTo>
                    <a:pt x="2811" y="3373"/>
                    <a:pt x="2623" y="3997"/>
                    <a:pt x="1874" y="4122"/>
                  </a:cubicBezTo>
                  <a:cubicBezTo>
                    <a:pt x="250" y="4060"/>
                    <a:pt x="874" y="2436"/>
                    <a:pt x="0" y="1874"/>
                  </a:cubicBezTo>
                  <a:lnTo>
                    <a:pt x="0" y="1874"/>
                  </a:lnTo>
                  <a:cubicBezTo>
                    <a:pt x="1062" y="1249"/>
                    <a:pt x="2124" y="625"/>
                    <a:pt x="3186" y="0"/>
                  </a:cubicBezTo>
                  <a:close/>
                </a:path>
              </a:pathLst>
            </a:custGeom>
            <a:grpFill/>
            <a:ln w="6246" cap="flat">
              <a:noFill/>
              <a:prstDash val="solid"/>
              <a:miter/>
            </a:ln>
          </p:spPr>
          <p:txBody>
            <a:bodyPr rtlCol="0" anchor="ctr"/>
            <a:lstStyle/>
            <a:p>
              <a:endParaRPr lang="fr-FR" sz="2400"/>
            </a:p>
          </p:txBody>
        </p:sp>
        <p:sp>
          <p:nvSpPr>
            <p:cNvPr id="267" name="Freeform: Shape 266">
              <a:extLst>
                <a:ext uri="{FF2B5EF4-FFF2-40B4-BE49-F238E27FC236}">
                  <a16:creationId xmlns:a16="http://schemas.microsoft.com/office/drawing/2014/main" id="{147BFC48-5CDB-4FF7-BB82-CF86EBAD0CF6}"/>
                </a:ext>
              </a:extLst>
            </p:cNvPr>
            <p:cNvSpPr/>
            <p:nvPr/>
          </p:nvSpPr>
          <p:spPr>
            <a:xfrm>
              <a:off x="1094759" y="525668"/>
              <a:ext cx="6246" cy="18738"/>
            </a:xfrm>
            <a:custGeom>
              <a:avLst/>
              <a:gdLst>
                <a:gd name="connsiteX0" fmla="*/ 3392 w 0"/>
                <a:gd name="connsiteY0" fmla="*/ 0 h 18738"/>
                <a:gd name="connsiteX1" fmla="*/ 4641 w 0"/>
                <a:gd name="connsiteY1" fmla="*/ 4809 h 18738"/>
                <a:gd name="connsiteX2" fmla="*/ 5453 w 0"/>
                <a:gd name="connsiteY2" fmla="*/ 6059 h 18738"/>
                <a:gd name="connsiteX3" fmla="*/ 5016 w 0"/>
                <a:gd name="connsiteY3" fmla="*/ 11680 h 18738"/>
                <a:gd name="connsiteX4" fmla="*/ 3891 w 0"/>
                <a:gd name="connsiteY4" fmla="*/ 18676 h 18738"/>
                <a:gd name="connsiteX5" fmla="*/ 3204 w 0"/>
                <a:gd name="connsiteY5" fmla="*/ 19925 h 18738"/>
                <a:gd name="connsiteX6" fmla="*/ 1893 w 0"/>
                <a:gd name="connsiteY6" fmla="*/ 20550 h 18738"/>
                <a:gd name="connsiteX7" fmla="*/ 768 w 0"/>
                <a:gd name="connsiteY7" fmla="*/ 18301 h 18738"/>
                <a:gd name="connsiteX8" fmla="*/ 206 w 0"/>
                <a:gd name="connsiteY8" fmla="*/ 14491 h 18738"/>
                <a:gd name="connsiteX9" fmla="*/ 81 w 0"/>
                <a:gd name="connsiteY9" fmla="*/ 12617 h 18738"/>
                <a:gd name="connsiteX10" fmla="*/ 331 w 0"/>
                <a:gd name="connsiteY10" fmla="*/ 3935 h 18738"/>
                <a:gd name="connsiteX11" fmla="*/ 3392 w 0"/>
                <a:gd name="connsiteY11"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18738">
                  <a:moveTo>
                    <a:pt x="3392" y="0"/>
                  </a:moveTo>
                  <a:cubicBezTo>
                    <a:pt x="5078" y="1312"/>
                    <a:pt x="4079" y="3248"/>
                    <a:pt x="4641" y="4809"/>
                  </a:cubicBezTo>
                  <a:cubicBezTo>
                    <a:pt x="5016" y="5122"/>
                    <a:pt x="5266" y="5559"/>
                    <a:pt x="5453" y="6059"/>
                  </a:cubicBezTo>
                  <a:cubicBezTo>
                    <a:pt x="5640" y="7932"/>
                    <a:pt x="4891" y="9806"/>
                    <a:pt x="5016" y="11680"/>
                  </a:cubicBezTo>
                  <a:cubicBezTo>
                    <a:pt x="4828" y="14054"/>
                    <a:pt x="5016" y="16427"/>
                    <a:pt x="3891" y="18676"/>
                  </a:cubicBezTo>
                  <a:cubicBezTo>
                    <a:pt x="3704" y="19113"/>
                    <a:pt x="3517" y="19550"/>
                    <a:pt x="3204" y="19925"/>
                  </a:cubicBezTo>
                  <a:cubicBezTo>
                    <a:pt x="2830" y="20300"/>
                    <a:pt x="2392" y="20487"/>
                    <a:pt x="1893" y="20550"/>
                  </a:cubicBezTo>
                  <a:cubicBezTo>
                    <a:pt x="644" y="20175"/>
                    <a:pt x="831" y="19175"/>
                    <a:pt x="768" y="18301"/>
                  </a:cubicBezTo>
                  <a:cubicBezTo>
                    <a:pt x="768" y="16989"/>
                    <a:pt x="-481" y="15865"/>
                    <a:pt x="206" y="14491"/>
                  </a:cubicBezTo>
                  <a:cubicBezTo>
                    <a:pt x="144" y="13866"/>
                    <a:pt x="144" y="13242"/>
                    <a:pt x="81" y="12617"/>
                  </a:cubicBezTo>
                  <a:cubicBezTo>
                    <a:pt x="1955" y="9744"/>
                    <a:pt x="581" y="6871"/>
                    <a:pt x="331" y="3935"/>
                  </a:cubicBezTo>
                  <a:cubicBezTo>
                    <a:pt x="2080" y="3123"/>
                    <a:pt x="3704" y="2186"/>
                    <a:pt x="3392" y="0"/>
                  </a:cubicBezTo>
                  <a:close/>
                </a:path>
              </a:pathLst>
            </a:custGeom>
            <a:grpFill/>
            <a:ln w="6246" cap="flat">
              <a:noFill/>
              <a:prstDash val="solid"/>
              <a:miter/>
            </a:ln>
          </p:spPr>
          <p:txBody>
            <a:bodyPr rtlCol="0" anchor="ctr"/>
            <a:lstStyle/>
            <a:p>
              <a:endParaRPr lang="fr-FR" sz="2400"/>
            </a:p>
          </p:txBody>
        </p:sp>
        <p:sp>
          <p:nvSpPr>
            <p:cNvPr id="268" name="Freeform: Shape 267">
              <a:extLst>
                <a:ext uri="{FF2B5EF4-FFF2-40B4-BE49-F238E27FC236}">
                  <a16:creationId xmlns:a16="http://schemas.microsoft.com/office/drawing/2014/main" id="{E176F388-679A-46E3-AEA7-633C0F613D6E}"/>
                </a:ext>
              </a:extLst>
            </p:cNvPr>
            <p:cNvSpPr/>
            <p:nvPr/>
          </p:nvSpPr>
          <p:spPr>
            <a:xfrm>
              <a:off x="1105584" y="498622"/>
              <a:ext cx="6246" cy="6246"/>
            </a:xfrm>
            <a:custGeom>
              <a:avLst/>
              <a:gdLst>
                <a:gd name="connsiteX0" fmla="*/ 1187 w 0"/>
                <a:gd name="connsiteY0" fmla="*/ 7745 h 6246"/>
                <a:gd name="connsiteX1" fmla="*/ 125 w 0"/>
                <a:gd name="connsiteY1" fmla="*/ 7745 h 6246"/>
                <a:gd name="connsiteX2" fmla="*/ 0 w 0"/>
                <a:gd name="connsiteY2" fmla="*/ 2686 h 6246"/>
                <a:gd name="connsiteX3" fmla="*/ 1187 w 0"/>
                <a:gd name="connsiteY3" fmla="*/ 0 h 6246"/>
                <a:gd name="connsiteX4" fmla="*/ 2374 w 0"/>
                <a:gd name="connsiteY4" fmla="*/ 999 h 6246"/>
                <a:gd name="connsiteX5" fmla="*/ 3560 w 0"/>
                <a:gd name="connsiteY5" fmla="*/ 6184 h 6246"/>
                <a:gd name="connsiteX6" fmla="*/ 2811 w 0"/>
                <a:gd name="connsiteY6" fmla="*/ 7558 h 6246"/>
                <a:gd name="connsiteX7" fmla="*/ 1187 w 0"/>
                <a:gd name="connsiteY7"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1187" y="7745"/>
                  </a:moveTo>
                  <a:cubicBezTo>
                    <a:pt x="812" y="7745"/>
                    <a:pt x="437" y="7745"/>
                    <a:pt x="125" y="7745"/>
                  </a:cubicBezTo>
                  <a:cubicBezTo>
                    <a:pt x="687" y="6059"/>
                    <a:pt x="562" y="4372"/>
                    <a:pt x="0" y="2686"/>
                  </a:cubicBezTo>
                  <a:cubicBezTo>
                    <a:pt x="375" y="1811"/>
                    <a:pt x="750" y="874"/>
                    <a:pt x="1187" y="0"/>
                  </a:cubicBezTo>
                  <a:cubicBezTo>
                    <a:pt x="1562" y="312"/>
                    <a:pt x="1936" y="687"/>
                    <a:pt x="2374" y="999"/>
                  </a:cubicBezTo>
                  <a:cubicBezTo>
                    <a:pt x="3935" y="2498"/>
                    <a:pt x="3873" y="4310"/>
                    <a:pt x="3560" y="6184"/>
                  </a:cubicBezTo>
                  <a:cubicBezTo>
                    <a:pt x="3435" y="6683"/>
                    <a:pt x="3186" y="7183"/>
                    <a:pt x="2811" y="7558"/>
                  </a:cubicBezTo>
                  <a:cubicBezTo>
                    <a:pt x="2249" y="7995"/>
                    <a:pt x="1749" y="8057"/>
                    <a:pt x="1187" y="7745"/>
                  </a:cubicBezTo>
                  <a:close/>
                </a:path>
              </a:pathLst>
            </a:custGeom>
            <a:grpFill/>
            <a:ln w="6246" cap="flat">
              <a:noFill/>
              <a:prstDash val="solid"/>
              <a:miter/>
            </a:ln>
          </p:spPr>
          <p:txBody>
            <a:bodyPr rtlCol="0" anchor="ctr"/>
            <a:lstStyle/>
            <a:p>
              <a:endParaRPr lang="fr-FR" sz="2400"/>
            </a:p>
          </p:txBody>
        </p:sp>
        <p:sp>
          <p:nvSpPr>
            <p:cNvPr id="269" name="Freeform: Shape 268">
              <a:extLst>
                <a:ext uri="{FF2B5EF4-FFF2-40B4-BE49-F238E27FC236}">
                  <a16:creationId xmlns:a16="http://schemas.microsoft.com/office/drawing/2014/main" id="{D96961A7-34D9-4CD5-88D3-6940B1167725}"/>
                </a:ext>
              </a:extLst>
            </p:cNvPr>
            <p:cNvSpPr/>
            <p:nvPr/>
          </p:nvSpPr>
          <p:spPr>
            <a:xfrm>
              <a:off x="1107832" y="499559"/>
              <a:ext cx="6246" cy="6246"/>
            </a:xfrm>
            <a:custGeom>
              <a:avLst/>
              <a:gdLst>
                <a:gd name="connsiteX0" fmla="*/ 63 w 0"/>
                <a:gd name="connsiteY0" fmla="*/ 5934 h 6246"/>
                <a:gd name="connsiteX1" fmla="*/ 0 w 0"/>
                <a:gd name="connsiteY1" fmla="*/ 62 h 6246"/>
                <a:gd name="connsiteX2" fmla="*/ 999 w 0"/>
                <a:gd name="connsiteY2" fmla="*/ 0 h 6246"/>
                <a:gd name="connsiteX3" fmla="*/ 1936 w 0"/>
                <a:gd name="connsiteY3" fmla="*/ 999 h 6246"/>
                <a:gd name="connsiteX4" fmla="*/ 3623 w 0"/>
                <a:gd name="connsiteY4" fmla="*/ 5372 h 6246"/>
                <a:gd name="connsiteX5" fmla="*/ 1062 w 0"/>
                <a:gd name="connsiteY5" fmla="*/ 9869 h 6246"/>
                <a:gd name="connsiteX6" fmla="*/ 63 w 0"/>
                <a:gd name="connsiteY6" fmla="*/ 59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63" y="5934"/>
                  </a:moveTo>
                  <a:cubicBezTo>
                    <a:pt x="63" y="3997"/>
                    <a:pt x="63" y="1999"/>
                    <a:pt x="0" y="62"/>
                  </a:cubicBezTo>
                  <a:cubicBezTo>
                    <a:pt x="312" y="62"/>
                    <a:pt x="687" y="0"/>
                    <a:pt x="999" y="0"/>
                  </a:cubicBezTo>
                  <a:cubicBezTo>
                    <a:pt x="1374" y="250"/>
                    <a:pt x="1749" y="562"/>
                    <a:pt x="1936" y="999"/>
                  </a:cubicBezTo>
                  <a:cubicBezTo>
                    <a:pt x="2374" y="2498"/>
                    <a:pt x="2998" y="3935"/>
                    <a:pt x="3623" y="5372"/>
                  </a:cubicBezTo>
                  <a:cubicBezTo>
                    <a:pt x="3498" y="7183"/>
                    <a:pt x="3935" y="9307"/>
                    <a:pt x="1062" y="9869"/>
                  </a:cubicBezTo>
                  <a:cubicBezTo>
                    <a:pt x="-687" y="8807"/>
                    <a:pt x="750" y="7121"/>
                    <a:pt x="63" y="5934"/>
                  </a:cubicBezTo>
                  <a:close/>
                </a:path>
              </a:pathLst>
            </a:custGeom>
            <a:grpFill/>
            <a:ln w="6246" cap="flat">
              <a:noFill/>
              <a:prstDash val="solid"/>
              <a:miter/>
            </a:ln>
          </p:spPr>
          <p:txBody>
            <a:bodyPr rtlCol="0" anchor="ctr"/>
            <a:lstStyle/>
            <a:p>
              <a:endParaRPr lang="fr-FR" sz="2400"/>
            </a:p>
          </p:txBody>
        </p:sp>
        <p:sp>
          <p:nvSpPr>
            <p:cNvPr id="270" name="Freeform: Shape 269">
              <a:extLst>
                <a:ext uri="{FF2B5EF4-FFF2-40B4-BE49-F238E27FC236}">
                  <a16:creationId xmlns:a16="http://schemas.microsoft.com/office/drawing/2014/main" id="{B3468380-F3E3-4558-84ED-2F5B7D3D4771}"/>
                </a:ext>
              </a:extLst>
            </p:cNvPr>
            <p:cNvSpPr/>
            <p:nvPr/>
          </p:nvSpPr>
          <p:spPr>
            <a:xfrm>
              <a:off x="1108894" y="495687"/>
              <a:ext cx="6246" cy="6246"/>
            </a:xfrm>
            <a:custGeom>
              <a:avLst/>
              <a:gdLst>
                <a:gd name="connsiteX0" fmla="*/ 0 w 0"/>
                <a:gd name="connsiteY0" fmla="*/ 4872 h 0"/>
                <a:gd name="connsiteX1" fmla="*/ 0 w 0"/>
                <a:gd name="connsiteY1" fmla="*/ 3873 h 0"/>
                <a:gd name="connsiteX2" fmla="*/ 0 w 0"/>
                <a:gd name="connsiteY2" fmla="*/ 0 h 0"/>
                <a:gd name="connsiteX3" fmla="*/ 2124 w 0"/>
                <a:gd name="connsiteY3" fmla="*/ 1936 h 0"/>
                <a:gd name="connsiteX4" fmla="*/ 1499 w 0"/>
                <a:gd name="connsiteY4" fmla="*/ 4997 h 0"/>
                <a:gd name="connsiteX5" fmla="*/ 0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72"/>
                  </a:moveTo>
                  <a:cubicBezTo>
                    <a:pt x="0" y="4560"/>
                    <a:pt x="0" y="4185"/>
                    <a:pt x="0" y="3873"/>
                  </a:cubicBezTo>
                  <a:cubicBezTo>
                    <a:pt x="0" y="2561"/>
                    <a:pt x="0" y="1312"/>
                    <a:pt x="0" y="0"/>
                  </a:cubicBezTo>
                  <a:cubicBezTo>
                    <a:pt x="687" y="625"/>
                    <a:pt x="1437" y="1249"/>
                    <a:pt x="2124" y="1936"/>
                  </a:cubicBezTo>
                  <a:cubicBezTo>
                    <a:pt x="3373" y="3186"/>
                    <a:pt x="2623" y="4122"/>
                    <a:pt x="1499" y="4997"/>
                  </a:cubicBezTo>
                  <a:cubicBezTo>
                    <a:pt x="937" y="5247"/>
                    <a:pt x="437" y="5247"/>
                    <a:pt x="0" y="4872"/>
                  </a:cubicBezTo>
                  <a:close/>
                </a:path>
              </a:pathLst>
            </a:custGeom>
            <a:grpFill/>
            <a:ln w="6246" cap="flat">
              <a:noFill/>
              <a:prstDash val="solid"/>
              <a:miter/>
            </a:ln>
          </p:spPr>
          <p:txBody>
            <a:bodyPr rtlCol="0" anchor="ctr"/>
            <a:lstStyle/>
            <a:p>
              <a:endParaRPr lang="fr-FR" sz="2400"/>
            </a:p>
          </p:txBody>
        </p:sp>
        <p:sp>
          <p:nvSpPr>
            <p:cNvPr id="271" name="Freeform: Shape 270">
              <a:extLst>
                <a:ext uri="{FF2B5EF4-FFF2-40B4-BE49-F238E27FC236}">
                  <a16:creationId xmlns:a16="http://schemas.microsoft.com/office/drawing/2014/main" id="{39BB2937-28B4-4612-AF6E-A776AD7F9557}"/>
                </a:ext>
              </a:extLst>
            </p:cNvPr>
            <p:cNvSpPr/>
            <p:nvPr/>
          </p:nvSpPr>
          <p:spPr>
            <a:xfrm>
              <a:off x="1132442" y="637165"/>
              <a:ext cx="18738" cy="12492"/>
            </a:xfrm>
            <a:custGeom>
              <a:avLst/>
              <a:gdLst>
                <a:gd name="connsiteX0" fmla="*/ 0 w 18738"/>
                <a:gd name="connsiteY0" fmla="*/ 1557 h 12492"/>
                <a:gd name="connsiteX1" fmla="*/ 4122 w 18738"/>
                <a:gd name="connsiteY1" fmla="*/ 995 h 12492"/>
                <a:gd name="connsiteX2" fmla="*/ 12055 w 18738"/>
                <a:gd name="connsiteY2" fmla="*/ 7241 h 12492"/>
                <a:gd name="connsiteX3" fmla="*/ 22174 w 18738"/>
                <a:gd name="connsiteY3" fmla="*/ 12612 h 12492"/>
                <a:gd name="connsiteX4" fmla="*/ 24610 w 18738"/>
                <a:gd name="connsiteY4" fmla="*/ 16985 h 12492"/>
                <a:gd name="connsiteX5" fmla="*/ 19238 w 18738"/>
                <a:gd name="connsiteY5" fmla="*/ 16048 h 12492"/>
                <a:gd name="connsiteX6" fmla="*/ 0 w 18738"/>
                <a:gd name="connsiteY6" fmla="*/ 155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2492">
                  <a:moveTo>
                    <a:pt x="0" y="1557"/>
                  </a:moveTo>
                  <a:cubicBezTo>
                    <a:pt x="1124" y="-380"/>
                    <a:pt x="2374" y="-442"/>
                    <a:pt x="4122" y="995"/>
                  </a:cubicBezTo>
                  <a:cubicBezTo>
                    <a:pt x="6683" y="3118"/>
                    <a:pt x="9556" y="5055"/>
                    <a:pt x="12055" y="7241"/>
                  </a:cubicBezTo>
                  <a:cubicBezTo>
                    <a:pt x="14928" y="9864"/>
                    <a:pt x="18551" y="11301"/>
                    <a:pt x="22174" y="12612"/>
                  </a:cubicBezTo>
                  <a:cubicBezTo>
                    <a:pt x="24672" y="13549"/>
                    <a:pt x="25172" y="14923"/>
                    <a:pt x="24610" y="16985"/>
                  </a:cubicBezTo>
                  <a:cubicBezTo>
                    <a:pt x="22798" y="16672"/>
                    <a:pt x="21049" y="16360"/>
                    <a:pt x="19238" y="16048"/>
                  </a:cubicBezTo>
                  <a:cubicBezTo>
                    <a:pt x="12242" y="11925"/>
                    <a:pt x="5996" y="6866"/>
                    <a:pt x="0" y="1557"/>
                  </a:cubicBezTo>
                  <a:close/>
                </a:path>
              </a:pathLst>
            </a:custGeom>
            <a:grpFill/>
            <a:ln w="6246" cap="flat">
              <a:noFill/>
              <a:prstDash val="solid"/>
              <a:miter/>
            </a:ln>
          </p:spPr>
          <p:txBody>
            <a:bodyPr rtlCol="0" anchor="ctr"/>
            <a:lstStyle/>
            <a:p>
              <a:endParaRPr lang="fr-FR" sz="2400"/>
            </a:p>
          </p:txBody>
        </p:sp>
        <p:sp>
          <p:nvSpPr>
            <p:cNvPr id="272" name="Freeform: Shape 271">
              <a:extLst>
                <a:ext uri="{FF2B5EF4-FFF2-40B4-BE49-F238E27FC236}">
                  <a16:creationId xmlns:a16="http://schemas.microsoft.com/office/drawing/2014/main" id="{007D8A5F-3481-4AAB-929C-9BC2E6D6461E}"/>
                </a:ext>
              </a:extLst>
            </p:cNvPr>
            <p:cNvSpPr/>
            <p:nvPr/>
          </p:nvSpPr>
          <p:spPr>
            <a:xfrm>
              <a:off x="1119308" y="619367"/>
              <a:ext cx="24984" cy="18738"/>
            </a:xfrm>
            <a:custGeom>
              <a:avLst/>
              <a:gdLst>
                <a:gd name="connsiteX0" fmla="*/ 25938 w 24984"/>
                <a:gd name="connsiteY0" fmla="*/ 22353 h 18738"/>
                <a:gd name="connsiteX1" fmla="*/ 13758 w 24984"/>
                <a:gd name="connsiteY1" fmla="*/ 10798 h 18738"/>
                <a:gd name="connsiteX2" fmla="*/ 12009 w 24984"/>
                <a:gd name="connsiteY2" fmla="*/ 15607 h 18738"/>
                <a:gd name="connsiteX3" fmla="*/ 1328 w 24984"/>
                <a:gd name="connsiteY3" fmla="*/ 3990 h 18738"/>
                <a:gd name="connsiteX4" fmla="*/ 142 w 24984"/>
                <a:gd name="connsiteY4" fmla="*/ 1804 h 18738"/>
                <a:gd name="connsiteX5" fmla="*/ 6013 w 24984"/>
                <a:gd name="connsiteY5" fmla="*/ 1804 h 18738"/>
                <a:gd name="connsiteX6" fmla="*/ 9074 w 24984"/>
                <a:gd name="connsiteY6" fmla="*/ 6238 h 18738"/>
                <a:gd name="connsiteX7" fmla="*/ 13009 w 24984"/>
                <a:gd name="connsiteY7" fmla="*/ 8362 h 18738"/>
                <a:gd name="connsiteX8" fmla="*/ 15070 w 24984"/>
                <a:gd name="connsiteY8" fmla="*/ 8362 h 18738"/>
                <a:gd name="connsiteX9" fmla="*/ 26812 w 24984"/>
                <a:gd name="connsiteY9" fmla="*/ 20479 h 18738"/>
                <a:gd name="connsiteX10" fmla="*/ 25938 w 24984"/>
                <a:gd name="connsiteY10" fmla="*/ 2235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8738">
                  <a:moveTo>
                    <a:pt x="25938" y="22353"/>
                  </a:moveTo>
                  <a:cubicBezTo>
                    <a:pt x="21253" y="19355"/>
                    <a:pt x="16007" y="16857"/>
                    <a:pt x="13758" y="10798"/>
                  </a:cubicBezTo>
                  <a:cubicBezTo>
                    <a:pt x="13071" y="12734"/>
                    <a:pt x="12571" y="14171"/>
                    <a:pt x="12009" y="15607"/>
                  </a:cubicBezTo>
                  <a:cubicBezTo>
                    <a:pt x="5888" y="13671"/>
                    <a:pt x="4389" y="8237"/>
                    <a:pt x="1328" y="3990"/>
                  </a:cubicBezTo>
                  <a:cubicBezTo>
                    <a:pt x="329" y="3553"/>
                    <a:pt x="-295" y="2865"/>
                    <a:pt x="142" y="1804"/>
                  </a:cubicBezTo>
                  <a:cubicBezTo>
                    <a:pt x="2078" y="-570"/>
                    <a:pt x="4077" y="-632"/>
                    <a:pt x="6013" y="1804"/>
                  </a:cubicBezTo>
                  <a:cubicBezTo>
                    <a:pt x="7137" y="3240"/>
                    <a:pt x="8449" y="4614"/>
                    <a:pt x="9074" y="6238"/>
                  </a:cubicBezTo>
                  <a:cubicBezTo>
                    <a:pt x="9761" y="8050"/>
                    <a:pt x="10323" y="9674"/>
                    <a:pt x="13009" y="8362"/>
                  </a:cubicBezTo>
                  <a:cubicBezTo>
                    <a:pt x="13633" y="8050"/>
                    <a:pt x="14570" y="7987"/>
                    <a:pt x="15070" y="8362"/>
                  </a:cubicBezTo>
                  <a:cubicBezTo>
                    <a:pt x="19380" y="12047"/>
                    <a:pt x="26000" y="13983"/>
                    <a:pt x="26812" y="20479"/>
                  </a:cubicBezTo>
                  <a:cubicBezTo>
                    <a:pt x="26812" y="21229"/>
                    <a:pt x="26563" y="21854"/>
                    <a:pt x="25938" y="22353"/>
                  </a:cubicBezTo>
                  <a:close/>
                </a:path>
              </a:pathLst>
            </a:custGeom>
            <a:grpFill/>
            <a:ln w="6246" cap="flat">
              <a:noFill/>
              <a:prstDash val="solid"/>
              <a:miter/>
            </a:ln>
          </p:spPr>
          <p:txBody>
            <a:bodyPr rtlCol="0" anchor="ctr"/>
            <a:lstStyle/>
            <a:p>
              <a:endParaRPr lang="fr-FR" sz="2400"/>
            </a:p>
          </p:txBody>
        </p:sp>
        <p:sp>
          <p:nvSpPr>
            <p:cNvPr id="273" name="Freeform: Shape 272">
              <a:extLst>
                <a:ext uri="{FF2B5EF4-FFF2-40B4-BE49-F238E27FC236}">
                  <a16:creationId xmlns:a16="http://schemas.microsoft.com/office/drawing/2014/main" id="{546B4AC6-907B-46CA-9577-919AB2B9986F}"/>
                </a:ext>
              </a:extLst>
            </p:cNvPr>
            <p:cNvSpPr/>
            <p:nvPr/>
          </p:nvSpPr>
          <p:spPr>
            <a:xfrm>
              <a:off x="1116389" y="620483"/>
              <a:ext cx="6246" cy="6246"/>
            </a:xfrm>
            <a:custGeom>
              <a:avLst/>
              <a:gdLst>
                <a:gd name="connsiteX0" fmla="*/ 3185 w 0"/>
                <a:gd name="connsiteY0" fmla="*/ 937 h 0"/>
                <a:gd name="connsiteX1" fmla="*/ 4247 w 0"/>
                <a:gd name="connsiteY1" fmla="*/ 2936 h 0"/>
                <a:gd name="connsiteX2" fmla="*/ 2124 w 0"/>
                <a:gd name="connsiteY2" fmla="*/ 3873 h 0"/>
                <a:gd name="connsiteX3" fmla="*/ 0 w 0"/>
                <a:gd name="connsiteY3" fmla="*/ 0 h 0"/>
                <a:gd name="connsiteX4" fmla="*/ 2124 w 0"/>
                <a:gd name="connsiteY4" fmla="*/ 0 h 0"/>
                <a:gd name="connsiteX5" fmla="*/ 3185 w 0"/>
                <a:gd name="connsiteY5"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85" y="937"/>
                  </a:moveTo>
                  <a:cubicBezTo>
                    <a:pt x="3560" y="1624"/>
                    <a:pt x="3873" y="2249"/>
                    <a:pt x="4247" y="2936"/>
                  </a:cubicBezTo>
                  <a:cubicBezTo>
                    <a:pt x="3560" y="3248"/>
                    <a:pt x="2811" y="3560"/>
                    <a:pt x="2124" y="3873"/>
                  </a:cubicBezTo>
                  <a:cubicBezTo>
                    <a:pt x="749" y="2873"/>
                    <a:pt x="187" y="1499"/>
                    <a:pt x="0" y="0"/>
                  </a:cubicBezTo>
                  <a:cubicBezTo>
                    <a:pt x="687" y="0"/>
                    <a:pt x="1437" y="0"/>
                    <a:pt x="2124" y="0"/>
                  </a:cubicBezTo>
                  <a:cubicBezTo>
                    <a:pt x="2498" y="250"/>
                    <a:pt x="3123" y="312"/>
                    <a:pt x="3185" y="937"/>
                  </a:cubicBezTo>
                  <a:close/>
                </a:path>
              </a:pathLst>
            </a:custGeom>
            <a:grpFill/>
            <a:ln w="6246" cap="flat">
              <a:noFill/>
              <a:prstDash val="solid"/>
              <a:miter/>
            </a:ln>
          </p:spPr>
          <p:txBody>
            <a:bodyPr rtlCol="0" anchor="ctr"/>
            <a:lstStyle/>
            <a:p>
              <a:endParaRPr lang="fr-FR" sz="2400"/>
            </a:p>
          </p:txBody>
        </p:sp>
        <p:sp>
          <p:nvSpPr>
            <p:cNvPr id="274" name="Freeform: Shape 273">
              <a:extLst>
                <a:ext uri="{FF2B5EF4-FFF2-40B4-BE49-F238E27FC236}">
                  <a16:creationId xmlns:a16="http://schemas.microsoft.com/office/drawing/2014/main" id="{3166172A-A15A-4130-98A8-1E5050BABB0D}"/>
                </a:ext>
              </a:extLst>
            </p:cNvPr>
            <p:cNvSpPr/>
            <p:nvPr/>
          </p:nvSpPr>
          <p:spPr>
            <a:xfrm>
              <a:off x="1092904" y="549679"/>
              <a:ext cx="6246" cy="12492"/>
            </a:xfrm>
            <a:custGeom>
              <a:avLst/>
              <a:gdLst>
                <a:gd name="connsiteX0" fmla="*/ 3248 w 0"/>
                <a:gd name="connsiteY0" fmla="*/ 14527 h 12492"/>
                <a:gd name="connsiteX1" fmla="*/ 1062 w 0"/>
                <a:gd name="connsiteY1" fmla="*/ 14714 h 12492"/>
                <a:gd name="connsiteX2" fmla="*/ 0 w 0"/>
                <a:gd name="connsiteY2" fmla="*/ 6969 h 12492"/>
                <a:gd name="connsiteX3" fmla="*/ 437 w 0"/>
                <a:gd name="connsiteY3" fmla="*/ 473 h 12492"/>
                <a:gd name="connsiteX4" fmla="*/ 3748 w 0"/>
                <a:gd name="connsiteY4" fmla="*/ 2347 h 12492"/>
                <a:gd name="connsiteX5" fmla="*/ 4060 w 0"/>
                <a:gd name="connsiteY5" fmla="*/ 3784 h 12492"/>
                <a:gd name="connsiteX6" fmla="*/ 3248 w 0"/>
                <a:gd name="connsiteY6" fmla="*/ 145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3248" y="14527"/>
                  </a:moveTo>
                  <a:cubicBezTo>
                    <a:pt x="2623" y="15589"/>
                    <a:pt x="1811" y="14839"/>
                    <a:pt x="1062" y="14714"/>
                  </a:cubicBezTo>
                  <a:cubicBezTo>
                    <a:pt x="687" y="12154"/>
                    <a:pt x="312" y="9593"/>
                    <a:pt x="0" y="6969"/>
                  </a:cubicBezTo>
                  <a:cubicBezTo>
                    <a:pt x="1437" y="4846"/>
                    <a:pt x="-625" y="2597"/>
                    <a:pt x="437" y="473"/>
                  </a:cubicBezTo>
                  <a:cubicBezTo>
                    <a:pt x="2998" y="-963"/>
                    <a:pt x="2998" y="1223"/>
                    <a:pt x="3748" y="2347"/>
                  </a:cubicBezTo>
                  <a:cubicBezTo>
                    <a:pt x="3935" y="2847"/>
                    <a:pt x="3997" y="3284"/>
                    <a:pt x="4060" y="3784"/>
                  </a:cubicBezTo>
                  <a:cubicBezTo>
                    <a:pt x="3997" y="7469"/>
                    <a:pt x="5934" y="11154"/>
                    <a:pt x="3248" y="14527"/>
                  </a:cubicBezTo>
                  <a:close/>
                </a:path>
              </a:pathLst>
            </a:custGeom>
            <a:grpFill/>
            <a:ln w="6246" cap="flat">
              <a:noFill/>
              <a:prstDash val="solid"/>
              <a:miter/>
            </a:ln>
          </p:spPr>
          <p:txBody>
            <a:bodyPr rtlCol="0" anchor="ctr"/>
            <a:lstStyle/>
            <a:p>
              <a:endParaRPr lang="fr-FR" sz="2400"/>
            </a:p>
          </p:txBody>
        </p:sp>
        <p:sp>
          <p:nvSpPr>
            <p:cNvPr id="275" name="Freeform: Shape 274">
              <a:extLst>
                <a:ext uri="{FF2B5EF4-FFF2-40B4-BE49-F238E27FC236}">
                  <a16:creationId xmlns:a16="http://schemas.microsoft.com/office/drawing/2014/main" id="{4A6D2D7A-9B15-42A8-AF13-6AC116FC133E}"/>
                </a:ext>
              </a:extLst>
            </p:cNvPr>
            <p:cNvSpPr/>
            <p:nvPr/>
          </p:nvSpPr>
          <p:spPr>
            <a:xfrm>
              <a:off x="1091777" y="547904"/>
              <a:ext cx="6246" cy="6246"/>
            </a:xfrm>
            <a:custGeom>
              <a:avLst/>
              <a:gdLst>
                <a:gd name="connsiteX0" fmla="*/ 1939 w 0"/>
                <a:gd name="connsiteY0" fmla="*/ 1936 h 6246"/>
                <a:gd name="connsiteX1" fmla="*/ 1127 w 0"/>
                <a:gd name="connsiteY1" fmla="*/ 8807 h 6246"/>
                <a:gd name="connsiteX2" fmla="*/ 1002 w 0"/>
                <a:gd name="connsiteY2" fmla="*/ 0 h 6246"/>
                <a:gd name="connsiteX3" fmla="*/ 1939 w 0"/>
                <a:gd name="connsiteY3" fmla="*/ 1936 h 6246"/>
              </a:gdLst>
              <a:ahLst/>
              <a:cxnLst>
                <a:cxn ang="0">
                  <a:pos x="connsiteX0" y="connsiteY0"/>
                </a:cxn>
                <a:cxn ang="0">
                  <a:pos x="connsiteX1" y="connsiteY1"/>
                </a:cxn>
                <a:cxn ang="0">
                  <a:pos x="connsiteX2" y="connsiteY2"/>
                </a:cxn>
                <a:cxn ang="0">
                  <a:pos x="connsiteX3" y="connsiteY3"/>
                </a:cxn>
              </a:cxnLst>
              <a:rect l="l" t="t" r="r" b="b"/>
              <a:pathLst>
                <a:path h="6246">
                  <a:moveTo>
                    <a:pt x="1939" y="1936"/>
                  </a:moveTo>
                  <a:cubicBezTo>
                    <a:pt x="1752" y="4247"/>
                    <a:pt x="3064" y="6683"/>
                    <a:pt x="1127" y="8807"/>
                  </a:cubicBezTo>
                  <a:cubicBezTo>
                    <a:pt x="1814" y="5871"/>
                    <a:pt x="-1621" y="2998"/>
                    <a:pt x="1002" y="0"/>
                  </a:cubicBezTo>
                  <a:cubicBezTo>
                    <a:pt x="1814" y="437"/>
                    <a:pt x="2127" y="1062"/>
                    <a:pt x="1939" y="1936"/>
                  </a:cubicBezTo>
                  <a:close/>
                </a:path>
              </a:pathLst>
            </a:custGeom>
            <a:grpFill/>
            <a:ln w="6246" cap="flat">
              <a:noFill/>
              <a:prstDash val="solid"/>
              <a:miter/>
            </a:ln>
          </p:spPr>
          <p:txBody>
            <a:bodyPr rtlCol="0" anchor="ctr"/>
            <a:lstStyle/>
            <a:p>
              <a:endParaRPr lang="fr-FR" sz="2400"/>
            </a:p>
          </p:txBody>
        </p:sp>
        <p:sp>
          <p:nvSpPr>
            <p:cNvPr id="276" name="Freeform: Shape 275">
              <a:extLst>
                <a:ext uri="{FF2B5EF4-FFF2-40B4-BE49-F238E27FC236}">
                  <a16:creationId xmlns:a16="http://schemas.microsoft.com/office/drawing/2014/main" id="{5F111F63-3F60-4FC2-91BB-E3FA00ACE8FE}"/>
                </a:ext>
              </a:extLst>
            </p:cNvPr>
            <p:cNvSpPr/>
            <p:nvPr/>
          </p:nvSpPr>
          <p:spPr>
            <a:xfrm>
              <a:off x="1092353" y="545968"/>
              <a:ext cx="6246" cy="6246"/>
            </a:xfrm>
            <a:custGeom>
              <a:avLst/>
              <a:gdLst>
                <a:gd name="connsiteX0" fmla="*/ 1363 w 0"/>
                <a:gd name="connsiteY0" fmla="*/ 3873 h 6246"/>
                <a:gd name="connsiteX1" fmla="*/ 426 w 0"/>
                <a:gd name="connsiteY1" fmla="*/ 1936 h 6246"/>
                <a:gd name="connsiteX2" fmla="*/ 489 w 0"/>
                <a:gd name="connsiteY2" fmla="*/ 0 h 6246"/>
                <a:gd name="connsiteX3" fmla="*/ 2675 w 0"/>
                <a:gd name="connsiteY3" fmla="*/ 1936 h 6246"/>
                <a:gd name="connsiteX4" fmla="*/ 3487 w 0"/>
                <a:gd name="connsiteY4" fmla="*/ 6808 h 6246"/>
                <a:gd name="connsiteX5" fmla="*/ 1363 w 0"/>
                <a:gd name="connsiteY5" fmla="*/ 387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363" y="3873"/>
                  </a:moveTo>
                  <a:cubicBezTo>
                    <a:pt x="1051" y="3248"/>
                    <a:pt x="738" y="2561"/>
                    <a:pt x="426" y="1936"/>
                  </a:cubicBezTo>
                  <a:cubicBezTo>
                    <a:pt x="426" y="1312"/>
                    <a:pt x="-573" y="625"/>
                    <a:pt x="489" y="0"/>
                  </a:cubicBezTo>
                  <a:cubicBezTo>
                    <a:pt x="1238" y="625"/>
                    <a:pt x="1925" y="1312"/>
                    <a:pt x="2675" y="1936"/>
                  </a:cubicBezTo>
                  <a:cubicBezTo>
                    <a:pt x="5173" y="3248"/>
                    <a:pt x="5548" y="4872"/>
                    <a:pt x="3487" y="6808"/>
                  </a:cubicBezTo>
                  <a:cubicBezTo>
                    <a:pt x="2363" y="6059"/>
                    <a:pt x="2862" y="4372"/>
                    <a:pt x="1363" y="3873"/>
                  </a:cubicBezTo>
                  <a:close/>
                </a:path>
              </a:pathLst>
            </a:custGeom>
            <a:grpFill/>
            <a:ln w="6246" cap="flat">
              <a:noFill/>
              <a:prstDash val="solid"/>
              <a:miter/>
            </a:ln>
          </p:spPr>
          <p:txBody>
            <a:bodyPr rtlCol="0" anchor="ctr"/>
            <a:lstStyle/>
            <a:p>
              <a:endParaRPr lang="fr-FR" sz="2400"/>
            </a:p>
          </p:txBody>
        </p:sp>
        <p:sp>
          <p:nvSpPr>
            <p:cNvPr id="277" name="Freeform: Shape 276">
              <a:extLst>
                <a:ext uri="{FF2B5EF4-FFF2-40B4-BE49-F238E27FC236}">
                  <a16:creationId xmlns:a16="http://schemas.microsoft.com/office/drawing/2014/main" id="{76FCBA4D-D7EA-4051-923F-F65C74FF6EE5}"/>
                </a:ext>
              </a:extLst>
            </p:cNvPr>
            <p:cNvSpPr/>
            <p:nvPr/>
          </p:nvSpPr>
          <p:spPr>
            <a:xfrm>
              <a:off x="1094965" y="543680"/>
              <a:ext cx="6246" cy="6246"/>
            </a:xfrm>
            <a:custGeom>
              <a:avLst/>
              <a:gdLst>
                <a:gd name="connsiteX0" fmla="*/ 812 w 0"/>
                <a:gd name="connsiteY0" fmla="*/ 9096 h 6246"/>
                <a:gd name="connsiteX1" fmla="*/ 0 w 0"/>
                <a:gd name="connsiteY1" fmla="*/ 4224 h 6246"/>
                <a:gd name="connsiteX2" fmla="*/ 62 w 0"/>
                <a:gd name="connsiteY2" fmla="*/ 352 h 6246"/>
                <a:gd name="connsiteX3" fmla="*/ 999 w 0"/>
                <a:gd name="connsiteY3" fmla="*/ 352 h 6246"/>
                <a:gd name="connsiteX4" fmla="*/ 2061 w 0"/>
                <a:gd name="connsiteY4" fmla="*/ 2226 h 6246"/>
                <a:gd name="connsiteX5" fmla="*/ 3560 w 0"/>
                <a:gd name="connsiteY5" fmla="*/ 5161 h 6246"/>
                <a:gd name="connsiteX6" fmla="*/ 1187 w 0"/>
                <a:gd name="connsiteY6" fmla="*/ 8971 h 6246"/>
                <a:gd name="connsiteX7" fmla="*/ 812 w 0"/>
                <a:gd name="connsiteY7" fmla="*/ 909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812" y="9096"/>
                  </a:moveTo>
                  <a:cubicBezTo>
                    <a:pt x="1312" y="7347"/>
                    <a:pt x="937" y="5786"/>
                    <a:pt x="0" y="4224"/>
                  </a:cubicBezTo>
                  <a:cubicBezTo>
                    <a:pt x="0" y="2913"/>
                    <a:pt x="62" y="1601"/>
                    <a:pt x="62" y="352"/>
                  </a:cubicBezTo>
                  <a:cubicBezTo>
                    <a:pt x="375" y="-85"/>
                    <a:pt x="687" y="-148"/>
                    <a:pt x="999" y="352"/>
                  </a:cubicBezTo>
                  <a:cubicBezTo>
                    <a:pt x="1374" y="976"/>
                    <a:pt x="1686" y="1601"/>
                    <a:pt x="2061" y="2226"/>
                  </a:cubicBezTo>
                  <a:cubicBezTo>
                    <a:pt x="3185" y="2913"/>
                    <a:pt x="3435" y="3974"/>
                    <a:pt x="3560" y="5161"/>
                  </a:cubicBezTo>
                  <a:cubicBezTo>
                    <a:pt x="3310" y="6723"/>
                    <a:pt x="3935" y="8721"/>
                    <a:pt x="1187" y="8971"/>
                  </a:cubicBezTo>
                  <a:lnTo>
                    <a:pt x="812" y="9096"/>
                  </a:lnTo>
                  <a:close/>
                </a:path>
              </a:pathLst>
            </a:custGeom>
            <a:grpFill/>
            <a:ln w="6246" cap="flat">
              <a:noFill/>
              <a:prstDash val="solid"/>
              <a:miter/>
            </a:ln>
          </p:spPr>
          <p:txBody>
            <a:bodyPr rtlCol="0" anchor="ctr"/>
            <a:lstStyle/>
            <a:p>
              <a:endParaRPr lang="fr-FR" sz="2400"/>
            </a:p>
          </p:txBody>
        </p:sp>
        <p:sp>
          <p:nvSpPr>
            <p:cNvPr id="278" name="Freeform: Shape 277">
              <a:extLst>
                <a:ext uri="{FF2B5EF4-FFF2-40B4-BE49-F238E27FC236}">
                  <a16:creationId xmlns:a16="http://schemas.microsoft.com/office/drawing/2014/main" id="{C7FBC460-40F9-4359-B9AF-E6BA7A549F1C}"/>
                </a:ext>
              </a:extLst>
            </p:cNvPr>
            <p:cNvSpPr/>
            <p:nvPr/>
          </p:nvSpPr>
          <p:spPr>
            <a:xfrm>
              <a:off x="1094081" y="540159"/>
              <a:ext cx="6246" cy="6246"/>
            </a:xfrm>
            <a:custGeom>
              <a:avLst/>
              <a:gdLst>
                <a:gd name="connsiteX0" fmla="*/ 1884 w 0"/>
                <a:gd name="connsiteY0" fmla="*/ 3873 h 0"/>
                <a:gd name="connsiteX1" fmla="*/ 947 w 0"/>
                <a:gd name="connsiteY1" fmla="*/ 3873 h 0"/>
                <a:gd name="connsiteX2" fmla="*/ 822 w 0"/>
                <a:gd name="connsiteY2" fmla="*/ 0 h 0"/>
                <a:gd name="connsiteX3" fmla="*/ 1884 w 0"/>
                <a:gd name="connsiteY3" fmla="*/ 3873 h 0"/>
              </a:gdLst>
              <a:ahLst/>
              <a:cxnLst>
                <a:cxn ang="0">
                  <a:pos x="connsiteX0" y="connsiteY0"/>
                </a:cxn>
                <a:cxn ang="0">
                  <a:pos x="connsiteX1" y="connsiteY1"/>
                </a:cxn>
                <a:cxn ang="0">
                  <a:pos x="connsiteX2" y="connsiteY2"/>
                </a:cxn>
                <a:cxn ang="0">
                  <a:pos x="connsiteX3" y="connsiteY3"/>
                </a:cxn>
              </a:cxnLst>
              <a:rect l="l" t="t" r="r" b="b"/>
              <a:pathLst>
                <a:path>
                  <a:moveTo>
                    <a:pt x="1884" y="3873"/>
                  </a:moveTo>
                  <a:cubicBezTo>
                    <a:pt x="1572" y="3873"/>
                    <a:pt x="1260" y="3873"/>
                    <a:pt x="947" y="3873"/>
                  </a:cubicBezTo>
                  <a:cubicBezTo>
                    <a:pt x="385" y="2561"/>
                    <a:pt x="-802" y="1312"/>
                    <a:pt x="822" y="0"/>
                  </a:cubicBezTo>
                  <a:cubicBezTo>
                    <a:pt x="1572" y="1249"/>
                    <a:pt x="2134" y="2498"/>
                    <a:pt x="1884" y="3873"/>
                  </a:cubicBezTo>
                  <a:close/>
                </a:path>
              </a:pathLst>
            </a:custGeom>
            <a:grpFill/>
            <a:ln w="6246" cap="flat">
              <a:noFill/>
              <a:prstDash val="solid"/>
              <a:miter/>
            </a:ln>
          </p:spPr>
          <p:txBody>
            <a:bodyPr rtlCol="0" anchor="ctr"/>
            <a:lstStyle/>
            <a:p>
              <a:endParaRPr lang="fr-FR" sz="2400"/>
            </a:p>
          </p:txBody>
        </p:sp>
        <p:sp>
          <p:nvSpPr>
            <p:cNvPr id="279" name="Freeform: Shape 278">
              <a:extLst>
                <a:ext uri="{FF2B5EF4-FFF2-40B4-BE49-F238E27FC236}">
                  <a16:creationId xmlns:a16="http://schemas.microsoft.com/office/drawing/2014/main" id="{33BB8681-0FE1-49F8-AD19-EF6B0185A260}"/>
                </a:ext>
              </a:extLst>
            </p:cNvPr>
            <p:cNvSpPr/>
            <p:nvPr/>
          </p:nvSpPr>
          <p:spPr>
            <a:xfrm>
              <a:off x="1096486" y="545750"/>
              <a:ext cx="6246" cy="31230"/>
            </a:xfrm>
            <a:custGeom>
              <a:avLst/>
              <a:gdLst>
                <a:gd name="connsiteX0" fmla="*/ 728 w 0"/>
                <a:gd name="connsiteY0" fmla="*/ 3091 h 31230"/>
                <a:gd name="connsiteX1" fmla="*/ 541 w 0"/>
                <a:gd name="connsiteY1" fmla="*/ 218 h 31230"/>
                <a:gd name="connsiteX2" fmla="*/ 728 w 0"/>
                <a:gd name="connsiteY2" fmla="*/ 343 h 31230"/>
                <a:gd name="connsiteX3" fmla="*/ 4101 w 0"/>
                <a:gd name="connsiteY3" fmla="*/ 2592 h 31230"/>
                <a:gd name="connsiteX4" fmla="*/ 5163 w 0"/>
                <a:gd name="connsiteY4" fmla="*/ 11961 h 31230"/>
                <a:gd name="connsiteX5" fmla="*/ 4351 w 0"/>
                <a:gd name="connsiteY5" fmla="*/ 17832 h 31230"/>
                <a:gd name="connsiteX6" fmla="*/ 5038 w 0"/>
                <a:gd name="connsiteY6" fmla="*/ 21954 h 31230"/>
                <a:gd name="connsiteX7" fmla="*/ 4913 w 0"/>
                <a:gd name="connsiteY7" fmla="*/ 23328 h 31230"/>
                <a:gd name="connsiteX8" fmla="*/ 5225 w 0"/>
                <a:gd name="connsiteY8" fmla="*/ 28700 h 31230"/>
                <a:gd name="connsiteX9" fmla="*/ 4226 w 0"/>
                <a:gd name="connsiteY9" fmla="*/ 32135 h 31230"/>
                <a:gd name="connsiteX10" fmla="*/ 2789 w 0"/>
                <a:gd name="connsiteY10" fmla="*/ 32198 h 31230"/>
                <a:gd name="connsiteX11" fmla="*/ 1790 w 0"/>
                <a:gd name="connsiteY11" fmla="*/ 26389 h 31230"/>
                <a:gd name="connsiteX12" fmla="*/ 666 w 0"/>
                <a:gd name="connsiteY12" fmla="*/ 21580 h 31230"/>
                <a:gd name="connsiteX13" fmla="*/ 666 w 0"/>
                <a:gd name="connsiteY13" fmla="*/ 18706 h 31230"/>
                <a:gd name="connsiteX14" fmla="*/ 1041 w 0"/>
                <a:gd name="connsiteY14" fmla="*/ 6339 h 31230"/>
                <a:gd name="connsiteX15" fmla="*/ 728 w 0"/>
                <a:gd name="connsiteY15" fmla="*/ 309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h="31230">
                  <a:moveTo>
                    <a:pt x="728" y="3091"/>
                  </a:moveTo>
                  <a:cubicBezTo>
                    <a:pt x="666" y="2154"/>
                    <a:pt x="603" y="1155"/>
                    <a:pt x="541" y="218"/>
                  </a:cubicBezTo>
                  <a:cubicBezTo>
                    <a:pt x="541" y="218"/>
                    <a:pt x="728" y="343"/>
                    <a:pt x="728" y="343"/>
                  </a:cubicBezTo>
                  <a:cubicBezTo>
                    <a:pt x="3352" y="-781"/>
                    <a:pt x="3789" y="1092"/>
                    <a:pt x="4101" y="2592"/>
                  </a:cubicBezTo>
                  <a:cubicBezTo>
                    <a:pt x="4726" y="5715"/>
                    <a:pt x="5850" y="8775"/>
                    <a:pt x="5163" y="11961"/>
                  </a:cubicBezTo>
                  <a:cubicBezTo>
                    <a:pt x="4601" y="13897"/>
                    <a:pt x="4039" y="15771"/>
                    <a:pt x="4351" y="17832"/>
                  </a:cubicBezTo>
                  <a:cubicBezTo>
                    <a:pt x="4601" y="19206"/>
                    <a:pt x="5163" y="20580"/>
                    <a:pt x="5038" y="21954"/>
                  </a:cubicBezTo>
                  <a:cubicBezTo>
                    <a:pt x="5038" y="22392"/>
                    <a:pt x="4976" y="22891"/>
                    <a:pt x="4913" y="23328"/>
                  </a:cubicBezTo>
                  <a:cubicBezTo>
                    <a:pt x="4476" y="25140"/>
                    <a:pt x="5225" y="26889"/>
                    <a:pt x="5225" y="28700"/>
                  </a:cubicBezTo>
                  <a:cubicBezTo>
                    <a:pt x="5225" y="29949"/>
                    <a:pt x="5038" y="31074"/>
                    <a:pt x="4226" y="32135"/>
                  </a:cubicBezTo>
                  <a:cubicBezTo>
                    <a:pt x="3789" y="32510"/>
                    <a:pt x="3289" y="32573"/>
                    <a:pt x="2789" y="32198"/>
                  </a:cubicBezTo>
                  <a:cubicBezTo>
                    <a:pt x="2352" y="30262"/>
                    <a:pt x="3352" y="28138"/>
                    <a:pt x="1790" y="26389"/>
                  </a:cubicBezTo>
                  <a:cubicBezTo>
                    <a:pt x="541" y="24952"/>
                    <a:pt x="-334" y="23453"/>
                    <a:pt x="666" y="21580"/>
                  </a:cubicBezTo>
                  <a:cubicBezTo>
                    <a:pt x="666" y="20643"/>
                    <a:pt x="666" y="19643"/>
                    <a:pt x="666" y="18706"/>
                  </a:cubicBezTo>
                  <a:cubicBezTo>
                    <a:pt x="166" y="14584"/>
                    <a:pt x="-708" y="10462"/>
                    <a:pt x="1041" y="6339"/>
                  </a:cubicBezTo>
                  <a:cubicBezTo>
                    <a:pt x="1415" y="5277"/>
                    <a:pt x="1415" y="4091"/>
                    <a:pt x="728" y="3091"/>
                  </a:cubicBezTo>
                  <a:close/>
                </a:path>
              </a:pathLst>
            </a:custGeom>
            <a:grpFill/>
            <a:ln w="6246" cap="flat">
              <a:noFill/>
              <a:prstDash val="solid"/>
              <a:miter/>
            </a:ln>
          </p:spPr>
          <p:txBody>
            <a:bodyPr rtlCol="0" anchor="ctr"/>
            <a:lstStyle/>
            <a:p>
              <a:endParaRPr lang="fr-FR" sz="2400"/>
            </a:p>
          </p:txBody>
        </p:sp>
        <p:sp>
          <p:nvSpPr>
            <p:cNvPr id="280" name="Freeform: Shape 279">
              <a:extLst>
                <a:ext uri="{FF2B5EF4-FFF2-40B4-BE49-F238E27FC236}">
                  <a16:creationId xmlns:a16="http://schemas.microsoft.com/office/drawing/2014/main" id="{52E7D2C5-699C-42EA-9DDE-F3D6DDA179B1}"/>
                </a:ext>
              </a:extLst>
            </p:cNvPr>
            <p:cNvSpPr/>
            <p:nvPr/>
          </p:nvSpPr>
          <p:spPr>
            <a:xfrm>
              <a:off x="1099275" y="577885"/>
              <a:ext cx="6246" cy="12492"/>
            </a:xfrm>
            <a:custGeom>
              <a:avLst/>
              <a:gdLst>
                <a:gd name="connsiteX0" fmla="*/ 0 w 0"/>
                <a:gd name="connsiteY0" fmla="*/ 0 h 12492"/>
                <a:gd name="connsiteX1" fmla="*/ 1062 w 0"/>
                <a:gd name="connsiteY1" fmla="*/ 0 h 12492"/>
                <a:gd name="connsiteX2" fmla="*/ 3185 w 0"/>
                <a:gd name="connsiteY2" fmla="*/ 4372 h 12492"/>
                <a:gd name="connsiteX3" fmla="*/ 3248 w 0"/>
                <a:gd name="connsiteY3" fmla="*/ 9619 h 12492"/>
                <a:gd name="connsiteX4" fmla="*/ 3185 w 0"/>
                <a:gd name="connsiteY4" fmla="*/ 17427 h 12492"/>
                <a:gd name="connsiteX5" fmla="*/ 0 w 0"/>
                <a:gd name="connsiteY5" fmla="*/ 11555 h 12492"/>
                <a:gd name="connsiteX6" fmla="*/ 0 w 0"/>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2492">
                  <a:moveTo>
                    <a:pt x="0" y="0"/>
                  </a:moveTo>
                  <a:cubicBezTo>
                    <a:pt x="375" y="0"/>
                    <a:pt x="687" y="0"/>
                    <a:pt x="1062" y="0"/>
                  </a:cubicBezTo>
                  <a:cubicBezTo>
                    <a:pt x="2623" y="1124"/>
                    <a:pt x="2811" y="2811"/>
                    <a:pt x="3185" y="4372"/>
                  </a:cubicBezTo>
                  <a:cubicBezTo>
                    <a:pt x="3435" y="6121"/>
                    <a:pt x="2561" y="7870"/>
                    <a:pt x="3248" y="9619"/>
                  </a:cubicBezTo>
                  <a:cubicBezTo>
                    <a:pt x="4122" y="12242"/>
                    <a:pt x="2811" y="14803"/>
                    <a:pt x="3185" y="17427"/>
                  </a:cubicBezTo>
                  <a:cubicBezTo>
                    <a:pt x="2124" y="15490"/>
                    <a:pt x="1062" y="13492"/>
                    <a:pt x="0" y="11555"/>
                  </a:cubicBezTo>
                  <a:cubicBezTo>
                    <a:pt x="0" y="7745"/>
                    <a:pt x="0" y="3873"/>
                    <a:pt x="0" y="0"/>
                  </a:cubicBezTo>
                  <a:close/>
                </a:path>
              </a:pathLst>
            </a:custGeom>
            <a:grpFill/>
            <a:ln w="6246" cap="flat">
              <a:noFill/>
              <a:prstDash val="solid"/>
              <a:miter/>
            </a:ln>
          </p:spPr>
          <p:txBody>
            <a:bodyPr rtlCol="0" anchor="ctr"/>
            <a:lstStyle/>
            <a:p>
              <a:endParaRPr lang="fr-FR" sz="2400"/>
            </a:p>
          </p:txBody>
        </p:sp>
        <p:sp>
          <p:nvSpPr>
            <p:cNvPr id="281" name="Freeform: Shape 280">
              <a:extLst>
                <a:ext uri="{FF2B5EF4-FFF2-40B4-BE49-F238E27FC236}">
                  <a16:creationId xmlns:a16="http://schemas.microsoft.com/office/drawing/2014/main" id="{D406A134-068E-4CC5-A60F-F9B554C58C80}"/>
                </a:ext>
              </a:extLst>
            </p:cNvPr>
            <p:cNvSpPr/>
            <p:nvPr/>
          </p:nvSpPr>
          <p:spPr>
            <a:xfrm>
              <a:off x="1095757" y="548841"/>
              <a:ext cx="6246" cy="12492"/>
            </a:xfrm>
            <a:custGeom>
              <a:avLst/>
              <a:gdLst>
                <a:gd name="connsiteX0" fmla="*/ 1457 w 0"/>
                <a:gd name="connsiteY0" fmla="*/ 0 h 12492"/>
                <a:gd name="connsiteX1" fmla="*/ 1394 w 0"/>
                <a:gd name="connsiteY1" fmla="*/ 15553 h 12492"/>
                <a:gd name="connsiteX2" fmla="*/ 457 w 0"/>
                <a:gd name="connsiteY2" fmla="*/ 15428 h 12492"/>
                <a:gd name="connsiteX3" fmla="*/ 457 w 0"/>
                <a:gd name="connsiteY3" fmla="*/ 3873 h 12492"/>
                <a:gd name="connsiteX4" fmla="*/ 1457 w 0"/>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1457" y="0"/>
                  </a:moveTo>
                  <a:cubicBezTo>
                    <a:pt x="2706" y="5184"/>
                    <a:pt x="894" y="10368"/>
                    <a:pt x="1394" y="15553"/>
                  </a:cubicBezTo>
                  <a:cubicBezTo>
                    <a:pt x="1082" y="15553"/>
                    <a:pt x="769" y="15490"/>
                    <a:pt x="457" y="15428"/>
                  </a:cubicBezTo>
                  <a:cubicBezTo>
                    <a:pt x="1144" y="11555"/>
                    <a:pt x="-854" y="7745"/>
                    <a:pt x="457" y="3873"/>
                  </a:cubicBezTo>
                  <a:cubicBezTo>
                    <a:pt x="1769" y="2811"/>
                    <a:pt x="1207" y="1312"/>
                    <a:pt x="1457" y="0"/>
                  </a:cubicBezTo>
                  <a:close/>
                </a:path>
              </a:pathLst>
            </a:custGeom>
            <a:grpFill/>
            <a:ln w="6246" cap="flat">
              <a:noFill/>
              <a:prstDash val="solid"/>
              <a:miter/>
            </a:ln>
          </p:spPr>
          <p:txBody>
            <a:bodyPr rtlCol="0" anchor="ctr"/>
            <a:lstStyle/>
            <a:p>
              <a:endParaRPr lang="fr-FR" sz="2400"/>
            </a:p>
          </p:txBody>
        </p:sp>
        <p:sp>
          <p:nvSpPr>
            <p:cNvPr id="282" name="Freeform: Shape 281">
              <a:extLst>
                <a:ext uri="{FF2B5EF4-FFF2-40B4-BE49-F238E27FC236}">
                  <a16:creationId xmlns:a16="http://schemas.microsoft.com/office/drawing/2014/main" id="{FD592479-7E9A-4B48-ACD8-A37BCFCE8F29}"/>
                </a:ext>
              </a:extLst>
            </p:cNvPr>
            <p:cNvSpPr/>
            <p:nvPr/>
          </p:nvSpPr>
          <p:spPr>
            <a:xfrm>
              <a:off x="1095885" y="567204"/>
              <a:ext cx="6246" cy="6246"/>
            </a:xfrm>
            <a:custGeom>
              <a:avLst/>
              <a:gdLst>
                <a:gd name="connsiteX0" fmla="*/ 1266 w 0"/>
                <a:gd name="connsiteY0" fmla="*/ 0 h 0"/>
                <a:gd name="connsiteX1" fmla="*/ 2390 w 0"/>
                <a:gd name="connsiteY1" fmla="*/ 4809 h 0"/>
                <a:gd name="connsiteX2" fmla="*/ 1266 w 0"/>
                <a:gd name="connsiteY2" fmla="*/ 0 h 0"/>
              </a:gdLst>
              <a:ahLst/>
              <a:cxnLst>
                <a:cxn ang="0">
                  <a:pos x="connsiteX0" y="connsiteY0"/>
                </a:cxn>
                <a:cxn ang="0">
                  <a:pos x="connsiteX1" y="connsiteY1"/>
                </a:cxn>
                <a:cxn ang="0">
                  <a:pos x="connsiteX2" y="connsiteY2"/>
                </a:cxn>
              </a:cxnLst>
              <a:rect l="l" t="t" r="r" b="b"/>
              <a:pathLst>
                <a:path>
                  <a:moveTo>
                    <a:pt x="1266" y="0"/>
                  </a:moveTo>
                  <a:cubicBezTo>
                    <a:pt x="1641" y="1624"/>
                    <a:pt x="2016" y="3248"/>
                    <a:pt x="2390" y="4809"/>
                  </a:cubicBezTo>
                  <a:cubicBezTo>
                    <a:pt x="-1045" y="3810"/>
                    <a:pt x="-171" y="1999"/>
                    <a:pt x="1266" y="0"/>
                  </a:cubicBezTo>
                  <a:close/>
                </a:path>
              </a:pathLst>
            </a:custGeom>
            <a:grpFill/>
            <a:ln w="6246" cap="flat">
              <a:noFill/>
              <a:prstDash val="solid"/>
              <a:miter/>
            </a:ln>
          </p:spPr>
          <p:txBody>
            <a:bodyPr rtlCol="0" anchor="ctr"/>
            <a:lstStyle/>
            <a:p>
              <a:endParaRPr lang="fr-FR" sz="2400"/>
            </a:p>
          </p:txBody>
        </p:sp>
        <p:sp>
          <p:nvSpPr>
            <p:cNvPr id="283" name="Freeform: Shape 282">
              <a:extLst>
                <a:ext uri="{FF2B5EF4-FFF2-40B4-BE49-F238E27FC236}">
                  <a16:creationId xmlns:a16="http://schemas.microsoft.com/office/drawing/2014/main" id="{EB90E202-7574-4DCE-AB0C-9C065DFE8ECF}"/>
                </a:ext>
              </a:extLst>
            </p:cNvPr>
            <p:cNvSpPr/>
            <p:nvPr/>
          </p:nvSpPr>
          <p:spPr>
            <a:xfrm>
              <a:off x="1100206" y="552931"/>
              <a:ext cx="68707" cy="87445"/>
            </a:xfrm>
            <a:custGeom>
              <a:avLst/>
              <a:gdLst>
                <a:gd name="connsiteX0" fmla="*/ 1193 w 68706"/>
                <a:gd name="connsiteY0" fmla="*/ 29763 h 87444"/>
                <a:gd name="connsiteX1" fmla="*/ 131 w 68706"/>
                <a:gd name="connsiteY1" fmla="*/ 24954 h 87444"/>
                <a:gd name="connsiteX2" fmla="*/ 131 w 68706"/>
                <a:gd name="connsiteY2" fmla="*/ 21081 h 87444"/>
                <a:gd name="connsiteX3" fmla="*/ 131 w 68706"/>
                <a:gd name="connsiteY3" fmla="*/ 16272 h 87444"/>
                <a:gd name="connsiteX4" fmla="*/ 131 w 68706"/>
                <a:gd name="connsiteY4" fmla="*/ 15335 h 87444"/>
                <a:gd name="connsiteX5" fmla="*/ 194 w 68706"/>
                <a:gd name="connsiteY5" fmla="*/ 8589 h 87444"/>
                <a:gd name="connsiteX6" fmla="*/ 1568 w 68706"/>
                <a:gd name="connsiteY6" fmla="*/ 4092 h 87444"/>
                <a:gd name="connsiteX7" fmla="*/ 2817 w 68706"/>
                <a:gd name="connsiteY7" fmla="*/ 3467 h 87444"/>
                <a:gd name="connsiteX8" fmla="*/ 6502 w 68706"/>
                <a:gd name="connsiteY8" fmla="*/ 6715 h 87444"/>
                <a:gd name="connsiteX9" fmla="*/ 13873 w 68706"/>
                <a:gd name="connsiteY9" fmla="*/ 157 h 87444"/>
                <a:gd name="connsiteX10" fmla="*/ 15434 w 68706"/>
                <a:gd name="connsiteY10" fmla="*/ 8090 h 87444"/>
                <a:gd name="connsiteX11" fmla="*/ 15372 w 68706"/>
                <a:gd name="connsiteY11" fmla="*/ 29076 h 87444"/>
                <a:gd name="connsiteX12" fmla="*/ 15309 w 68706"/>
                <a:gd name="connsiteY12" fmla="*/ 33573 h 87444"/>
                <a:gd name="connsiteX13" fmla="*/ 13873 w 68706"/>
                <a:gd name="connsiteY13" fmla="*/ 33823 h 87444"/>
                <a:gd name="connsiteX14" fmla="*/ 7877 w 68706"/>
                <a:gd name="connsiteY14" fmla="*/ 25391 h 87444"/>
                <a:gd name="connsiteX15" fmla="*/ 13935 w 68706"/>
                <a:gd name="connsiteY15" fmla="*/ 37946 h 87444"/>
                <a:gd name="connsiteX16" fmla="*/ 16996 w 68706"/>
                <a:gd name="connsiteY16" fmla="*/ 42693 h 87444"/>
                <a:gd name="connsiteX17" fmla="*/ 18557 w 68706"/>
                <a:gd name="connsiteY17" fmla="*/ 48002 h 87444"/>
                <a:gd name="connsiteX18" fmla="*/ 17246 w 68706"/>
                <a:gd name="connsiteY18" fmla="*/ 49376 h 87444"/>
                <a:gd name="connsiteX19" fmla="*/ 26677 w 68706"/>
                <a:gd name="connsiteY19" fmla="*/ 60994 h 87444"/>
                <a:gd name="connsiteX20" fmla="*/ 30113 w 68706"/>
                <a:gd name="connsiteY20" fmla="*/ 63117 h 87444"/>
                <a:gd name="connsiteX21" fmla="*/ 52036 w 68706"/>
                <a:gd name="connsiteY21" fmla="*/ 80169 h 87444"/>
                <a:gd name="connsiteX22" fmla="*/ 67402 w 68706"/>
                <a:gd name="connsiteY22" fmla="*/ 89288 h 87444"/>
                <a:gd name="connsiteX23" fmla="*/ 69775 w 68706"/>
                <a:gd name="connsiteY23" fmla="*/ 91662 h 87444"/>
                <a:gd name="connsiteX24" fmla="*/ 64403 w 68706"/>
                <a:gd name="connsiteY24" fmla="*/ 92599 h 87444"/>
                <a:gd name="connsiteX25" fmla="*/ 57845 w 68706"/>
                <a:gd name="connsiteY25" fmla="*/ 90850 h 87444"/>
                <a:gd name="connsiteX26" fmla="*/ 47664 w 68706"/>
                <a:gd name="connsiteY26" fmla="*/ 86415 h 87444"/>
                <a:gd name="connsiteX27" fmla="*/ 45166 w 68706"/>
                <a:gd name="connsiteY27" fmla="*/ 86790 h 87444"/>
                <a:gd name="connsiteX28" fmla="*/ 34485 w 68706"/>
                <a:gd name="connsiteY28" fmla="*/ 75859 h 87444"/>
                <a:gd name="connsiteX29" fmla="*/ 34048 w 68706"/>
                <a:gd name="connsiteY29" fmla="*/ 75672 h 87444"/>
                <a:gd name="connsiteX30" fmla="*/ 24866 w 68706"/>
                <a:gd name="connsiteY30" fmla="*/ 69488 h 87444"/>
                <a:gd name="connsiteX31" fmla="*/ 19557 w 68706"/>
                <a:gd name="connsiteY31" fmla="*/ 68489 h 87444"/>
                <a:gd name="connsiteX32" fmla="*/ 18495 w 68706"/>
                <a:gd name="connsiteY32" fmla="*/ 67552 h 87444"/>
                <a:gd name="connsiteX33" fmla="*/ 19557 w 68706"/>
                <a:gd name="connsiteY33" fmla="*/ 64616 h 87444"/>
                <a:gd name="connsiteX34" fmla="*/ 14497 w 68706"/>
                <a:gd name="connsiteY34" fmla="*/ 58620 h 87444"/>
                <a:gd name="connsiteX35" fmla="*/ 12061 w 68706"/>
                <a:gd name="connsiteY35" fmla="*/ 53936 h 87444"/>
                <a:gd name="connsiteX36" fmla="*/ 10375 w 68706"/>
                <a:gd name="connsiteY36" fmla="*/ 51125 h 87444"/>
                <a:gd name="connsiteX37" fmla="*/ 5191 w 68706"/>
                <a:gd name="connsiteY37" fmla="*/ 44691 h 87444"/>
                <a:gd name="connsiteX38" fmla="*/ 6752 w 68706"/>
                <a:gd name="connsiteY38" fmla="*/ 42318 h 87444"/>
                <a:gd name="connsiteX39" fmla="*/ 4629 w 68706"/>
                <a:gd name="connsiteY39" fmla="*/ 39445 h 87444"/>
                <a:gd name="connsiteX40" fmla="*/ 4629 w 68706"/>
                <a:gd name="connsiteY40" fmla="*/ 34635 h 87444"/>
                <a:gd name="connsiteX41" fmla="*/ 1193 w 68706"/>
                <a:gd name="connsiteY41" fmla="*/ 29763 h 8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8706" h="87444">
                  <a:moveTo>
                    <a:pt x="1193" y="29763"/>
                  </a:moveTo>
                  <a:cubicBezTo>
                    <a:pt x="194" y="28264"/>
                    <a:pt x="6" y="26640"/>
                    <a:pt x="131" y="24954"/>
                  </a:cubicBezTo>
                  <a:cubicBezTo>
                    <a:pt x="131" y="23642"/>
                    <a:pt x="131" y="22393"/>
                    <a:pt x="131" y="21081"/>
                  </a:cubicBezTo>
                  <a:cubicBezTo>
                    <a:pt x="1755" y="19457"/>
                    <a:pt x="-556" y="17833"/>
                    <a:pt x="131" y="16272"/>
                  </a:cubicBezTo>
                  <a:cubicBezTo>
                    <a:pt x="131" y="15960"/>
                    <a:pt x="131" y="15647"/>
                    <a:pt x="131" y="15335"/>
                  </a:cubicBezTo>
                  <a:cubicBezTo>
                    <a:pt x="1630" y="13086"/>
                    <a:pt x="-243" y="10838"/>
                    <a:pt x="194" y="8589"/>
                  </a:cubicBezTo>
                  <a:cubicBezTo>
                    <a:pt x="444" y="7028"/>
                    <a:pt x="1256" y="5654"/>
                    <a:pt x="1568" y="4092"/>
                  </a:cubicBezTo>
                  <a:cubicBezTo>
                    <a:pt x="1880" y="3717"/>
                    <a:pt x="2255" y="3467"/>
                    <a:pt x="2817" y="3467"/>
                  </a:cubicBezTo>
                  <a:cubicBezTo>
                    <a:pt x="4566" y="3905"/>
                    <a:pt x="4816" y="5654"/>
                    <a:pt x="6502" y="6715"/>
                  </a:cubicBezTo>
                  <a:cubicBezTo>
                    <a:pt x="8001" y="3655"/>
                    <a:pt x="8126" y="-905"/>
                    <a:pt x="13873" y="157"/>
                  </a:cubicBezTo>
                  <a:cubicBezTo>
                    <a:pt x="15934" y="2531"/>
                    <a:pt x="15747" y="5279"/>
                    <a:pt x="15434" y="8090"/>
                  </a:cubicBezTo>
                  <a:cubicBezTo>
                    <a:pt x="13311" y="15085"/>
                    <a:pt x="13123" y="22081"/>
                    <a:pt x="15372" y="29076"/>
                  </a:cubicBezTo>
                  <a:cubicBezTo>
                    <a:pt x="15872" y="30575"/>
                    <a:pt x="16621" y="32074"/>
                    <a:pt x="15309" y="33573"/>
                  </a:cubicBezTo>
                  <a:cubicBezTo>
                    <a:pt x="14872" y="33886"/>
                    <a:pt x="14435" y="33948"/>
                    <a:pt x="13873" y="33823"/>
                  </a:cubicBezTo>
                  <a:cubicBezTo>
                    <a:pt x="10250" y="31949"/>
                    <a:pt x="10687" y="27640"/>
                    <a:pt x="7877" y="25391"/>
                  </a:cubicBezTo>
                  <a:cubicBezTo>
                    <a:pt x="7439" y="30575"/>
                    <a:pt x="10937" y="34136"/>
                    <a:pt x="13935" y="37946"/>
                  </a:cubicBezTo>
                  <a:cubicBezTo>
                    <a:pt x="14747" y="39632"/>
                    <a:pt x="15247" y="41381"/>
                    <a:pt x="16996" y="42693"/>
                  </a:cubicBezTo>
                  <a:cubicBezTo>
                    <a:pt x="18745" y="43942"/>
                    <a:pt x="20119" y="45753"/>
                    <a:pt x="18557" y="48002"/>
                  </a:cubicBezTo>
                  <a:cubicBezTo>
                    <a:pt x="18807" y="48751"/>
                    <a:pt x="17058" y="47003"/>
                    <a:pt x="17246" y="49376"/>
                  </a:cubicBezTo>
                  <a:cubicBezTo>
                    <a:pt x="17683" y="55622"/>
                    <a:pt x="21993" y="58183"/>
                    <a:pt x="26677" y="60994"/>
                  </a:cubicBezTo>
                  <a:cubicBezTo>
                    <a:pt x="28051" y="61368"/>
                    <a:pt x="29363" y="61993"/>
                    <a:pt x="30113" y="63117"/>
                  </a:cubicBezTo>
                  <a:cubicBezTo>
                    <a:pt x="35422" y="70925"/>
                    <a:pt x="44416" y="74798"/>
                    <a:pt x="52036" y="80169"/>
                  </a:cubicBezTo>
                  <a:cubicBezTo>
                    <a:pt x="57033" y="83417"/>
                    <a:pt x="61780" y="86977"/>
                    <a:pt x="67402" y="89288"/>
                  </a:cubicBezTo>
                  <a:cubicBezTo>
                    <a:pt x="68526" y="89726"/>
                    <a:pt x="69525" y="90475"/>
                    <a:pt x="69775" y="91662"/>
                  </a:cubicBezTo>
                  <a:cubicBezTo>
                    <a:pt x="68401" y="93910"/>
                    <a:pt x="65840" y="90725"/>
                    <a:pt x="64403" y="92599"/>
                  </a:cubicBezTo>
                  <a:cubicBezTo>
                    <a:pt x="61530" y="94160"/>
                    <a:pt x="59906" y="91912"/>
                    <a:pt x="57845" y="90850"/>
                  </a:cubicBezTo>
                  <a:cubicBezTo>
                    <a:pt x="54535" y="89226"/>
                    <a:pt x="51974" y="86165"/>
                    <a:pt x="47664" y="86415"/>
                  </a:cubicBezTo>
                  <a:cubicBezTo>
                    <a:pt x="46852" y="86790"/>
                    <a:pt x="46102" y="87352"/>
                    <a:pt x="45166" y="86790"/>
                  </a:cubicBezTo>
                  <a:cubicBezTo>
                    <a:pt x="43666" y="81481"/>
                    <a:pt x="37420" y="79919"/>
                    <a:pt x="34485" y="75859"/>
                  </a:cubicBezTo>
                  <a:cubicBezTo>
                    <a:pt x="34422" y="75734"/>
                    <a:pt x="34110" y="75609"/>
                    <a:pt x="34048" y="75672"/>
                  </a:cubicBezTo>
                  <a:cubicBezTo>
                    <a:pt x="25803" y="80169"/>
                    <a:pt x="27364" y="71924"/>
                    <a:pt x="24866" y="69488"/>
                  </a:cubicBezTo>
                  <a:cubicBezTo>
                    <a:pt x="22867" y="67552"/>
                    <a:pt x="21618" y="67552"/>
                    <a:pt x="19557" y="68489"/>
                  </a:cubicBezTo>
                  <a:cubicBezTo>
                    <a:pt x="19182" y="68177"/>
                    <a:pt x="18870" y="67864"/>
                    <a:pt x="18495" y="67552"/>
                  </a:cubicBezTo>
                  <a:cubicBezTo>
                    <a:pt x="19682" y="66803"/>
                    <a:pt x="19557" y="65741"/>
                    <a:pt x="19557" y="64616"/>
                  </a:cubicBezTo>
                  <a:cubicBezTo>
                    <a:pt x="18620" y="62118"/>
                    <a:pt x="17371" y="59807"/>
                    <a:pt x="14497" y="58620"/>
                  </a:cubicBezTo>
                  <a:cubicBezTo>
                    <a:pt x="13248" y="57246"/>
                    <a:pt x="11749" y="55997"/>
                    <a:pt x="12061" y="53936"/>
                  </a:cubicBezTo>
                  <a:cubicBezTo>
                    <a:pt x="11437" y="52999"/>
                    <a:pt x="10125" y="51874"/>
                    <a:pt x="10375" y="51125"/>
                  </a:cubicBezTo>
                  <a:cubicBezTo>
                    <a:pt x="11562" y="46940"/>
                    <a:pt x="8751" y="45503"/>
                    <a:pt x="5191" y="44691"/>
                  </a:cubicBezTo>
                  <a:cubicBezTo>
                    <a:pt x="5316" y="43442"/>
                    <a:pt x="9001" y="44691"/>
                    <a:pt x="6752" y="42318"/>
                  </a:cubicBezTo>
                  <a:cubicBezTo>
                    <a:pt x="5753" y="41506"/>
                    <a:pt x="7939" y="38820"/>
                    <a:pt x="4629" y="39445"/>
                  </a:cubicBezTo>
                  <a:cubicBezTo>
                    <a:pt x="4629" y="37821"/>
                    <a:pt x="4629" y="36197"/>
                    <a:pt x="4629" y="34635"/>
                  </a:cubicBezTo>
                  <a:cubicBezTo>
                    <a:pt x="1693" y="33886"/>
                    <a:pt x="1818" y="31637"/>
                    <a:pt x="1193" y="29763"/>
                  </a:cubicBezTo>
                  <a:close/>
                </a:path>
              </a:pathLst>
            </a:custGeom>
            <a:grpFill/>
            <a:ln w="6246" cap="flat">
              <a:noFill/>
              <a:prstDash val="solid"/>
              <a:miter/>
            </a:ln>
          </p:spPr>
          <p:txBody>
            <a:bodyPr rtlCol="0" anchor="ctr"/>
            <a:lstStyle/>
            <a:p>
              <a:endParaRPr lang="fr-FR" sz="2400"/>
            </a:p>
          </p:txBody>
        </p:sp>
        <p:sp>
          <p:nvSpPr>
            <p:cNvPr id="284" name="Freeform: Shape 283">
              <a:extLst>
                <a:ext uri="{FF2B5EF4-FFF2-40B4-BE49-F238E27FC236}">
                  <a16:creationId xmlns:a16="http://schemas.microsoft.com/office/drawing/2014/main" id="{1C9CBD04-D132-40CB-B5FA-356A13F972C3}"/>
                </a:ext>
              </a:extLst>
            </p:cNvPr>
            <p:cNvSpPr/>
            <p:nvPr/>
          </p:nvSpPr>
          <p:spPr>
            <a:xfrm>
              <a:off x="1104584" y="590312"/>
              <a:ext cx="6246" cy="6246"/>
            </a:xfrm>
            <a:custGeom>
              <a:avLst/>
              <a:gdLst>
                <a:gd name="connsiteX0" fmla="*/ 0 w 0"/>
                <a:gd name="connsiteY0" fmla="*/ 2064 h 0"/>
                <a:gd name="connsiteX1" fmla="*/ 2561 w 0"/>
                <a:gd name="connsiteY1" fmla="*/ 378 h 0"/>
                <a:gd name="connsiteX2" fmla="*/ 2124 w 0"/>
                <a:gd name="connsiteY2" fmla="*/ 5000 h 0"/>
                <a:gd name="connsiteX3" fmla="*/ 0 w 0"/>
                <a:gd name="connsiteY3" fmla="*/ 2064 h 0"/>
              </a:gdLst>
              <a:ahLst/>
              <a:cxnLst>
                <a:cxn ang="0">
                  <a:pos x="connsiteX0" y="connsiteY0"/>
                </a:cxn>
                <a:cxn ang="0">
                  <a:pos x="connsiteX1" y="connsiteY1"/>
                </a:cxn>
                <a:cxn ang="0">
                  <a:pos x="connsiteX2" y="connsiteY2"/>
                </a:cxn>
                <a:cxn ang="0">
                  <a:pos x="connsiteX3" y="connsiteY3"/>
                </a:cxn>
              </a:cxnLst>
              <a:rect l="l" t="t" r="r" b="b"/>
              <a:pathLst>
                <a:path>
                  <a:moveTo>
                    <a:pt x="0" y="2064"/>
                  </a:moveTo>
                  <a:cubicBezTo>
                    <a:pt x="1374" y="2064"/>
                    <a:pt x="562" y="-1059"/>
                    <a:pt x="2561" y="378"/>
                  </a:cubicBezTo>
                  <a:cubicBezTo>
                    <a:pt x="4435" y="1752"/>
                    <a:pt x="4372" y="3563"/>
                    <a:pt x="2124" y="5000"/>
                  </a:cubicBezTo>
                  <a:cubicBezTo>
                    <a:pt x="62" y="4813"/>
                    <a:pt x="0" y="3501"/>
                    <a:pt x="0" y="2064"/>
                  </a:cubicBezTo>
                  <a:close/>
                </a:path>
              </a:pathLst>
            </a:custGeom>
            <a:grpFill/>
            <a:ln w="6246" cap="flat">
              <a:noFill/>
              <a:prstDash val="solid"/>
              <a:miter/>
            </a:ln>
          </p:spPr>
          <p:txBody>
            <a:bodyPr rtlCol="0" anchor="ctr"/>
            <a:lstStyle/>
            <a:p>
              <a:endParaRPr lang="fr-FR" sz="2400"/>
            </a:p>
          </p:txBody>
        </p:sp>
        <p:sp>
          <p:nvSpPr>
            <p:cNvPr id="285" name="Freeform: Shape 284">
              <a:extLst>
                <a:ext uri="{FF2B5EF4-FFF2-40B4-BE49-F238E27FC236}">
                  <a16:creationId xmlns:a16="http://schemas.microsoft.com/office/drawing/2014/main" id="{F1C181B0-6E99-41B8-9385-BD860C8EC26D}"/>
                </a:ext>
              </a:extLst>
            </p:cNvPr>
            <p:cNvSpPr/>
            <p:nvPr/>
          </p:nvSpPr>
          <p:spPr>
            <a:xfrm>
              <a:off x="1111280" y="606867"/>
              <a:ext cx="6246" cy="6246"/>
            </a:xfrm>
            <a:custGeom>
              <a:avLst/>
              <a:gdLst>
                <a:gd name="connsiteX0" fmla="*/ 799 w 0"/>
                <a:gd name="connsiteY0" fmla="*/ 0 h 6246"/>
                <a:gd name="connsiteX1" fmla="*/ 3985 w 0"/>
                <a:gd name="connsiteY1" fmla="*/ 3873 h 6246"/>
                <a:gd name="connsiteX2" fmla="*/ 5047 w 0"/>
                <a:gd name="connsiteY2" fmla="*/ 8682 h 6246"/>
                <a:gd name="connsiteX3" fmla="*/ 737 w 0"/>
                <a:gd name="connsiteY3" fmla="*/ 2873 h 6246"/>
                <a:gd name="connsiteX4" fmla="*/ 799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799" y="0"/>
                  </a:moveTo>
                  <a:cubicBezTo>
                    <a:pt x="1674" y="1437"/>
                    <a:pt x="2111" y="3123"/>
                    <a:pt x="3985" y="3873"/>
                  </a:cubicBezTo>
                  <a:cubicBezTo>
                    <a:pt x="4984" y="5372"/>
                    <a:pt x="7046" y="6683"/>
                    <a:pt x="5047" y="8682"/>
                  </a:cubicBezTo>
                  <a:cubicBezTo>
                    <a:pt x="2486" y="7433"/>
                    <a:pt x="2174" y="4809"/>
                    <a:pt x="737" y="2873"/>
                  </a:cubicBezTo>
                  <a:cubicBezTo>
                    <a:pt x="487" y="1936"/>
                    <a:pt x="-825" y="999"/>
                    <a:pt x="799" y="0"/>
                  </a:cubicBezTo>
                  <a:close/>
                </a:path>
              </a:pathLst>
            </a:custGeom>
            <a:grpFill/>
            <a:ln w="6246" cap="flat">
              <a:noFill/>
              <a:prstDash val="solid"/>
              <a:miter/>
            </a:ln>
          </p:spPr>
          <p:txBody>
            <a:bodyPr rtlCol="0" anchor="ctr"/>
            <a:lstStyle/>
            <a:p>
              <a:endParaRPr lang="fr-FR" sz="2400"/>
            </a:p>
          </p:txBody>
        </p:sp>
        <p:sp>
          <p:nvSpPr>
            <p:cNvPr id="286" name="Freeform: Shape 285">
              <a:extLst>
                <a:ext uri="{FF2B5EF4-FFF2-40B4-BE49-F238E27FC236}">
                  <a16:creationId xmlns:a16="http://schemas.microsoft.com/office/drawing/2014/main" id="{FED65270-8110-4F1C-9515-F5159557967B}"/>
                </a:ext>
              </a:extLst>
            </p:cNvPr>
            <p:cNvSpPr/>
            <p:nvPr/>
          </p:nvSpPr>
          <p:spPr>
            <a:xfrm>
              <a:off x="1100411" y="582694"/>
              <a:ext cx="6246" cy="6246"/>
            </a:xfrm>
            <a:custGeom>
              <a:avLst/>
              <a:gdLst>
                <a:gd name="connsiteX0" fmla="*/ 988 w 0"/>
                <a:gd name="connsiteY0" fmla="*/ 0 h 0"/>
                <a:gd name="connsiteX1" fmla="*/ 4173 w 0"/>
                <a:gd name="connsiteY1" fmla="*/ 4809 h 0"/>
                <a:gd name="connsiteX2" fmla="*/ 2049 w 0"/>
                <a:gd name="connsiteY2" fmla="*/ 4809 h 0"/>
                <a:gd name="connsiteX3" fmla="*/ 98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988" y="0"/>
                  </a:moveTo>
                  <a:cubicBezTo>
                    <a:pt x="2049" y="1624"/>
                    <a:pt x="3111" y="3248"/>
                    <a:pt x="4173" y="4809"/>
                  </a:cubicBezTo>
                  <a:cubicBezTo>
                    <a:pt x="3486" y="4809"/>
                    <a:pt x="2736" y="4809"/>
                    <a:pt x="2049" y="4809"/>
                  </a:cubicBezTo>
                  <a:cubicBezTo>
                    <a:pt x="-2073" y="3935"/>
                    <a:pt x="1362" y="1624"/>
                    <a:pt x="988" y="0"/>
                  </a:cubicBezTo>
                  <a:close/>
                </a:path>
              </a:pathLst>
            </a:custGeom>
            <a:grpFill/>
            <a:ln w="6246" cap="flat">
              <a:noFill/>
              <a:prstDash val="solid"/>
              <a:miter/>
            </a:ln>
          </p:spPr>
          <p:txBody>
            <a:bodyPr rtlCol="0" anchor="ctr"/>
            <a:lstStyle/>
            <a:p>
              <a:endParaRPr lang="fr-FR" sz="2400"/>
            </a:p>
          </p:txBody>
        </p:sp>
        <p:sp>
          <p:nvSpPr>
            <p:cNvPr id="287" name="Freeform: Shape 286">
              <a:extLst>
                <a:ext uri="{FF2B5EF4-FFF2-40B4-BE49-F238E27FC236}">
                  <a16:creationId xmlns:a16="http://schemas.microsoft.com/office/drawing/2014/main" id="{8B97AAB8-97E2-4A88-A21E-8ED2717E6FF5}"/>
                </a:ext>
              </a:extLst>
            </p:cNvPr>
            <p:cNvSpPr/>
            <p:nvPr/>
          </p:nvSpPr>
          <p:spPr>
            <a:xfrm>
              <a:off x="1115327" y="610802"/>
              <a:ext cx="6246" cy="6246"/>
            </a:xfrm>
            <a:custGeom>
              <a:avLst/>
              <a:gdLst>
                <a:gd name="connsiteX0" fmla="*/ 1062 w 0"/>
                <a:gd name="connsiteY0" fmla="*/ 4809 h 6246"/>
                <a:gd name="connsiteX1" fmla="*/ 0 w 0"/>
                <a:gd name="connsiteY1" fmla="*/ 0 h 6246"/>
                <a:gd name="connsiteX2" fmla="*/ 4310 w 0"/>
                <a:gd name="connsiteY2" fmla="*/ 6746 h 6246"/>
                <a:gd name="connsiteX3" fmla="*/ 1062 w 0"/>
                <a:gd name="connsiteY3" fmla="*/ 4809 h 6246"/>
              </a:gdLst>
              <a:ahLst/>
              <a:cxnLst>
                <a:cxn ang="0">
                  <a:pos x="connsiteX0" y="connsiteY0"/>
                </a:cxn>
                <a:cxn ang="0">
                  <a:pos x="connsiteX1" y="connsiteY1"/>
                </a:cxn>
                <a:cxn ang="0">
                  <a:pos x="connsiteX2" y="connsiteY2"/>
                </a:cxn>
                <a:cxn ang="0">
                  <a:pos x="connsiteX3" y="connsiteY3"/>
                </a:cxn>
              </a:cxnLst>
              <a:rect l="l" t="t" r="r" b="b"/>
              <a:pathLst>
                <a:path h="6246">
                  <a:moveTo>
                    <a:pt x="1062" y="4809"/>
                  </a:moveTo>
                  <a:cubicBezTo>
                    <a:pt x="687" y="3186"/>
                    <a:pt x="312" y="1562"/>
                    <a:pt x="0" y="0"/>
                  </a:cubicBezTo>
                  <a:cubicBezTo>
                    <a:pt x="3123" y="1374"/>
                    <a:pt x="6309" y="2748"/>
                    <a:pt x="4310" y="6746"/>
                  </a:cubicBezTo>
                  <a:cubicBezTo>
                    <a:pt x="2748" y="6683"/>
                    <a:pt x="1624" y="6059"/>
                    <a:pt x="1062" y="4809"/>
                  </a:cubicBezTo>
                  <a:close/>
                </a:path>
              </a:pathLst>
            </a:custGeom>
            <a:grpFill/>
            <a:ln w="6246" cap="flat">
              <a:noFill/>
              <a:prstDash val="solid"/>
              <a:miter/>
            </a:ln>
          </p:spPr>
          <p:txBody>
            <a:bodyPr rtlCol="0" anchor="ctr"/>
            <a:lstStyle/>
            <a:p>
              <a:endParaRPr lang="fr-FR" sz="2400"/>
            </a:p>
          </p:txBody>
        </p:sp>
        <p:sp>
          <p:nvSpPr>
            <p:cNvPr id="288" name="Freeform: Shape 287">
              <a:extLst>
                <a:ext uri="{FF2B5EF4-FFF2-40B4-BE49-F238E27FC236}">
                  <a16:creationId xmlns:a16="http://schemas.microsoft.com/office/drawing/2014/main" id="{542363CA-481C-45F3-9B0C-3B2B80DA3DA2}"/>
                </a:ext>
              </a:extLst>
            </p:cNvPr>
            <p:cNvSpPr/>
            <p:nvPr/>
          </p:nvSpPr>
          <p:spPr>
            <a:xfrm>
              <a:off x="1155365" y="491752"/>
              <a:ext cx="18738" cy="62461"/>
            </a:xfrm>
            <a:custGeom>
              <a:avLst/>
              <a:gdLst>
                <a:gd name="connsiteX0" fmla="*/ 8057 w 18738"/>
                <a:gd name="connsiteY0" fmla="*/ 24235 h 62460"/>
                <a:gd name="connsiteX1" fmla="*/ 8557 w 18738"/>
                <a:gd name="connsiteY1" fmla="*/ 36165 h 62460"/>
                <a:gd name="connsiteX2" fmla="*/ 10056 w 18738"/>
                <a:gd name="connsiteY2" fmla="*/ 28045 h 62460"/>
                <a:gd name="connsiteX3" fmla="*/ 16490 w 18738"/>
                <a:gd name="connsiteY3" fmla="*/ 1749 h 62460"/>
                <a:gd name="connsiteX4" fmla="*/ 18738 w 18738"/>
                <a:gd name="connsiteY4" fmla="*/ 0 h 62460"/>
                <a:gd name="connsiteX5" fmla="*/ 20300 w 18738"/>
                <a:gd name="connsiteY5" fmla="*/ 1624 h 62460"/>
                <a:gd name="connsiteX6" fmla="*/ 15990 w 18738"/>
                <a:gd name="connsiteY6" fmla="*/ 30980 h 62460"/>
                <a:gd name="connsiteX7" fmla="*/ 9994 w 18738"/>
                <a:gd name="connsiteY7" fmla="*/ 47533 h 62460"/>
                <a:gd name="connsiteX8" fmla="*/ 9556 w 18738"/>
                <a:gd name="connsiteY8" fmla="*/ 57839 h 62460"/>
                <a:gd name="connsiteX9" fmla="*/ 6246 w 18738"/>
                <a:gd name="connsiteY9" fmla="*/ 65022 h 62460"/>
                <a:gd name="connsiteX10" fmla="*/ 812 w 18738"/>
                <a:gd name="connsiteY10" fmla="*/ 59587 h 62460"/>
                <a:gd name="connsiteX11" fmla="*/ 0 w 18738"/>
                <a:gd name="connsiteY11" fmla="*/ 37102 h 62460"/>
                <a:gd name="connsiteX12" fmla="*/ 1624 w 18738"/>
                <a:gd name="connsiteY12" fmla="*/ 33916 h 62460"/>
                <a:gd name="connsiteX13" fmla="*/ 2124 w 18738"/>
                <a:gd name="connsiteY13" fmla="*/ 27608 h 62460"/>
                <a:gd name="connsiteX14" fmla="*/ 3123 w 18738"/>
                <a:gd name="connsiteY14" fmla="*/ 26733 h 62460"/>
                <a:gd name="connsiteX15" fmla="*/ 5746 w 18738"/>
                <a:gd name="connsiteY15" fmla="*/ 25984 h 62460"/>
                <a:gd name="connsiteX16" fmla="*/ 8057 w 18738"/>
                <a:gd name="connsiteY16" fmla="*/ 24235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8" h="62460">
                  <a:moveTo>
                    <a:pt x="8057" y="24235"/>
                  </a:moveTo>
                  <a:cubicBezTo>
                    <a:pt x="8557" y="28170"/>
                    <a:pt x="5684" y="32105"/>
                    <a:pt x="8557" y="36165"/>
                  </a:cubicBezTo>
                  <a:cubicBezTo>
                    <a:pt x="9057" y="33479"/>
                    <a:pt x="10119" y="30731"/>
                    <a:pt x="10056" y="28045"/>
                  </a:cubicBezTo>
                  <a:cubicBezTo>
                    <a:pt x="9931" y="18801"/>
                    <a:pt x="12804" y="10181"/>
                    <a:pt x="16490" y="1749"/>
                  </a:cubicBezTo>
                  <a:cubicBezTo>
                    <a:pt x="16927" y="749"/>
                    <a:pt x="17551" y="125"/>
                    <a:pt x="18738" y="0"/>
                  </a:cubicBezTo>
                  <a:cubicBezTo>
                    <a:pt x="19613" y="250"/>
                    <a:pt x="20175" y="749"/>
                    <a:pt x="20300" y="1624"/>
                  </a:cubicBezTo>
                  <a:cubicBezTo>
                    <a:pt x="16177" y="11056"/>
                    <a:pt x="18239" y="21299"/>
                    <a:pt x="15990" y="30980"/>
                  </a:cubicBezTo>
                  <a:cubicBezTo>
                    <a:pt x="14678" y="36664"/>
                    <a:pt x="13492" y="42473"/>
                    <a:pt x="9994" y="47533"/>
                  </a:cubicBezTo>
                  <a:cubicBezTo>
                    <a:pt x="7683" y="50843"/>
                    <a:pt x="8745" y="54403"/>
                    <a:pt x="9556" y="57839"/>
                  </a:cubicBezTo>
                  <a:cubicBezTo>
                    <a:pt x="10306" y="61024"/>
                    <a:pt x="9931" y="63585"/>
                    <a:pt x="6246" y="65022"/>
                  </a:cubicBezTo>
                  <a:cubicBezTo>
                    <a:pt x="2748" y="64584"/>
                    <a:pt x="2623" y="61399"/>
                    <a:pt x="812" y="59587"/>
                  </a:cubicBezTo>
                  <a:cubicBezTo>
                    <a:pt x="874" y="52092"/>
                    <a:pt x="1374" y="44534"/>
                    <a:pt x="0" y="37102"/>
                  </a:cubicBezTo>
                  <a:cubicBezTo>
                    <a:pt x="437" y="35977"/>
                    <a:pt x="1312" y="35103"/>
                    <a:pt x="1624" y="33916"/>
                  </a:cubicBezTo>
                  <a:cubicBezTo>
                    <a:pt x="2936" y="31917"/>
                    <a:pt x="1749" y="29731"/>
                    <a:pt x="2124" y="27608"/>
                  </a:cubicBezTo>
                  <a:cubicBezTo>
                    <a:pt x="2311" y="27170"/>
                    <a:pt x="2686" y="26921"/>
                    <a:pt x="3123" y="26733"/>
                  </a:cubicBezTo>
                  <a:cubicBezTo>
                    <a:pt x="4122" y="26858"/>
                    <a:pt x="5309" y="27920"/>
                    <a:pt x="5746" y="25984"/>
                  </a:cubicBezTo>
                  <a:cubicBezTo>
                    <a:pt x="5934" y="25172"/>
                    <a:pt x="6309" y="23860"/>
                    <a:pt x="8057" y="24235"/>
                  </a:cubicBezTo>
                  <a:close/>
                </a:path>
              </a:pathLst>
            </a:custGeom>
            <a:grpFill/>
            <a:ln w="6246" cap="flat">
              <a:noFill/>
              <a:prstDash val="solid"/>
              <a:miter/>
            </a:ln>
          </p:spPr>
          <p:txBody>
            <a:bodyPr rtlCol="0" anchor="ctr"/>
            <a:lstStyle/>
            <a:p>
              <a:endParaRPr lang="fr-FR" sz="2400"/>
            </a:p>
          </p:txBody>
        </p:sp>
        <p:sp>
          <p:nvSpPr>
            <p:cNvPr id="289" name="Freeform: Shape 288">
              <a:extLst>
                <a:ext uri="{FF2B5EF4-FFF2-40B4-BE49-F238E27FC236}">
                  <a16:creationId xmlns:a16="http://schemas.microsoft.com/office/drawing/2014/main" id="{DE8D8E61-EEAC-433E-8173-17102FE075C2}"/>
                </a:ext>
              </a:extLst>
            </p:cNvPr>
            <p:cNvSpPr/>
            <p:nvPr/>
          </p:nvSpPr>
          <p:spPr>
            <a:xfrm>
              <a:off x="1206707" y="418552"/>
              <a:ext cx="93691" cy="24984"/>
            </a:xfrm>
            <a:custGeom>
              <a:avLst/>
              <a:gdLst>
                <a:gd name="connsiteX0" fmla="*/ 94753 w 93690"/>
                <a:gd name="connsiteY0" fmla="*/ 1745 h 24984"/>
                <a:gd name="connsiteX1" fmla="*/ 94440 w 93690"/>
                <a:gd name="connsiteY1" fmla="*/ 3493 h 24984"/>
                <a:gd name="connsiteX2" fmla="*/ 69081 w 93690"/>
                <a:gd name="connsiteY2" fmla="*/ 2744 h 24984"/>
                <a:gd name="connsiteX3" fmla="*/ 44472 w 93690"/>
                <a:gd name="connsiteY3" fmla="*/ 8490 h 24984"/>
                <a:gd name="connsiteX4" fmla="*/ 32230 w 93690"/>
                <a:gd name="connsiteY4" fmla="*/ 14299 h 24984"/>
                <a:gd name="connsiteX5" fmla="*/ 22361 w 93690"/>
                <a:gd name="connsiteY5" fmla="*/ 17297 h 24984"/>
                <a:gd name="connsiteX6" fmla="*/ 7808 w 93690"/>
                <a:gd name="connsiteY6" fmla="*/ 25979 h 24984"/>
                <a:gd name="connsiteX7" fmla="*/ 1686 w 93690"/>
                <a:gd name="connsiteY7" fmla="*/ 27916 h 24984"/>
                <a:gd name="connsiteX8" fmla="*/ 2936 w 93690"/>
                <a:gd name="connsiteY8" fmla="*/ 23606 h 24984"/>
                <a:gd name="connsiteX9" fmla="*/ 0 w 93690"/>
                <a:gd name="connsiteY9" fmla="*/ 22981 h 24984"/>
                <a:gd name="connsiteX10" fmla="*/ 30543 w 93690"/>
                <a:gd name="connsiteY10" fmla="*/ 9552 h 24984"/>
                <a:gd name="connsiteX11" fmla="*/ 68332 w 93690"/>
                <a:gd name="connsiteY11" fmla="*/ 183 h 24984"/>
                <a:gd name="connsiteX12" fmla="*/ 88944 w 93690"/>
                <a:gd name="connsiteY12" fmla="*/ 1307 h 24984"/>
                <a:gd name="connsiteX13" fmla="*/ 94753 w 93690"/>
                <a:gd name="connsiteY13" fmla="*/ 1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24984">
                  <a:moveTo>
                    <a:pt x="94753" y="1745"/>
                  </a:moveTo>
                  <a:cubicBezTo>
                    <a:pt x="94815" y="2369"/>
                    <a:pt x="97314" y="4056"/>
                    <a:pt x="94440" y="3493"/>
                  </a:cubicBezTo>
                  <a:cubicBezTo>
                    <a:pt x="86008" y="1932"/>
                    <a:pt x="77514" y="2994"/>
                    <a:pt x="69081" y="2744"/>
                  </a:cubicBezTo>
                  <a:cubicBezTo>
                    <a:pt x="60275" y="2494"/>
                    <a:pt x="52280" y="5180"/>
                    <a:pt x="44472" y="8490"/>
                  </a:cubicBezTo>
                  <a:cubicBezTo>
                    <a:pt x="40912" y="11301"/>
                    <a:pt x="36789" y="13175"/>
                    <a:pt x="32230" y="14299"/>
                  </a:cubicBezTo>
                  <a:cubicBezTo>
                    <a:pt x="28357" y="13612"/>
                    <a:pt x="25359" y="15548"/>
                    <a:pt x="22361" y="17297"/>
                  </a:cubicBezTo>
                  <a:cubicBezTo>
                    <a:pt x="17489" y="20233"/>
                    <a:pt x="12367" y="22669"/>
                    <a:pt x="7808" y="25979"/>
                  </a:cubicBezTo>
                  <a:cubicBezTo>
                    <a:pt x="6121" y="27166"/>
                    <a:pt x="4310" y="28915"/>
                    <a:pt x="1686" y="27916"/>
                  </a:cubicBezTo>
                  <a:cubicBezTo>
                    <a:pt x="-687" y="25792"/>
                    <a:pt x="3435" y="25230"/>
                    <a:pt x="2936" y="23606"/>
                  </a:cubicBezTo>
                  <a:cubicBezTo>
                    <a:pt x="2186" y="22856"/>
                    <a:pt x="937" y="24418"/>
                    <a:pt x="0" y="22981"/>
                  </a:cubicBezTo>
                  <a:cubicBezTo>
                    <a:pt x="9057" y="16298"/>
                    <a:pt x="21424" y="15798"/>
                    <a:pt x="30543" y="9552"/>
                  </a:cubicBezTo>
                  <a:cubicBezTo>
                    <a:pt x="42598" y="4618"/>
                    <a:pt x="55215" y="1370"/>
                    <a:pt x="68332" y="183"/>
                  </a:cubicBezTo>
                  <a:cubicBezTo>
                    <a:pt x="75078" y="-442"/>
                    <a:pt x="82073" y="683"/>
                    <a:pt x="88944" y="1307"/>
                  </a:cubicBezTo>
                  <a:cubicBezTo>
                    <a:pt x="90880" y="1370"/>
                    <a:pt x="92817" y="1745"/>
                    <a:pt x="94753" y="1745"/>
                  </a:cubicBezTo>
                  <a:close/>
                </a:path>
              </a:pathLst>
            </a:custGeom>
            <a:grpFill/>
            <a:ln w="6246" cap="flat">
              <a:noFill/>
              <a:prstDash val="solid"/>
              <a:miter/>
            </a:ln>
          </p:spPr>
          <p:txBody>
            <a:bodyPr rtlCol="0" anchor="ctr"/>
            <a:lstStyle/>
            <a:p>
              <a:endParaRPr lang="fr-FR" sz="2400"/>
            </a:p>
          </p:txBody>
        </p:sp>
        <p:sp>
          <p:nvSpPr>
            <p:cNvPr id="290" name="Freeform: Shape 289">
              <a:extLst>
                <a:ext uri="{FF2B5EF4-FFF2-40B4-BE49-F238E27FC236}">
                  <a16:creationId xmlns:a16="http://schemas.microsoft.com/office/drawing/2014/main" id="{8451C3AC-3A02-46AF-B327-ADE6BAED76EB}"/>
                </a:ext>
              </a:extLst>
            </p:cNvPr>
            <p:cNvSpPr/>
            <p:nvPr/>
          </p:nvSpPr>
          <p:spPr>
            <a:xfrm>
              <a:off x="1151949" y="454962"/>
              <a:ext cx="37476" cy="43722"/>
            </a:xfrm>
            <a:custGeom>
              <a:avLst/>
              <a:gdLst>
                <a:gd name="connsiteX0" fmla="*/ 17907 w 37476"/>
                <a:gd name="connsiteY0" fmla="*/ 17551 h 43722"/>
                <a:gd name="connsiteX1" fmla="*/ 30899 w 37476"/>
                <a:gd name="connsiteY1" fmla="*/ 4122 h 43722"/>
                <a:gd name="connsiteX2" fmla="*/ 38644 w 37476"/>
                <a:gd name="connsiteY2" fmla="*/ 0 h 43722"/>
                <a:gd name="connsiteX3" fmla="*/ 24278 w 37476"/>
                <a:gd name="connsiteY3" fmla="*/ 19425 h 43722"/>
                <a:gd name="connsiteX4" fmla="*/ 22029 w 37476"/>
                <a:gd name="connsiteY4" fmla="*/ 21049 h 43722"/>
                <a:gd name="connsiteX5" fmla="*/ 21342 w 37476"/>
                <a:gd name="connsiteY5" fmla="*/ 22236 h 43722"/>
                <a:gd name="connsiteX6" fmla="*/ 11224 w 37476"/>
                <a:gd name="connsiteY6" fmla="*/ 33541 h 43722"/>
                <a:gd name="connsiteX7" fmla="*/ 4166 w 37476"/>
                <a:gd name="connsiteY7" fmla="*/ 42910 h 43722"/>
                <a:gd name="connsiteX8" fmla="*/ 418 w 37476"/>
                <a:gd name="connsiteY8" fmla="*/ 44410 h 43722"/>
                <a:gd name="connsiteX9" fmla="*/ 2542 w 37476"/>
                <a:gd name="connsiteY9" fmla="*/ 33979 h 43722"/>
                <a:gd name="connsiteX10" fmla="*/ 8475 w 37476"/>
                <a:gd name="connsiteY10" fmla="*/ 22361 h 43722"/>
                <a:gd name="connsiteX11" fmla="*/ 10224 w 37476"/>
                <a:gd name="connsiteY11" fmla="*/ 20987 h 43722"/>
                <a:gd name="connsiteX12" fmla="*/ 12473 w 37476"/>
                <a:gd name="connsiteY12" fmla="*/ 21861 h 43722"/>
                <a:gd name="connsiteX13" fmla="*/ 13285 w 37476"/>
                <a:gd name="connsiteY13" fmla="*/ 23235 h 43722"/>
                <a:gd name="connsiteX14" fmla="*/ 12973 w 37476"/>
                <a:gd name="connsiteY14" fmla="*/ 21861 h 43722"/>
                <a:gd name="connsiteX15" fmla="*/ 17907 w 37476"/>
                <a:gd name="connsiteY15" fmla="*/ 1755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476" h="43722">
                  <a:moveTo>
                    <a:pt x="17907" y="17551"/>
                  </a:moveTo>
                  <a:cubicBezTo>
                    <a:pt x="21342" y="12367"/>
                    <a:pt x="25340" y="7495"/>
                    <a:pt x="30899" y="4122"/>
                  </a:cubicBezTo>
                  <a:cubicBezTo>
                    <a:pt x="32898" y="2936"/>
                    <a:pt x="34397" y="625"/>
                    <a:pt x="38644" y="0"/>
                  </a:cubicBezTo>
                  <a:cubicBezTo>
                    <a:pt x="32460" y="6558"/>
                    <a:pt x="30399" y="14116"/>
                    <a:pt x="24278" y="19425"/>
                  </a:cubicBezTo>
                  <a:cubicBezTo>
                    <a:pt x="21842" y="18051"/>
                    <a:pt x="22654" y="20362"/>
                    <a:pt x="22029" y="21049"/>
                  </a:cubicBezTo>
                  <a:cubicBezTo>
                    <a:pt x="21842" y="21486"/>
                    <a:pt x="21655" y="21861"/>
                    <a:pt x="21342" y="22236"/>
                  </a:cubicBezTo>
                  <a:cubicBezTo>
                    <a:pt x="17470" y="25609"/>
                    <a:pt x="14034" y="29357"/>
                    <a:pt x="11224" y="33541"/>
                  </a:cubicBezTo>
                  <a:cubicBezTo>
                    <a:pt x="9475" y="37039"/>
                    <a:pt x="6477" y="39787"/>
                    <a:pt x="4166" y="42910"/>
                  </a:cubicBezTo>
                  <a:cubicBezTo>
                    <a:pt x="3354" y="44035"/>
                    <a:pt x="2354" y="45409"/>
                    <a:pt x="418" y="44410"/>
                  </a:cubicBezTo>
                  <a:cubicBezTo>
                    <a:pt x="-1206" y="40537"/>
                    <a:pt x="2417" y="37539"/>
                    <a:pt x="2542" y="33979"/>
                  </a:cubicBezTo>
                  <a:cubicBezTo>
                    <a:pt x="3916" y="29856"/>
                    <a:pt x="6976" y="26421"/>
                    <a:pt x="8475" y="22361"/>
                  </a:cubicBezTo>
                  <a:cubicBezTo>
                    <a:pt x="8913" y="21736"/>
                    <a:pt x="9475" y="21299"/>
                    <a:pt x="10224" y="20987"/>
                  </a:cubicBezTo>
                  <a:cubicBezTo>
                    <a:pt x="11161" y="20862"/>
                    <a:pt x="11911" y="21174"/>
                    <a:pt x="12473" y="21861"/>
                  </a:cubicBezTo>
                  <a:cubicBezTo>
                    <a:pt x="12785" y="22299"/>
                    <a:pt x="12973" y="22798"/>
                    <a:pt x="13285" y="23235"/>
                  </a:cubicBezTo>
                  <a:cubicBezTo>
                    <a:pt x="13035" y="22798"/>
                    <a:pt x="12910" y="22299"/>
                    <a:pt x="12973" y="21861"/>
                  </a:cubicBezTo>
                  <a:cubicBezTo>
                    <a:pt x="13597" y="19550"/>
                    <a:pt x="15471" y="18301"/>
                    <a:pt x="17907" y="17551"/>
                  </a:cubicBezTo>
                  <a:close/>
                </a:path>
              </a:pathLst>
            </a:custGeom>
            <a:grpFill/>
            <a:ln w="6246" cap="flat">
              <a:noFill/>
              <a:prstDash val="solid"/>
              <a:miter/>
            </a:ln>
          </p:spPr>
          <p:txBody>
            <a:bodyPr rtlCol="0" anchor="ctr"/>
            <a:lstStyle/>
            <a:p>
              <a:endParaRPr lang="fr-FR" sz="2400"/>
            </a:p>
          </p:txBody>
        </p:sp>
        <p:sp>
          <p:nvSpPr>
            <p:cNvPr id="291" name="Freeform: Shape 290">
              <a:extLst>
                <a:ext uri="{FF2B5EF4-FFF2-40B4-BE49-F238E27FC236}">
                  <a16:creationId xmlns:a16="http://schemas.microsoft.com/office/drawing/2014/main" id="{C96400D3-F461-4FF2-85D6-9F11493480A8}"/>
                </a:ext>
              </a:extLst>
            </p:cNvPr>
            <p:cNvSpPr/>
            <p:nvPr/>
          </p:nvSpPr>
          <p:spPr>
            <a:xfrm>
              <a:off x="1196402" y="423170"/>
              <a:ext cx="31230" cy="12492"/>
            </a:xfrm>
            <a:custGeom>
              <a:avLst/>
              <a:gdLst>
                <a:gd name="connsiteX0" fmla="*/ 31230 w 31230"/>
                <a:gd name="connsiteY0" fmla="*/ 0 h 12492"/>
                <a:gd name="connsiteX1" fmla="*/ 32417 w 31230"/>
                <a:gd name="connsiteY1" fmla="*/ 1249 h 12492"/>
                <a:gd name="connsiteX2" fmla="*/ 33354 w 31230"/>
                <a:gd name="connsiteY2" fmla="*/ 2873 h 12492"/>
                <a:gd name="connsiteX3" fmla="*/ 10868 w 31230"/>
                <a:gd name="connsiteY3" fmla="*/ 14179 h 12492"/>
                <a:gd name="connsiteX4" fmla="*/ 4497 w 31230"/>
                <a:gd name="connsiteY4" fmla="*/ 17364 h 12492"/>
                <a:gd name="connsiteX5" fmla="*/ 2685 w 31230"/>
                <a:gd name="connsiteY5" fmla="*/ 16615 h 12492"/>
                <a:gd name="connsiteX6" fmla="*/ 1936 w 31230"/>
                <a:gd name="connsiteY6" fmla="*/ 12180 h 12492"/>
                <a:gd name="connsiteX7" fmla="*/ 3310 w 31230"/>
                <a:gd name="connsiteY7" fmla="*/ 11743 h 12492"/>
                <a:gd name="connsiteX8" fmla="*/ 14053 w 31230"/>
                <a:gd name="connsiteY8" fmla="*/ 6683 h 12492"/>
                <a:gd name="connsiteX9" fmla="*/ 31230 w 31230"/>
                <a:gd name="connsiteY9"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31230" y="0"/>
                  </a:moveTo>
                  <a:cubicBezTo>
                    <a:pt x="32042" y="125"/>
                    <a:pt x="33104" y="125"/>
                    <a:pt x="32417" y="1249"/>
                  </a:cubicBezTo>
                  <a:cubicBezTo>
                    <a:pt x="31667" y="2436"/>
                    <a:pt x="32042" y="2873"/>
                    <a:pt x="33354" y="2873"/>
                  </a:cubicBezTo>
                  <a:cubicBezTo>
                    <a:pt x="26171" y="7183"/>
                    <a:pt x="18613" y="10868"/>
                    <a:pt x="10868" y="14179"/>
                  </a:cubicBezTo>
                  <a:cubicBezTo>
                    <a:pt x="8619" y="15115"/>
                    <a:pt x="7245" y="17364"/>
                    <a:pt x="4497" y="17364"/>
                  </a:cubicBezTo>
                  <a:cubicBezTo>
                    <a:pt x="3997" y="16989"/>
                    <a:pt x="3248" y="16927"/>
                    <a:pt x="2685" y="16615"/>
                  </a:cubicBezTo>
                  <a:cubicBezTo>
                    <a:pt x="-625" y="15553"/>
                    <a:pt x="-875" y="14116"/>
                    <a:pt x="1936" y="12180"/>
                  </a:cubicBezTo>
                  <a:cubicBezTo>
                    <a:pt x="2373" y="11992"/>
                    <a:pt x="2810" y="11868"/>
                    <a:pt x="3310" y="11743"/>
                  </a:cubicBezTo>
                  <a:cubicBezTo>
                    <a:pt x="7433" y="10993"/>
                    <a:pt x="10306" y="8120"/>
                    <a:pt x="14053" y="6683"/>
                  </a:cubicBezTo>
                  <a:cubicBezTo>
                    <a:pt x="19550" y="3997"/>
                    <a:pt x="25484" y="2249"/>
                    <a:pt x="31230" y="0"/>
                  </a:cubicBezTo>
                  <a:close/>
                </a:path>
              </a:pathLst>
            </a:custGeom>
            <a:grpFill/>
            <a:ln w="6246" cap="flat">
              <a:noFill/>
              <a:prstDash val="solid"/>
              <a:miter/>
            </a:ln>
          </p:spPr>
          <p:txBody>
            <a:bodyPr rtlCol="0" anchor="ctr"/>
            <a:lstStyle/>
            <a:p>
              <a:endParaRPr lang="fr-FR" sz="2400"/>
            </a:p>
          </p:txBody>
        </p:sp>
        <p:sp>
          <p:nvSpPr>
            <p:cNvPr id="292" name="Freeform: Shape 291">
              <a:extLst>
                <a:ext uri="{FF2B5EF4-FFF2-40B4-BE49-F238E27FC236}">
                  <a16:creationId xmlns:a16="http://schemas.microsoft.com/office/drawing/2014/main" id="{465A8999-1263-42A1-9C40-9933372B0965}"/>
                </a:ext>
              </a:extLst>
            </p:cNvPr>
            <p:cNvSpPr/>
            <p:nvPr/>
          </p:nvSpPr>
          <p:spPr>
            <a:xfrm>
              <a:off x="1182723" y="434778"/>
              <a:ext cx="43722" cy="43722"/>
            </a:xfrm>
            <a:custGeom>
              <a:avLst/>
              <a:gdLst>
                <a:gd name="connsiteX0" fmla="*/ 25671 w 43722"/>
                <a:gd name="connsiteY0" fmla="*/ 11627 h 43722"/>
                <a:gd name="connsiteX1" fmla="*/ 45971 w 43722"/>
                <a:gd name="connsiteY1" fmla="*/ 9 h 43722"/>
                <a:gd name="connsiteX2" fmla="*/ 46783 w 43722"/>
                <a:gd name="connsiteY2" fmla="*/ 1696 h 43722"/>
                <a:gd name="connsiteX3" fmla="*/ 42473 w 43722"/>
                <a:gd name="connsiteY3" fmla="*/ 5193 h 43722"/>
                <a:gd name="connsiteX4" fmla="*/ 11680 w 43722"/>
                <a:gd name="connsiteY4" fmla="*/ 32801 h 43722"/>
                <a:gd name="connsiteX5" fmla="*/ 749 w 43722"/>
                <a:gd name="connsiteY5" fmla="*/ 43732 h 43722"/>
                <a:gd name="connsiteX6" fmla="*/ 0 w 43722"/>
                <a:gd name="connsiteY6" fmla="*/ 43544 h 43722"/>
                <a:gd name="connsiteX7" fmla="*/ 11243 w 43722"/>
                <a:gd name="connsiteY7" fmla="*/ 28179 h 43722"/>
                <a:gd name="connsiteX8" fmla="*/ 25671 w 43722"/>
                <a:gd name="connsiteY8" fmla="*/ 11627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22" h="43722">
                  <a:moveTo>
                    <a:pt x="25671" y="11627"/>
                  </a:moveTo>
                  <a:cubicBezTo>
                    <a:pt x="32729" y="8191"/>
                    <a:pt x="38726" y="3132"/>
                    <a:pt x="45971" y="9"/>
                  </a:cubicBezTo>
                  <a:cubicBezTo>
                    <a:pt x="48095" y="-116"/>
                    <a:pt x="47220" y="1071"/>
                    <a:pt x="46783" y="1696"/>
                  </a:cubicBezTo>
                  <a:cubicBezTo>
                    <a:pt x="45721" y="3257"/>
                    <a:pt x="44035" y="4256"/>
                    <a:pt x="42473" y="5193"/>
                  </a:cubicBezTo>
                  <a:cubicBezTo>
                    <a:pt x="30169" y="12564"/>
                    <a:pt x="21299" y="22995"/>
                    <a:pt x="11680" y="32801"/>
                  </a:cubicBezTo>
                  <a:cubicBezTo>
                    <a:pt x="8057" y="36486"/>
                    <a:pt x="5559" y="41046"/>
                    <a:pt x="749" y="43732"/>
                  </a:cubicBezTo>
                  <a:cubicBezTo>
                    <a:pt x="500" y="43669"/>
                    <a:pt x="250" y="43607"/>
                    <a:pt x="0" y="43544"/>
                  </a:cubicBezTo>
                  <a:cubicBezTo>
                    <a:pt x="2186" y="37486"/>
                    <a:pt x="6746" y="32801"/>
                    <a:pt x="11243" y="28179"/>
                  </a:cubicBezTo>
                  <a:cubicBezTo>
                    <a:pt x="16427" y="22870"/>
                    <a:pt x="22611" y="18373"/>
                    <a:pt x="25671" y="11627"/>
                  </a:cubicBezTo>
                  <a:close/>
                </a:path>
              </a:pathLst>
            </a:custGeom>
            <a:grpFill/>
            <a:ln w="6246" cap="flat">
              <a:noFill/>
              <a:prstDash val="solid"/>
              <a:miter/>
            </a:ln>
          </p:spPr>
          <p:txBody>
            <a:bodyPr rtlCol="0" anchor="ctr"/>
            <a:lstStyle/>
            <a:p>
              <a:endParaRPr lang="fr-FR" sz="2400"/>
            </a:p>
          </p:txBody>
        </p:sp>
        <p:sp>
          <p:nvSpPr>
            <p:cNvPr id="293" name="Freeform: Shape 292">
              <a:extLst>
                <a:ext uri="{FF2B5EF4-FFF2-40B4-BE49-F238E27FC236}">
                  <a16:creationId xmlns:a16="http://schemas.microsoft.com/office/drawing/2014/main" id="{12DF6455-CBB3-43C3-A4D6-2170B8231324}"/>
                </a:ext>
              </a:extLst>
            </p:cNvPr>
            <p:cNvSpPr/>
            <p:nvPr/>
          </p:nvSpPr>
          <p:spPr>
            <a:xfrm>
              <a:off x="1157251" y="492112"/>
              <a:ext cx="6246" cy="24984"/>
            </a:xfrm>
            <a:custGeom>
              <a:avLst/>
              <a:gdLst>
                <a:gd name="connsiteX0" fmla="*/ 6172 w 6246"/>
                <a:gd name="connsiteY0" fmla="*/ 23875 h 24984"/>
                <a:gd name="connsiteX1" fmla="*/ 3423 w 6246"/>
                <a:gd name="connsiteY1" fmla="*/ 28747 h 24984"/>
                <a:gd name="connsiteX2" fmla="*/ 862 w 6246"/>
                <a:gd name="connsiteY2" fmla="*/ 26748 h 24984"/>
                <a:gd name="connsiteX3" fmla="*/ 1424 w 6246"/>
                <a:gd name="connsiteY3" fmla="*/ 15380 h 24984"/>
                <a:gd name="connsiteX4" fmla="*/ 2799 w 6246"/>
                <a:gd name="connsiteY4" fmla="*/ 9571 h 24984"/>
                <a:gd name="connsiteX5" fmla="*/ 4797 w 6246"/>
                <a:gd name="connsiteY5" fmla="*/ 3575 h 24984"/>
                <a:gd name="connsiteX6" fmla="*/ 6609 w 6246"/>
                <a:gd name="connsiteY6" fmla="*/ 577 h 24984"/>
                <a:gd name="connsiteX7" fmla="*/ 8670 w 6246"/>
                <a:gd name="connsiteY7" fmla="*/ 15 h 24984"/>
                <a:gd name="connsiteX8" fmla="*/ 9919 w 6246"/>
                <a:gd name="connsiteY8" fmla="*/ 577 h 24984"/>
                <a:gd name="connsiteX9" fmla="*/ 11543 w 6246"/>
                <a:gd name="connsiteY9" fmla="*/ 2513 h 24984"/>
                <a:gd name="connsiteX10" fmla="*/ 6172 w 6246"/>
                <a:gd name="connsiteY10" fmla="*/ 2387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24984">
                  <a:moveTo>
                    <a:pt x="6172" y="23875"/>
                  </a:moveTo>
                  <a:cubicBezTo>
                    <a:pt x="4360" y="25062"/>
                    <a:pt x="5672" y="27373"/>
                    <a:pt x="3423" y="28747"/>
                  </a:cubicBezTo>
                  <a:cubicBezTo>
                    <a:pt x="2361" y="28872"/>
                    <a:pt x="2236" y="26873"/>
                    <a:pt x="862" y="26748"/>
                  </a:cubicBezTo>
                  <a:cubicBezTo>
                    <a:pt x="-1261" y="22875"/>
                    <a:pt x="1175" y="19190"/>
                    <a:pt x="1424" y="15380"/>
                  </a:cubicBezTo>
                  <a:cubicBezTo>
                    <a:pt x="1424" y="13381"/>
                    <a:pt x="2299" y="11508"/>
                    <a:pt x="2799" y="9571"/>
                  </a:cubicBezTo>
                  <a:cubicBezTo>
                    <a:pt x="3673" y="7635"/>
                    <a:pt x="3985" y="5511"/>
                    <a:pt x="4797" y="3575"/>
                  </a:cubicBezTo>
                  <a:cubicBezTo>
                    <a:pt x="5235" y="2513"/>
                    <a:pt x="5734" y="1451"/>
                    <a:pt x="6609" y="577"/>
                  </a:cubicBezTo>
                  <a:cubicBezTo>
                    <a:pt x="7171" y="77"/>
                    <a:pt x="7858" y="-48"/>
                    <a:pt x="8670" y="15"/>
                  </a:cubicBezTo>
                  <a:cubicBezTo>
                    <a:pt x="9107" y="140"/>
                    <a:pt x="9544" y="327"/>
                    <a:pt x="9919" y="577"/>
                  </a:cubicBezTo>
                  <a:cubicBezTo>
                    <a:pt x="10544" y="1202"/>
                    <a:pt x="10731" y="2076"/>
                    <a:pt x="11543" y="2513"/>
                  </a:cubicBezTo>
                  <a:cubicBezTo>
                    <a:pt x="7671" y="9259"/>
                    <a:pt x="7171" y="16629"/>
                    <a:pt x="6172" y="23875"/>
                  </a:cubicBezTo>
                  <a:close/>
                </a:path>
              </a:pathLst>
            </a:custGeom>
            <a:grpFill/>
            <a:ln w="6246" cap="flat">
              <a:noFill/>
              <a:prstDash val="solid"/>
              <a:miter/>
            </a:ln>
          </p:spPr>
          <p:txBody>
            <a:bodyPr rtlCol="0" anchor="ctr"/>
            <a:lstStyle/>
            <a:p>
              <a:endParaRPr lang="fr-FR" sz="2400"/>
            </a:p>
          </p:txBody>
        </p:sp>
        <p:sp>
          <p:nvSpPr>
            <p:cNvPr id="294" name="Freeform: Shape 293">
              <a:extLst>
                <a:ext uri="{FF2B5EF4-FFF2-40B4-BE49-F238E27FC236}">
                  <a16:creationId xmlns:a16="http://schemas.microsoft.com/office/drawing/2014/main" id="{5C99B2D4-8C18-49EA-954B-D0173A15239F}"/>
                </a:ext>
              </a:extLst>
            </p:cNvPr>
            <p:cNvSpPr/>
            <p:nvPr/>
          </p:nvSpPr>
          <p:spPr>
            <a:xfrm>
              <a:off x="1166098" y="475161"/>
              <a:ext cx="12492" cy="12492"/>
            </a:xfrm>
            <a:custGeom>
              <a:avLst/>
              <a:gdLst>
                <a:gd name="connsiteX0" fmla="*/ 9129 w 12492"/>
                <a:gd name="connsiteY0" fmla="*/ 226 h 12492"/>
                <a:gd name="connsiteX1" fmla="*/ 13189 w 12492"/>
                <a:gd name="connsiteY1" fmla="*/ 413 h 12492"/>
                <a:gd name="connsiteX2" fmla="*/ 10191 w 12492"/>
                <a:gd name="connsiteY2" fmla="*/ 4098 h 12492"/>
                <a:gd name="connsiteX3" fmla="*/ 7006 w 12492"/>
                <a:gd name="connsiteY3" fmla="*/ 9907 h 12492"/>
                <a:gd name="connsiteX4" fmla="*/ 2758 w 12492"/>
                <a:gd name="connsiteY4" fmla="*/ 18589 h 12492"/>
                <a:gd name="connsiteX5" fmla="*/ 635 w 12492"/>
                <a:gd name="connsiteY5" fmla="*/ 17652 h 12492"/>
                <a:gd name="connsiteX6" fmla="*/ 635 w 12492"/>
                <a:gd name="connsiteY6" fmla="*/ 17652 h 12492"/>
                <a:gd name="connsiteX7" fmla="*/ 1697 w 12492"/>
                <a:gd name="connsiteY7" fmla="*/ 8346 h 12492"/>
                <a:gd name="connsiteX8" fmla="*/ 7068 w 12492"/>
                <a:gd name="connsiteY8" fmla="*/ 1225 h 12492"/>
                <a:gd name="connsiteX9" fmla="*/ 7068 w 12492"/>
                <a:gd name="connsiteY9" fmla="*/ 1225 h 12492"/>
                <a:gd name="connsiteX10" fmla="*/ 9129 w 12492"/>
                <a:gd name="connsiteY10" fmla="*/ 22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9129" y="226"/>
                  </a:moveTo>
                  <a:cubicBezTo>
                    <a:pt x="10441" y="3536"/>
                    <a:pt x="11753" y="-1398"/>
                    <a:pt x="13189" y="413"/>
                  </a:cubicBezTo>
                  <a:cubicBezTo>
                    <a:pt x="13502" y="2349"/>
                    <a:pt x="11753" y="3161"/>
                    <a:pt x="10191" y="4098"/>
                  </a:cubicBezTo>
                  <a:cubicBezTo>
                    <a:pt x="8005" y="5535"/>
                    <a:pt x="7193" y="7596"/>
                    <a:pt x="7006" y="9907"/>
                  </a:cubicBezTo>
                  <a:cubicBezTo>
                    <a:pt x="5507" y="12780"/>
                    <a:pt x="5632" y="16278"/>
                    <a:pt x="2758" y="18589"/>
                  </a:cubicBezTo>
                  <a:cubicBezTo>
                    <a:pt x="2134" y="18089"/>
                    <a:pt x="1322" y="17902"/>
                    <a:pt x="635" y="17652"/>
                  </a:cubicBezTo>
                  <a:lnTo>
                    <a:pt x="635" y="17652"/>
                  </a:lnTo>
                  <a:cubicBezTo>
                    <a:pt x="-1302" y="14342"/>
                    <a:pt x="1822" y="11469"/>
                    <a:pt x="1697" y="8346"/>
                  </a:cubicBezTo>
                  <a:cubicBezTo>
                    <a:pt x="2633" y="5472"/>
                    <a:pt x="5819" y="3911"/>
                    <a:pt x="7068" y="1225"/>
                  </a:cubicBezTo>
                  <a:lnTo>
                    <a:pt x="7068" y="1225"/>
                  </a:lnTo>
                  <a:cubicBezTo>
                    <a:pt x="7568" y="663"/>
                    <a:pt x="7880" y="-399"/>
                    <a:pt x="9129" y="226"/>
                  </a:cubicBezTo>
                  <a:close/>
                </a:path>
              </a:pathLst>
            </a:custGeom>
            <a:grpFill/>
            <a:ln w="6246" cap="flat">
              <a:noFill/>
              <a:prstDash val="solid"/>
              <a:miter/>
            </a:ln>
          </p:spPr>
          <p:txBody>
            <a:bodyPr rtlCol="0" anchor="ctr"/>
            <a:lstStyle/>
            <a:p>
              <a:endParaRPr lang="fr-FR" sz="2400"/>
            </a:p>
          </p:txBody>
        </p:sp>
        <p:sp>
          <p:nvSpPr>
            <p:cNvPr id="295" name="Freeform: Shape 294">
              <a:extLst>
                <a:ext uri="{FF2B5EF4-FFF2-40B4-BE49-F238E27FC236}">
                  <a16:creationId xmlns:a16="http://schemas.microsoft.com/office/drawing/2014/main" id="{EAF18144-1F12-4896-93C1-09634CB1A7F8}"/>
                </a:ext>
              </a:extLst>
            </p:cNvPr>
            <p:cNvSpPr/>
            <p:nvPr/>
          </p:nvSpPr>
          <p:spPr>
            <a:xfrm>
              <a:off x="1168224" y="447779"/>
              <a:ext cx="18738" cy="18738"/>
            </a:xfrm>
            <a:custGeom>
              <a:avLst/>
              <a:gdLst>
                <a:gd name="connsiteX0" fmla="*/ 20870 w 18738"/>
                <a:gd name="connsiteY0" fmla="*/ 1499 h 18738"/>
                <a:gd name="connsiteX1" fmla="*/ 3881 w 18738"/>
                <a:gd name="connsiteY1" fmla="*/ 17801 h 18738"/>
                <a:gd name="connsiteX2" fmla="*/ 570 w 18738"/>
                <a:gd name="connsiteY2" fmla="*/ 20799 h 18738"/>
                <a:gd name="connsiteX3" fmla="*/ 133 w 18738"/>
                <a:gd name="connsiteY3" fmla="*/ 20237 h 18738"/>
                <a:gd name="connsiteX4" fmla="*/ 758 w 18738"/>
                <a:gd name="connsiteY4" fmla="*/ 17489 h 18738"/>
                <a:gd name="connsiteX5" fmla="*/ 15561 w 18738"/>
                <a:gd name="connsiteY5" fmla="*/ 1249 h 18738"/>
                <a:gd name="connsiteX6" fmla="*/ 18371 w 18738"/>
                <a:gd name="connsiteY6" fmla="*/ 0 h 18738"/>
                <a:gd name="connsiteX7" fmla="*/ 20870 w 18738"/>
                <a:gd name="connsiteY7" fmla="*/ 14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18738">
                  <a:moveTo>
                    <a:pt x="20870" y="1499"/>
                  </a:moveTo>
                  <a:cubicBezTo>
                    <a:pt x="14062" y="5996"/>
                    <a:pt x="9190" y="12055"/>
                    <a:pt x="3881" y="17801"/>
                  </a:cubicBezTo>
                  <a:cubicBezTo>
                    <a:pt x="2881" y="18926"/>
                    <a:pt x="2069" y="20175"/>
                    <a:pt x="570" y="20799"/>
                  </a:cubicBezTo>
                  <a:cubicBezTo>
                    <a:pt x="445" y="20612"/>
                    <a:pt x="258" y="20425"/>
                    <a:pt x="133" y="20237"/>
                  </a:cubicBezTo>
                  <a:cubicBezTo>
                    <a:pt x="-179" y="19238"/>
                    <a:pt x="71" y="18301"/>
                    <a:pt x="758" y="17489"/>
                  </a:cubicBezTo>
                  <a:cubicBezTo>
                    <a:pt x="5380" y="11867"/>
                    <a:pt x="10189" y="6308"/>
                    <a:pt x="15561" y="1249"/>
                  </a:cubicBezTo>
                  <a:cubicBezTo>
                    <a:pt x="16310" y="562"/>
                    <a:pt x="17247" y="125"/>
                    <a:pt x="18371" y="0"/>
                  </a:cubicBezTo>
                  <a:cubicBezTo>
                    <a:pt x="19496" y="187"/>
                    <a:pt x="20370" y="625"/>
                    <a:pt x="20870" y="1499"/>
                  </a:cubicBezTo>
                  <a:close/>
                </a:path>
              </a:pathLst>
            </a:custGeom>
            <a:grpFill/>
            <a:ln w="6246" cap="flat">
              <a:noFill/>
              <a:prstDash val="solid"/>
              <a:miter/>
            </a:ln>
          </p:spPr>
          <p:txBody>
            <a:bodyPr rtlCol="0" anchor="ctr"/>
            <a:lstStyle/>
            <a:p>
              <a:endParaRPr lang="fr-FR" sz="2400"/>
            </a:p>
          </p:txBody>
        </p:sp>
        <p:sp>
          <p:nvSpPr>
            <p:cNvPr id="296" name="Freeform: Shape 295">
              <a:extLst>
                <a:ext uri="{FF2B5EF4-FFF2-40B4-BE49-F238E27FC236}">
                  <a16:creationId xmlns:a16="http://schemas.microsoft.com/office/drawing/2014/main" id="{D4DA5F8D-34C6-4825-B704-C8DFC7BBC7C3}"/>
                </a:ext>
              </a:extLst>
            </p:cNvPr>
            <p:cNvSpPr/>
            <p:nvPr/>
          </p:nvSpPr>
          <p:spPr>
            <a:xfrm>
              <a:off x="1186970" y="439660"/>
              <a:ext cx="12492" cy="6246"/>
            </a:xfrm>
            <a:custGeom>
              <a:avLst/>
              <a:gdLst>
                <a:gd name="connsiteX0" fmla="*/ 2124 w 12492"/>
                <a:gd name="connsiteY0" fmla="*/ 9619 h 6246"/>
                <a:gd name="connsiteX1" fmla="*/ 0 w 12492"/>
                <a:gd name="connsiteY1" fmla="*/ 8682 h 6246"/>
                <a:gd name="connsiteX2" fmla="*/ 12804 w 12492"/>
                <a:gd name="connsiteY2" fmla="*/ 0 h 6246"/>
                <a:gd name="connsiteX3" fmla="*/ 13866 w 12492"/>
                <a:gd name="connsiteY3" fmla="*/ 999 h 6246"/>
                <a:gd name="connsiteX4" fmla="*/ 2124 w 12492"/>
                <a:gd name="connsiteY4" fmla="*/ 96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24" y="9619"/>
                  </a:moveTo>
                  <a:cubicBezTo>
                    <a:pt x="1249" y="9619"/>
                    <a:pt x="500" y="9369"/>
                    <a:pt x="0" y="8682"/>
                  </a:cubicBezTo>
                  <a:cubicBezTo>
                    <a:pt x="2623" y="3748"/>
                    <a:pt x="6558" y="437"/>
                    <a:pt x="12804" y="0"/>
                  </a:cubicBezTo>
                  <a:cubicBezTo>
                    <a:pt x="13179" y="312"/>
                    <a:pt x="13492" y="625"/>
                    <a:pt x="13866" y="999"/>
                  </a:cubicBezTo>
                  <a:cubicBezTo>
                    <a:pt x="9994" y="3810"/>
                    <a:pt x="6059" y="6746"/>
                    <a:pt x="2124" y="9619"/>
                  </a:cubicBezTo>
                  <a:close/>
                </a:path>
              </a:pathLst>
            </a:custGeom>
            <a:grpFill/>
            <a:ln w="6246" cap="flat">
              <a:noFill/>
              <a:prstDash val="solid"/>
              <a:miter/>
            </a:ln>
          </p:spPr>
          <p:txBody>
            <a:bodyPr rtlCol="0" anchor="ctr"/>
            <a:lstStyle/>
            <a:p>
              <a:endParaRPr lang="fr-FR" sz="2400"/>
            </a:p>
          </p:txBody>
        </p:sp>
        <p:sp>
          <p:nvSpPr>
            <p:cNvPr id="297" name="Freeform: Shape 296">
              <a:extLst>
                <a:ext uri="{FF2B5EF4-FFF2-40B4-BE49-F238E27FC236}">
                  <a16:creationId xmlns:a16="http://schemas.microsoft.com/office/drawing/2014/main" id="{39FD8F61-2AA8-48D1-B31E-DAFAE7FF0886}"/>
                </a:ext>
              </a:extLst>
            </p:cNvPr>
            <p:cNvSpPr/>
            <p:nvPr/>
          </p:nvSpPr>
          <p:spPr>
            <a:xfrm>
              <a:off x="1161084" y="468694"/>
              <a:ext cx="6246" cy="6246"/>
            </a:xfrm>
            <a:custGeom>
              <a:avLst/>
              <a:gdLst>
                <a:gd name="connsiteX0" fmla="*/ 8772 w 6246"/>
                <a:gd name="connsiteY0" fmla="*/ 3820 h 6246"/>
                <a:gd name="connsiteX1" fmla="*/ 5524 w 6246"/>
                <a:gd name="connsiteY1" fmla="*/ 7380 h 6246"/>
                <a:gd name="connsiteX2" fmla="*/ 1276 w 6246"/>
                <a:gd name="connsiteY2" fmla="*/ 7693 h 6246"/>
                <a:gd name="connsiteX3" fmla="*/ 464 w 6246"/>
                <a:gd name="connsiteY3" fmla="*/ 6069 h 6246"/>
                <a:gd name="connsiteX4" fmla="*/ 7710 w 6246"/>
                <a:gd name="connsiteY4" fmla="*/ 10 h 6246"/>
                <a:gd name="connsiteX5" fmla="*/ 7710 w 6246"/>
                <a:gd name="connsiteY5" fmla="*/ 10 h 6246"/>
                <a:gd name="connsiteX6" fmla="*/ 8772 w 6246"/>
                <a:gd name="connsiteY6" fmla="*/ 38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8772" y="3820"/>
                  </a:moveTo>
                  <a:cubicBezTo>
                    <a:pt x="7647" y="5007"/>
                    <a:pt x="6086" y="6006"/>
                    <a:pt x="5524" y="7380"/>
                  </a:cubicBezTo>
                  <a:cubicBezTo>
                    <a:pt x="4150" y="10691"/>
                    <a:pt x="2713" y="8505"/>
                    <a:pt x="1276" y="7693"/>
                  </a:cubicBezTo>
                  <a:cubicBezTo>
                    <a:pt x="-847" y="7880"/>
                    <a:pt x="277" y="6756"/>
                    <a:pt x="464" y="6069"/>
                  </a:cubicBezTo>
                  <a:cubicBezTo>
                    <a:pt x="3088" y="4257"/>
                    <a:pt x="2963" y="-240"/>
                    <a:pt x="7710" y="10"/>
                  </a:cubicBezTo>
                  <a:lnTo>
                    <a:pt x="7710" y="10"/>
                  </a:lnTo>
                  <a:cubicBezTo>
                    <a:pt x="7647" y="1322"/>
                    <a:pt x="6273" y="3008"/>
                    <a:pt x="8772" y="3820"/>
                  </a:cubicBezTo>
                  <a:close/>
                </a:path>
              </a:pathLst>
            </a:custGeom>
            <a:grpFill/>
            <a:ln w="6246" cap="flat">
              <a:noFill/>
              <a:prstDash val="solid"/>
              <a:miter/>
            </a:ln>
          </p:spPr>
          <p:txBody>
            <a:bodyPr rtlCol="0" anchor="ctr"/>
            <a:lstStyle/>
            <a:p>
              <a:endParaRPr lang="fr-FR" sz="2400"/>
            </a:p>
          </p:txBody>
        </p:sp>
        <p:sp>
          <p:nvSpPr>
            <p:cNvPr id="298" name="Freeform: Shape 297">
              <a:extLst>
                <a:ext uri="{FF2B5EF4-FFF2-40B4-BE49-F238E27FC236}">
                  <a16:creationId xmlns:a16="http://schemas.microsoft.com/office/drawing/2014/main" id="{011E462A-BE50-477F-8F0F-4C7CD1D47665}"/>
                </a:ext>
              </a:extLst>
            </p:cNvPr>
            <p:cNvSpPr/>
            <p:nvPr/>
          </p:nvSpPr>
          <p:spPr>
            <a:xfrm>
              <a:off x="1174166" y="478323"/>
              <a:ext cx="6246" cy="12492"/>
            </a:xfrm>
            <a:custGeom>
              <a:avLst/>
              <a:gdLst>
                <a:gd name="connsiteX0" fmla="*/ 1062 w 6246"/>
                <a:gd name="connsiteY0" fmla="*/ 14491 h 12492"/>
                <a:gd name="connsiteX1" fmla="*/ 0 w 6246"/>
                <a:gd name="connsiteY1" fmla="*/ 13554 h 12492"/>
                <a:gd name="connsiteX2" fmla="*/ 8557 w 6246"/>
                <a:gd name="connsiteY2" fmla="*/ 0 h 12492"/>
                <a:gd name="connsiteX3" fmla="*/ 8557 w 6246"/>
                <a:gd name="connsiteY3" fmla="*/ 0 h 12492"/>
                <a:gd name="connsiteX4" fmla="*/ 1062 w 6246"/>
                <a:gd name="connsiteY4" fmla="*/ 14491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4491"/>
                  </a:moveTo>
                  <a:cubicBezTo>
                    <a:pt x="687" y="14179"/>
                    <a:pt x="375" y="13866"/>
                    <a:pt x="0" y="13554"/>
                  </a:cubicBezTo>
                  <a:cubicBezTo>
                    <a:pt x="2561" y="8869"/>
                    <a:pt x="4122" y="3685"/>
                    <a:pt x="8557" y="0"/>
                  </a:cubicBezTo>
                  <a:lnTo>
                    <a:pt x="8557" y="0"/>
                  </a:lnTo>
                  <a:cubicBezTo>
                    <a:pt x="8932" y="6059"/>
                    <a:pt x="5684" y="10556"/>
                    <a:pt x="1062" y="14491"/>
                  </a:cubicBezTo>
                  <a:close/>
                </a:path>
              </a:pathLst>
            </a:custGeom>
            <a:grpFill/>
            <a:ln w="6246" cap="flat">
              <a:noFill/>
              <a:prstDash val="solid"/>
              <a:miter/>
            </a:ln>
          </p:spPr>
          <p:txBody>
            <a:bodyPr rtlCol="0" anchor="ctr"/>
            <a:lstStyle/>
            <a:p>
              <a:endParaRPr lang="fr-FR" sz="2400"/>
            </a:p>
          </p:txBody>
        </p:sp>
        <p:sp>
          <p:nvSpPr>
            <p:cNvPr id="299" name="Freeform: Shape 298">
              <a:extLst>
                <a:ext uri="{FF2B5EF4-FFF2-40B4-BE49-F238E27FC236}">
                  <a16:creationId xmlns:a16="http://schemas.microsoft.com/office/drawing/2014/main" id="{9F97F454-CC3D-47F0-A7DE-D0E9BAF5BF15}"/>
                </a:ext>
              </a:extLst>
            </p:cNvPr>
            <p:cNvSpPr/>
            <p:nvPr/>
          </p:nvSpPr>
          <p:spPr>
            <a:xfrm>
              <a:off x="1172722" y="479260"/>
              <a:ext cx="6246" cy="6246"/>
            </a:xfrm>
            <a:custGeom>
              <a:avLst/>
              <a:gdLst>
                <a:gd name="connsiteX0" fmla="*/ 381 w 0"/>
                <a:gd name="connsiteY0" fmla="*/ 5809 h 0"/>
                <a:gd name="connsiteX1" fmla="*/ 3567 w 0"/>
                <a:gd name="connsiteY1" fmla="*/ 0 h 0"/>
                <a:gd name="connsiteX2" fmla="*/ 381 w 0"/>
                <a:gd name="connsiteY2" fmla="*/ 5809 h 0"/>
              </a:gdLst>
              <a:ahLst/>
              <a:cxnLst>
                <a:cxn ang="0">
                  <a:pos x="connsiteX0" y="connsiteY0"/>
                </a:cxn>
                <a:cxn ang="0">
                  <a:pos x="connsiteX1" y="connsiteY1"/>
                </a:cxn>
                <a:cxn ang="0">
                  <a:pos x="connsiteX2" y="connsiteY2"/>
                </a:cxn>
              </a:cxnLst>
              <a:rect l="l" t="t" r="r" b="b"/>
              <a:pathLst>
                <a:path>
                  <a:moveTo>
                    <a:pt x="381" y="5809"/>
                  </a:moveTo>
                  <a:cubicBezTo>
                    <a:pt x="-681" y="2936"/>
                    <a:pt x="506" y="1062"/>
                    <a:pt x="3567" y="0"/>
                  </a:cubicBezTo>
                  <a:cubicBezTo>
                    <a:pt x="2505" y="1936"/>
                    <a:pt x="1443" y="3873"/>
                    <a:pt x="381" y="5809"/>
                  </a:cubicBezTo>
                  <a:close/>
                </a:path>
              </a:pathLst>
            </a:custGeom>
            <a:grpFill/>
            <a:ln w="6246" cap="flat">
              <a:noFill/>
              <a:prstDash val="solid"/>
              <a:miter/>
            </a:ln>
          </p:spPr>
          <p:txBody>
            <a:bodyPr rtlCol="0" anchor="ctr"/>
            <a:lstStyle/>
            <a:p>
              <a:endParaRPr lang="fr-FR" sz="2400"/>
            </a:p>
          </p:txBody>
        </p:sp>
        <p:sp>
          <p:nvSpPr>
            <p:cNvPr id="300" name="Freeform: Shape 299">
              <a:extLst>
                <a:ext uri="{FF2B5EF4-FFF2-40B4-BE49-F238E27FC236}">
                  <a16:creationId xmlns:a16="http://schemas.microsoft.com/office/drawing/2014/main" id="{02C9069D-46F3-443C-80EC-B3491D385DBC}"/>
                </a:ext>
              </a:extLst>
            </p:cNvPr>
            <p:cNvSpPr/>
            <p:nvPr/>
          </p:nvSpPr>
          <p:spPr>
            <a:xfrm>
              <a:off x="1173104" y="470827"/>
              <a:ext cx="6246" cy="6246"/>
            </a:xfrm>
            <a:custGeom>
              <a:avLst/>
              <a:gdLst>
                <a:gd name="connsiteX0" fmla="*/ 2124 w 0"/>
                <a:gd name="connsiteY0" fmla="*/ 4560 h 0"/>
                <a:gd name="connsiteX1" fmla="*/ 0 w 0"/>
                <a:gd name="connsiteY1" fmla="*/ 5497 h 0"/>
                <a:gd name="connsiteX2" fmla="*/ 3997 w 0"/>
                <a:gd name="connsiteY2" fmla="*/ 0 h 0"/>
                <a:gd name="connsiteX3" fmla="*/ 3186 w 0"/>
                <a:gd name="connsiteY3" fmla="*/ 3560 h 0"/>
                <a:gd name="connsiteX4" fmla="*/ 2124 w 0"/>
                <a:gd name="connsiteY4" fmla="*/ 45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4560"/>
                  </a:moveTo>
                  <a:cubicBezTo>
                    <a:pt x="1437" y="4872"/>
                    <a:pt x="687" y="5184"/>
                    <a:pt x="0" y="5497"/>
                  </a:cubicBezTo>
                  <a:cubicBezTo>
                    <a:pt x="375" y="3373"/>
                    <a:pt x="1312" y="1499"/>
                    <a:pt x="3997" y="0"/>
                  </a:cubicBezTo>
                  <a:cubicBezTo>
                    <a:pt x="3623" y="1562"/>
                    <a:pt x="3435" y="2561"/>
                    <a:pt x="3186" y="3560"/>
                  </a:cubicBezTo>
                  <a:cubicBezTo>
                    <a:pt x="2811" y="3935"/>
                    <a:pt x="2436" y="4247"/>
                    <a:pt x="2124" y="4560"/>
                  </a:cubicBezTo>
                  <a:close/>
                </a:path>
              </a:pathLst>
            </a:custGeom>
            <a:grpFill/>
            <a:ln w="6246" cap="flat">
              <a:noFill/>
              <a:prstDash val="solid"/>
              <a:miter/>
            </a:ln>
          </p:spPr>
          <p:txBody>
            <a:bodyPr rtlCol="0" anchor="ctr"/>
            <a:lstStyle/>
            <a:p>
              <a:endParaRPr lang="fr-FR" sz="2400"/>
            </a:p>
          </p:txBody>
        </p:sp>
        <p:sp>
          <p:nvSpPr>
            <p:cNvPr id="301" name="Freeform: Shape 300">
              <a:extLst>
                <a:ext uri="{FF2B5EF4-FFF2-40B4-BE49-F238E27FC236}">
                  <a16:creationId xmlns:a16="http://schemas.microsoft.com/office/drawing/2014/main" id="{3B46B13F-84F9-4271-8ADA-4A5BE11B2389}"/>
                </a:ext>
              </a:extLst>
            </p:cNvPr>
            <p:cNvSpPr/>
            <p:nvPr/>
          </p:nvSpPr>
          <p:spPr>
            <a:xfrm>
              <a:off x="1166668" y="492460"/>
              <a:ext cx="6246" cy="6246"/>
            </a:xfrm>
            <a:custGeom>
              <a:avLst/>
              <a:gdLst>
                <a:gd name="connsiteX0" fmla="*/ 2 w 0"/>
                <a:gd name="connsiteY0" fmla="*/ 354 h 0"/>
                <a:gd name="connsiteX1" fmla="*/ 2126 w 0"/>
                <a:gd name="connsiteY1" fmla="*/ 1291 h 0"/>
                <a:gd name="connsiteX2" fmla="*/ 2126 w 0"/>
                <a:gd name="connsiteY2" fmla="*/ 2228 h 0"/>
                <a:gd name="connsiteX3" fmla="*/ 2 w 0"/>
                <a:gd name="connsiteY3" fmla="*/ 354 h 0"/>
              </a:gdLst>
              <a:ahLst/>
              <a:cxnLst>
                <a:cxn ang="0">
                  <a:pos x="connsiteX0" y="connsiteY0"/>
                </a:cxn>
                <a:cxn ang="0">
                  <a:pos x="connsiteX1" y="connsiteY1"/>
                </a:cxn>
                <a:cxn ang="0">
                  <a:pos x="connsiteX2" y="connsiteY2"/>
                </a:cxn>
                <a:cxn ang="0">
                  <a:pos x="connsiteX3" y="connsiteY3"/>
                </a:cxn>
              </a:cxnLst>
              <a:rect l="l" t="t" r="r" b="b"/>
              <a:pathLst>
                <a:path>
                  <a:moveTo>
                    <a:pt x="2" y="354"/>
                  </a:moveTo>
                  <a:cubicBezTo>
                    <a:pt x="1189" y="-146"/>
                    <a:pt x="2126" y="-333"/>
                    <a:pt x="2126" y="1291"/>
                  </a:cubicBezTo>
                  <a:cubicBezTo>
                    <a:pt x="2126" y="1603"/>
                    <a:pt x="2126" y="1915"/>
                    <a:pt x="2126" y="2228"/>
                  </a:cubicBezTo>
                  <a:cubicBezTo>
                    <a:pt x="-435" y="3290"/>
                    <a:pt x="65" y="1603"/>
                    <a:pt x="2" y="354"/>
                  </a:cubicBezTo>
                  <a:close/>
                </a:path>
              </a:pathLst>
            </a:custGeom>
            <a:grpFill/>
            <a:ln w="6246" cap="flat">
              <a:noFill/>
              <a:prstDash val="solid"/>
              <a:miter/>
            </a:ln>
          </p:spPr>
          <p:txBody>
            <a:bodyPr rtlCol="0" anchor="ctr"/>
            <a:lstStyle/>
            <a:p>
              <a:endParaRPr lang="fr-FR" sz="2400"/>
            </a:p>
          </p:txBody>
        </p:sp>
        <p:sp>
          <p:nvSpPr>
            <p:cNvPr id="302" name="Freeform: Shape 301">
              <a:extLst>
                <a:ext uri="{FF2B5EF4-FFF2-40B4-BE49-F238E27FC236}">
                  <a16:creationId xmlns:a16="http://schemas.microsoft.com/office/drawing/2014/main" id="{3ACA73EF-73CC-400B-91F0-22D2E113680D}"/>
                </a:ext>
              </a:extLst>
            </p:cNvPr>
            <p:cNvSpPr/>
            <p:nvPr/>
          </p:nvSpPr>
          <p:spPr>
            <a:xfrm>
              <a:off x="1311142" y="414483"/>
              <a:ext cx="6246" cy="6246"/>
            </a:xfrm>
            <a:custGeom>
              <a:avLst/>
              <a:gdLst>
                <a:gd name="connsiteX0" fmla="*/ 2124 w 6246"/>
                <a:gd name="connsiteY0" fmla="*/ 5 h 0"/>
                <a:gd name="connsiteX1" fmla="*/ 9619 w 6246"/>
                <a:gd name="connsiteY1" fmla="*/ 1004 h 0"/>
                <a:gd name="connsiteX2" fmla="*/ 8557 w 6246"/>
                <a:gd name="connsiteY2" fmla="*/ 2004 h 0"/>
                <a:gd name="connsiteX3" fmla="*/ 0 w 6246"/>
                <a:gd name="connsiteY3" fmla="*/ 67 h 0"/>
                <a:gd name="connsiteX4" fmla="*/ 2124 w 6246"/>
                <a:gd name="connsiteY4" fmla="*/ 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2124" y="5"/>
                  </a:moveTo>
                  <a:cubicBezTo>
                    <a:pt x="4685" y="67"/>
                    <a:pt x="7245" y="-308"/>
                    <a:pt x="9619" y="1004"/>
                  </a:cubicBezTo>
                  <a:cubicBezTo>
                    <a:pt x="9869" y="1879"/>
                    <a:pt x="9556" y="2253"/>
                    <a:pt x="8557" y="2004"/>
                  </a:cubicBezTo>
                  <a:cubicBezTo>
                    <a:pt x="5496" y="2004"/>
                    <a:pt x="2623" y="1441"/>
                    <a:pt x="0" y="67"/>
                  </a:cubicBezTo>
                  <a:cubicBezTo>
                    <a:pt x="687" y="5"/>
                    <a:pt x="1374" y="5"/>
                    <a:pt x="2124" y="5"/>
                  </a:cubicBezTo>
                  <a:close/>
                </a:path>
              </a:pathLst>
            </a:custGeom>
            <a:grpFill/>
            <a:ln w="6246" cap="flat">
              <a:noFill/>
              <a:prstDash val="solid"/>
              <a:miter/>
            </a:ln>
          </p:spPr>
          <p:txBody>
            <a:bodyPr rtlCol="0" anchor="ctr"/>
            <a:lstStyle/>
            <a:p>
              <a:endParaRPr lang="fr-FR" sz="2400"/>
            </a:p>
          </p:txBody>
        </p:sp>
        <p:sp>
          <p:nvSpPr>
            <p:cNvPr id="303" name="Freeform: Shape 302">
              <a:extLst>
                <a:ext uri="{FF2B5EF4-FFF2-40B4-BE49-F238E27FC236}">
                  <a16:creationId xmlns:a16="http://schemas.microsoft.com/office/drawing/2014/main" id="{7C1BE8FC-2D13-43B3-BC7B-0173B7A669C1}"/>
                </a:ext>
              </a:extLst>
            </p:cNvPr>
            <p:cNvSpPr/>
            <p:nvPr/>
          </p:nvSpPr>
          <p:spPr>
            <a:xfrm>
              <a:off x="1319636" y="415425"/>
              <a:ext cx="6246" cy="6246"/>
            </a:xfrm>
            <a:custGeom>
              <a:avLst/>
              <a:gdLst>
                <a:gd name="connsiteX0" fmla="*/ 0 w 0"/>
                <a:gd name="connsiteY0" fmla="*/ 999 h 0"/>
                <a:gd name="connsiteX1" fmla="*/ 1062 w 0"/>
                <a:gd name="connsiteY1" fmla="*/ 0 h 0"/>
                <a:gd name="connsiteX2" fmla="*/ 5309 w 0"/>
                <a:gd name="connsiteY2" fmla="*/ 937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375" y="687"/>
                    <a:pt x="749" y="375"/>
                    <a:pt x="1062" y="0"/>
                  </a:cubicBezTo>
                  <a:cubicBezTo>
                    <a:pt x="2374" y="687"/>
                    <a:pt x="3810" y="1124"/>
                    <a:pt x="5309" y="937"/>
                  </a:cubicBezTo>
                  <a:cubicBezTo>
                    <a:pt x="3623" y="4372"/>
                    <a:pt x="1811" y="2998"/>
                    <a:pt x="0" y="999"/>
                  </a:cubicBezTo>
                  <a:close/>
                </a:path>
              </a:pathLst>
            </a:custGeom>
            <a:grpFill/>
            <a:ln w="6246" cap="flat">
              <a:noFill/>
              <a:prstDash val="solid"/>
              <a:miter/>
            </a:ln>
          </p:spPr>
          <p:txBody>
            <a:bodyPr rtlCol="0" anchor="ctr"/>
            <a:lstStyle/>
            <a:p>
              <a:endParaRPr lang="fr-FR" sz="2400"/>
            </a:p>
          </p:txBody>
        </p:sp>
        <p:sp>
          <p:nvSpPr>
            <p:cNvPr id="304" name="Freeform: Shape 303">
              <a:extLst>
                <a:ext uri="{FF2B5EF4-FFF2-40B4-BE49-F238E27FC236}">
                  <a16:creationId xmlns:a16="http://schemas.microsoft.com/office/drawing/2014/main" id="{5DBD3B5E-19CE-4A2D-B8FC-B638090289A6}"/>
                </a:ext>
              </a:extLst>
            </p:cNvPr>
            <p:cNvSpPr/>
            <p:nvPr/>
          </p:nvSpPr>
          <p:spPr>
            <a:xfrm>
              <a:off x="1289718" y="408991"/>
              <a:ext cx="12492" cy="6246"/>
            </a:xfrm>
            <a:custGeom>
              <a:avLst/>
              <a:gdLst>
                <a:gd name="connsiteX0" fmla="*/ 0 w 12492"/>
                <a:gd name="connsiteY0" fmla="*/ 3560 h 0"/>
                <a:gd name="connsiteX1" fmla="*/ 13929 w 12492"/>
                <a:gd name="connsiteY1" fmla="*/ 3560 h 0"/>
                <a:gd name="connsiteX2" fmla="*/ 2124 w 12492"/>
                <a:gd name="connsiteY2" fmla="*/ 3560 h 0"/>
                <a:gd name="connsiteX3" fmla="*/ 0 w 12492"/>
                <a:gd name="connsiteY3" fmla="*/ 3560 h 0"/>
              </a:gdLst>
              <a:ahLst/>
              <a:cxnLst>
                <a:cxn ang="0">
                  <a:pos x="connsiteX0" y="connsiteY0"/>
                </a:cxn>
                <a:cxn ang="0">
                  <a:pos x="connsiteX1" y="connsiteY1"/>
                </a:cxn>
                <a:cxn ang="0">
                  <a:pos x="connsiteX2" y="connsiteY2"/>
                </a:cxn>
                <a:cxn ang="0">
                  <a:pos x="connsiteX3" y="connsiteY3"/>
                </a:cxn>
              </a:cxnLst>
              <a:rect l="l" t="t" r="r" b="b"/>
              <a:pathLst>
                <a:path w="12492">
                  <a:moveTo>
                    <a:pt x="0" y="3560"/>
                  </a:moveTo>
                  <a:cubicBezTo>
                    <a:pt x="2748" y="-1187"/>
                    <a:pt x="10306" y="-1187"/>
                    <a:pt x="13929" y="3560"/>
                  </a:cubicBezTo>
                  <a:cubicBezTo>
                    <a:pt x="9994" y="4310"/>
                    <a:pt x="6059" y="4310"/>
                    <a:pt x="2124" y="3560"/>
                  </a:cubicBezTo>
                  <a:cubicBezTo>
                    <a:pt x="1437" y="3560"/>
                    <a:pt x="687" y="3560"/>
                    <a:pt x="0" y="3560"/>
                  </a:cubicBezTo>
                  <a:close/>
                </a:path>
              </a:pathLst>
            </a:custGeom>
            <a:grpFill/>
            <a:ln w="6246" cap="flat">
              <a:noFill/>
              <a:prstDash val="solid"/>
              <a:miter/>
            </a:ln>
          </p:spPr>
          <p:txBody>
            <a:bodyPr rtlCol="0" anchor="ctr"/>
            <a:lstStyle/>
            <a:p>
              <a:endParaRPr lang="fr-FR" sz="2400"/>
            </a:p>
          </p:txBody>
        </p:sp>
        <p:sp>
          <p:nvSpPr>
            <p:cNvPr id="305" name="Freeform: Shape 304">
              <a:extLst>
                <a:ext uri="{FF2B5EF4-FFF2-40B4-BE49-F238E27FC236}">
                  <a16:creationId xmlns:a16="http://schemas.microsoft.com/office/drawing/2014/main" id="{9D1D5FBE-DFDA-4A4A-A964-462027110BE7}"/>
                </a:ext>
              </a:extLst>
            </p:cNvPr>
            <p:cNvSpPr/>
            <p:nvPr/>
          </p:nvSpPr>
          <p:spPr>
            <a:xfrm>
              <a:off x="1305832" y="409616"/>
              <a:ext cx="12492" cy="6246"/>
            </a:xfrm>
            <a:custGeom>
              <a:avLst/>
              <a:gdLst>
                <a:gd name="connsiteX0" fmla="*/ 12742 w 12492"/>
                <a:gd name="connsiteY0" fmla="*/ 1999 h 0"/>
                <a:gd name="connsiteX1" fmla="*/ 7370 w 12492"/>
                <a:gd name="connsiteY1" fmla="*/ 3935 h 0"/>
                <a:gd name="connsiteX2" fmla="*/ 4185 w 12492"/>
                <a:gd name="connsiteY2" fmla="*/ 2936 h 0"/>
                <a:gd name="connsiteX3" fmla="*/ 0 w 12492"/>
                <a:gd name="connsiteY3" fmla="*/ 0 h 0"/>
                <a:gd name="connsiteX4" fmla="*/ 12742 w 12492"/>
                <a:gd name="connsiteY4" fmla="*/ 1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2742" y="1999"/>
                  </a:moveTo>
                  <a:cubicBezTo>
                    <a:pt x="10743" y="2186"/>
                    <a:pt x="9557" y="4185"/>
                    <a:pt x="7370" y="3935"/>
                  </a:cubicBezTo>
                  <a:cubicBezTo>
                    <a:pt x="6308" y="3623"/>
                    <a:pt x="5247" y="3310"/>
                    <a:pt x="4185" y="2936"/>
                  </a:cubicBezTo>
                  <a:cubicBezTo>
                    <a:pt x="3123" y="2186"/>
                    <a:pt x="2061" y="1437"/>
                    <a:pt x="0" y="0"/>
                  </a:cubicBezTo>
                  <a:cubicBezTo>
                    <a:pt x="4934" y="937"/>
                    <a:pt x="9244" y="-1437"/>
                    <a:pt x="12742" y="1999"/>
                  </a:cubicBezTo>
                  <a:close/>
                </a:path>
              </a:pathLst>
            </a:custGeom>
            <a:grpFill/>
            <a:ln w="6246" cap="flat">
              <a:noFill/>
              <a:prstDash val="solid"/>
              <a:miter/>
            </a:ln>
          </p:spPr>
          <p:txBody>
            <a:bodyPr rtlCol="0" anchor="ctr"/>
            <a:lstStyle/>
            <a:p>
              <a:endParaRPr lang="fr-FR" sz="2400"/>
            </a:p>
          </p:txBody>
        </p:sp>
        <p:sp>
          <p:nvSpPr>
            <p:cNvPr id="306" name="Freeform: Shape 305">
              <a:extLst>
                <a:ext uri="{FF2B5EF4-FFF2-40B4-BE49-F238E27FC236}">
                  <a16:creationId xmlns:a16="http://schemas.microsoft.com/office/drawing/2014/main" id="{EBC97E52-E7B8-4322-ABAC-47D66FCF6600}"/>
                </a:ext>
              </a:extLst>
            </p:cNvPr>
            <p:cNvSpPr/>
            <p:nvPr/>
          </p:nvSpPr>
          <p:spPr>
            <a:xfrm>
              <a:off x="1291841" y="412552"/>
              <a:ext cx="12492" cy="6246"/>
            </a:xfrm>
            <a:custGeom>
              <a:avLst/>
              <a:gdLst>
                <a:gd name="connsiteX0" fmla="*/ 0 w 12492"/>
                <a:gd name="connsiteY0" fmla="*/ 0 h 0"/>
                <a:gd name="connsiteX1" fmla="*/ 11805 w 12492"/>
                <a:gd name="connsiteY1" fmla="*/ 0 h 0"/>
                <a:gd name="connsiteX2" fmla="*/ 17114 w 12492"/>
                <a:gd name="connsiteY2" fmla="*/ 0 h 0"/>
                <a:gd name="connsiteX3" fmla="*/ 0 w 12492"/>
                <a:gd name="connsiteY3" fmla="*/ 0 h 0"/>
              </a:gdLst>
              <a:ahLst/>
              <a:cxnLst>
                <a:cxn ang="0">
                  <a:pos x="connsiteX0" y="connsiteY0"/>
                </a:cxn>
                <a:cxn ang="0">
                  <a:pos x="connsiteX1" y="connsiteY1"/>
                </a:cxn>
                <a:cxn ang="0">
                  <a:pos x="connsiteX2" y="connsiteY2"/>
                </a:cxn>
                <a:cxn ang="0">
                  <a:pos x="connsiteX3" y="connsiteY3"/>
                </a:cxn>
              </a:cxnLst>
              <a:rect l="l" t="t" r="r" b="b"/>
              <a:pathLst>
                <a:path w="12492">
                  <a:moveTo>
                    <a:pt x="0" y="0"/>
                  </a:moveTo>
                  <a:cubicBezTo>
                    <a:pt x="3935" y="0"/>
                    <a:pt x="7870" y="0"/>
                    <a:pt x="11805" y="0"/>
                  </a:cubicBezTo>
                  <a:cubicBezTo>
                    <a:pt x="13554" y="0"/>
                    <a:pt x="15365" y="0"/>
                    <a:pt x="17114" y="0"/>
                  </a:cubicBezTo>
                  <a:cubicBezTo>
                    <a:pt x="11430" y="1562"/>
                    <a:pt x="5684" y="1562"/>
                    <a:pt x="0" y="0"/>
                  </a:cubicBezTo>
                  <a:close/>
                </a:path>
              </a:pathLst>
            </a:custGeom>
            <a:grpFill/>
            <a:ln w="6246" cap="flat">
              <a:noFill/>
              <a:prstDash val="solid"/>
              <a:miter/>
            </a:ln>
          </p:spPr>
          <p:txBody>
            <a:bodyPr rtlCol="0" anchor="ctr"/>
            <a:lstStyle/>
            <a:p>
              <a:endParaRPr lang="fr-FR" sz="2400"/>
            </a:p>
          </p:txBody>
        </p:sp>
        <p:sp>
          <p:nvSpPr>
            <p:cNvPr id="307" name="Freeform: Shape 306">
              <a:extLst>
                <a:ext uri="{FF2B5EF4-FFF2-40B4-BE49-F238E27FC236}">
                  <a16:creationId xmlns:a16="http://schemas.microsoft.com/office/drawing/2014/main" id="{4AE7B76C-B95D-420D-B5CC-2430AABD67C2}"/>
                </a:ext>
              </a:extLst>
            </p:cNvPr>
            <p:cNvSpPr/>
            <p:nvPr/>
          </p:nvSpPr>
          <p:spPr>
            <a:xfrm>
              <a:off x="1167232" y="417330"/>
              <a:ext cx="49969" cy="37476"/>
            </a:xfrm>
            <a:custGeom>
              <a:avLst/>
              <a:gdLst>
                <a:gd name="connsiteX0" fmla="*/ 51842 w 49968"/>
                <a:gd name="connsiteY0" fmla="*/ 31 h 37476"/>
                <a:gd name="connsiteX1" fmla="*/ 50718 w 49968"/>
                <a:gd name="connsiteY1" fmla="*/ 3904 h 37476"/>
                <a:gd name="connsiteX2" fmla="*/ 49719 w 49968"/>
                <a:gd name="connsiteY2" fmla="*/ 6777 h 37476"/>
                <a:gd name="connsiteX3" fmla="*/ 48844 w 49968"/>
                <a:gd name="connsiteY3" fmla="*/ 8775 h 37476"/>
                <a:gd name="connsiteX4" fmla="*/ 31980 w 49968"/>
                <a:gd name="connsiteY4" fmla="*/ 17832 h 37476"/>
                <a:gd name="connsiteX5" fmla="*/ 19800 w 49968"/>
                <a:gd name="connsiteY5" fmla="*/ 27639 h 37476"/>
                <a:gd name="connsiteX6" fmla="*/ 4872 w 49968"/>
                <a:gd name="connsiteY6" fmla="*/ 39756 h 37476"/>
                <a:gd name="connsiteX7" fmla="*/ 1624 w 49968"/>
                <a:gd name="connsiteY7" fmla="*/ 41130 h 37476"/>
                <a:gd name="connsiteX8" fmla="*/ 0 w 49968"/>
                <a:gd name="connsiteY8" fmla="*/ 39818 h 37476"/>
                <a:gd name="connsiteX9" fmla="*/ 14116 w 49968"/>
                <a:gd name="connsiteY9" fmla="*/ 25203 h 37476"/>
                <a:gd name="connsiteX10" fmla="*/ 24734 w 49968"/>
                <a:gd name="connsiteY10" fmla="*/ 17457 h 37476"/>
                <a:gd name="connsiteX11" fmla="*/ 7995 w 49968"/>
                <a:gd name="connsiteY11" fmla="*/ 29512 h 37476"/>
                <a:gd name="connsiteX12" fmla="*/ 6371 w 49968"/>
                <a:gd name="connsiteY12" fmla="*/ 28201 h 37476"/>
                <a:gd name="connsiteX13" fmla="*/ 11368 w 49968"/>
                <a:gd name="connsiteY13" fmla="*/ 22267 h 37476"/>
                <a:gd name="connsiteX14" fmla="*/ 36414 w 49968"/>
                <a:gd name="connsiteY14" fmla="*/ 5965 h 37476"/>
                <a:gd name="connsiteX15" fmla="*/ 51842 w 49968"/>
                <a:gd name="connsiteY15" fmla="*/ 3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968" h="37476">
                  <a:moveTo>
                    <a:pt x="51842" y="31"/>
                  </a:moveTo>
                  <a:cubicBezTo>
                    <a:pt x="55465" y="2280"/>
                    <a:pt x="51905" y="2779"/>
                    <a:pt x="50718" y="3904"/>
                  </a:cubicBezTo>
                  <a:cubicBezTo>
                    <a:pt x="49844" y="4715"/>
                    <a:pt x="46346" y="4778"/>
                    <a:pt x="49719" y="6777"/>
                  </a:cubicBezTo>
                  <a:cubicBezTo>
                    <a:pt x="50093" y="7714"/>
                    <a:pt x="49594" y="8401"/>
                    <a:pt x="48844" y="8775"/>
                  </a:cubicBezTo>
                  <a:cubicBezTo>
                    <a:pt x="43160" y="11711"/>
                    <a:pt x="38226" y="15771"/>
                    <a:pt x="31980" y="17832"/>
                  </a:cubicBezTo>
                  <a:cubicBezTo>
                    <a:pt x="27608" y="20830"/>
                    <a:pt x="23423" y="24078"/>
                    <a:pt x="19800" y="27639"/>
                  </a:cubicBezTo>
                  <a:cubicBezTo>
                    <a:pt x="15240" y="32136"/>
                    <a:pt x="8994" y="34822"/>
                    <a:pt x="4872" y="39756"/>
                  </a:cubicBezTo>
                  <a:cubicBezTo>
                    <a:pt x="4122" y="40630"/>
                    <a:pt x="2936" y="41130"/>
                    <a:pt x="1624" y="41130"/>
                  </a:cubicBezTo>
                  <a:cubicBezTo>
                    <a:pt x="812" y="41005"/>
                    <a:pt x="250" y="40568"/>
                    <a:pt x="0" y="39818"/>
                  </a:cubicBezTo>
                  <a:cubicBezTo>
                    <a:pt x="3310" y="33885"/>
                    <a:pt x="8994" y="29700"/>
                    <a:pt x="14116" y="25203"/>
                  </a:cubicBezTo>
                  <a:cubicBezTo>
                    <a:pt x="17614" y="22142"/>
                    <a:pt x="22049" y="20018"/>
                    <a:pt x="24734" y="17457"/>
                  </a:cubicBezTo>
                  <a:cubicBezTo>
                    <a:pt x="19488" y="20955"/>
                    <a:pt x="14116" y="25640"/>
                    <a:pt x="7995" y="29512"/>
                  </a:cubicBezTo>
                  <a:cubicBezTo>
                    <a:pt x="7183" y="29387"/>
                    <a:pt x="6621" y="28888"/>
                    <a:pt x="6371" y="28201"/>
                  </a:cubicBezTo>
                  <a:cubicBezTo>
                    <a:pt x="6433" y="25140"/>
                    <a:pt x="9432" y="24078"/>
                    <a:pt x="11368" y="22267"/>
                  </a:cubicBezTo>
                  <a:cubicBezTo>
                    <a:pt x="19238" y="16271"/>
                    <a:pt x="27982" y="11274"/>
                    <a:pt x="36414" y="5965"/>
                  </a:cubicBezTo>
                  <a:cubicBezTo>
                    <a:pt x="41474" y="3904"/>
                    <a:pt x="45534" y="-406"/>
                    <a:pt x="51842" y="31"/>
                  </a:cubicBezTo>
                  <a:close/>
                </a:path>
              </a:pathLst>
            </a:custGeom>
            <a:grpFill/>
            <a:ln w="6246" cap="flat">
              <a:noFill/>
              <a:prstDash val="solid"/>
              <a:miter/>
            </a:ln>
          </p:spPr>
          <p:txBody>
            <a:bodyPr rtlCol="0" anchor="ctr"/>
            <a:lstStyle/>
            <a:p>
              <a:endParaRPr lang="fr-FR" sz="2400"/>
            </a:p>
          </p:txBody>
        </p:sp>
        <p:sp>
          <p:nvSpPr>
            <p:cNvPr id="308" name="Freeform: Shape 307">
              <a:extLst>
                <a:ext uri="{FF2B5EF4-FFF2-40B4-BE49-F238E27FC236}">
                  <a16:creationId xmlns:a16="http://schemas.microsoft.com/office/drawing/2014/main" id="{2A43A223-CD44-441E-8354-4F2C03AEF244}"/>
                </a:ext>
              </a:extLst>
            </p:cNvPr>
            <p:cNvSpPr/>
            <p:nvPr/>
          </p:nvSpPr>
          <p:spPr>
            <a:xfrm>
              <a:off x="1198415" y="419297"/>
              <a:ext cx="24984" cy="12492"/>
            </a:xfrm>
            <a:custGeom>
              <a:avLst/>
              <a:gdLst>
                <a:gd name="connsiteX0" fmla="*/ 360 w 24984"/>
                <a:gd name="connsiteY0" fmla="*/ 15490 h 12492"/>
                <a:gd name="connsiteX1" fmla="*/ 18536 w 24984"/>
                <a:gd name="connsiteY1" fmla="*/ 4872 h 12492"/>
                <a:gd name="connsiteX2" fmla="*/ 30279 w 24984"/>
                <a:gd name="connsiteY2" fmla="*/ 0 h 12492"/>
                <a:gd name="connsiteX3" fmla="*/ 27093 w 24984"/>
                <a:gd name="connsiteY3" fmla="*/ 2936 h 12492"/>
                <a:gd name="connsiteX4" fmla="*/ 26031 w 24984"/>
                <a:gd name="connsiteY4" fmla="*/ 3873 h 12492"/>
                <a:gd name="connsiteX5" fmla="*/ 21035 w 24984"/>
                <a:gd name="connsiteY5" fmla="*/ 7058 h 12492"/>
                <a:gd name="connsiteX6" fmla="*/ 11166 w 24984"/>
                <a:gd name="connsiteY6" fmla="*/ 11805 h 12492"/>
                <a:gd name="connsiteX7" fmla="*/ 1422 w 24984"/>
                <a:gd name="connsiteY7" fmla="*/ 16427 h 12492"/>
                <a:gd name="connsiteX8" fmla="*/ 360 w 24984"/>
                <a:gd name="connsiteY8" fmla="*/ 16427 h 12492"/>
                <a:gd name="connsiteX9" fmla="*/ 48 w 24984"/>
                <a:gd name="connsiteY9" fmla="*/ 15803 h 12492"/>
                <a:gd name="connsiteX10" fmla="*/ 360 w 24984"/>
                <a:gd name="connsiteY10" fmla="*/ 1549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12492">
                  <a:moveTo>
                    <a:pt x="360" y="15490"/>
                  </a:moveTo>
                  <a:cubicBezTo>
                    <a:pt x="6419" y="11930"/>
                    <a:pt x="12477" y="8370"/>
                    <a:pt x="18536" y="4872"/>
                  </a:cubicBezTo>
                  <a:cubicBezTo>
                    <a:pt x="22471" y="3310"/>
                    <a:pt x="26031" y="937"/>
                    <a:pt x="30279" y="0"/>
                  </a:cubicBezTo>
                  <a:cubicBezTo>
                    <a:pt x="30529" y="2186"/>
                    <a:pt x="27531" y="1374"/>
                    <a:pt x="27093" y="2936"/>
                  </a:cubicBezTo>
                  <a:cubicBezTo>
                    <a:pt x="26719" y="3248"/>
                    <a:pt x="26406" y="3560"/>
                    <a:pt x="26031" y="3873"/>
                  </a:cubicBezTo>
                  <a:cubicBezTo>
                    <a:pt x="25282" y="6121"/>
                    <a:pt x="22971" y="6371"/>
                    <a:pt x="21035" y="7058"/>
                  </a:cubicBezTo>
                  <a:cubicBezTo>
                    <a:pt x="17537" y="8307"/>
                    <a:pt x="14226" y="9806"/>
                    <a:pt x="11166" y="11805"/>
                  </a:cubicBezTo>
                  <a:cubicBezTo>
                    <a:pt x="7543" y="12680"/>
                    <a:pt x="5295" y="15990"/>
                    <a:pt x="1422" y="16427"/>
                  </a:cubicBezTo>
                  <a:cubicBezTo>
                    <a:pt x="1047" y="16427"/>
                    <a:pt x="735" y="16427"/>
                    <a:pt x="360" y="16427"/>
                  </a:cubicBezTo>
                  <a:cubicBezTo>
                    <a:pt x="48" y="16240"/>
                    <a:pt x="-77" y="15990"/>
                    <a:pt x="48" y="15803"/>
                  </a:cubicBezTo>
                  <a:cubicBezTo>
                    <a:pt x="110" y="15615"/>
                    <a:pt x="235" y="15490"/>
                    <a:pt x="360" y="15490"/>
                  </a:cubicBezTo>
                  <a:close/>
                </a:path>
              </a:pathLst>
            </a:custGeom>
            <a:grpFill/>
            <a:ln w="6246" cap="flat">
              <a:noFill/>
              <a:prstDash val="solid"/>
              <a:miter/>
            </a:ln>
          </p:spPr>
          <p:txBody>
            <a:bodyPr rtlCol="0" anchor="ctr"/>
            <a:lstStyle/>
            <a:p>
              <a:endParaRPr lang="fr-FR" sz="2400"/>
            </a:p>
          </p:txBody>
        </p:sp>
        <p:sp>
          <p:nvSpPr>
            <p:cNvPr id="309" name="Freeform: Shape 308">
              <a:extLst>
                <a:ext uri="{FF2B5EF4-FFF2-40B4-BE49-F238E27FC236}">
                  <a16:creationId xmlns:a16="http://schemas.microsoft.com/office/drawing/2014/main" id="{A702B271-0F84-47E1-9752-041E331406EC}"/>
                </a:ext>
              </a:extLst>
            </p:cNvPr>
            <p:cNvSpPr/>
            <p:nvPr/>
          </p:nvSpPr>
          <p:spPr>
            <a:xfrm>
              <a:off x="1202585" y="415425"/>
              <a:ext cx="12492" cy="6246"/>
            </a:xfrm>
            <a:custGeom>
              <a:avLst/>
              <a:gdLst>
                <a:gd name="connsiteX0" fmla="*/ 16490 w 12492"/>
                <a:gd name="connsiteY0" fmla="*/ 1936 h 6246"/>
                <a:gd name="connsiteX1" fmla="*/ 1499 w 12492"/>
                <a:gd name="connsiteY1" fmla="*/ 8682 h 6246"/>
                <a:gd name="connsiteX2" fmla="*/ 0 w 12492"/>
                <a:gd name="connsiteY2" fmla="*/ 7245 h 6246"/>
                <a:gd name="connsiteX3" fmla="*/ 437 w 12492"/>
                <a:gd name="connsiteY3" fmla="*/ 6746 h 6246"/>
                <a:gd name="connsiteX4" fmla="*/ 14366 w 12492"/>
                <a:gd name="connsiteY4" fmla="*/ 0 h 6246"/>
                <a:gd name="connsiteX5" fmla="*/ 16490 w 12492"/>
                <a:gd name="connsiteY5"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16490" y="1936"/>
                  </a:moveTo>
                  <a:cubicBezTo>
                    <a:pt x="11493" y="4185"/>
                    <a:pt x="6496" y="6433"/>
                    <a:pt x="1499" y="8682"/>
                  </a:cubicBezTo>
                  <a:cubicBezTo>
                    <a:pt x="0" y="9119"/>
                    <a:pt x="0" y="8182"/>
                    <a:pt x="0" y="7245"/>
                  </a:cubicBezTo>
                  <a:cubicBezTo>
                    <a:pt x="125" y="7058"/>
                    <a:pt x="250" y="6871"/>
                    <a:pt x="437" y="6746"/>
                  </a:cubicBezTo>
                  <a:cubicBezTo>
                    <a:pt x="5184" y="4622"/>
                    <a:pt x="9307" y="1499"/>
                    <a:pt x="14366" y="0"/>
                  </a:cubicBezTo>
                  <a:cubicBezTo>
                    <a:pt x="15740" y="125"/>
                    <a:pt x="16427" y="749"/>
                    <a:pt x="16490" y="1936"/>
                  </a:cubicBezTo>
                  <a:close/>
                </a:path>
              </a:pathLst>
            </a:custGeom>
            <a:grpFill/>
            <a:ln w="6246" cap="flat">
              <a:noFill/>
              <a:prstDash val="solid"/>
              <a:miter/>
            </a:ln>
          </p:spPr>
          <p:txBody>
            <a:bodyPr rtlCol="0" anchor="ctr"/>
            <a:lstStyle/>
            <a:p>
              <a:endParaRPr lang="fr-FR" sz="2400"/>
            </a:p>
          </p:txBody>
        </p:sp>
        <p:sp>
          <p:nvSpPr>
            <p:cNvPr id="310" name="Freeform: Shape 309">
              <a:extLst>
                <a:ext uri="{FF2B5EF4-FFF2-40B4-BE49-F238E27FC236}">
                  <a16:creationId xmlns:a16="http://schemas.microsoft.com/office/drawing/2014/main" id="{20628153-769F-47CD-98DE-C6486F1F3F0D}"/>
                </a:ext>
              </a:extLst>
            </p:cNvPr>
            <p:cNvSpPr/>
            <p:nvPr/>
          </p:nvSpPr>
          <p:spPr>
            <a:xfrm>
              <a:off x="1160899" y="421234"/>
              <a:ext cx="37476" cy="24984"/>
            </a:xfrm>
            <a:custGeom>
              <a:avLst/>
              <a:gdLst>
                <a:gd name="connsiteX0" fmla="*/ 1461 w 37476"/>
                <a:gd name="connsiteY0" fmla="*/ 29981 h 24984"/>
                <a:gd name="connsiteX1" fmla="*/ 1149 w 37476"/>
                <a:gd name="connsiteY1" fmla="*/ 27857 h 24984"/>
                <a:gd name="connsiteX2" fmla="*/ 18201 w 37476"/>
                <a:gd name="connsiteY2" fmla="*/ 13117 h 24984"/>
                <a:gd name="connsiteX3" fmla="*/ 21761 w 37476"/>
                <a:gd name="connsiteY3" fmla="*/ 9681 h 24984"/>
                <a:gd name="connsiteX4" fmla="*/ 39937 w 37476"/>
                <a:gd name="connsiteY4" fmla="*/ 0 h 24984"/>
                <a:gd name="connsiteX5" fmla="*/ 32192 w 37476"/>
                <a:gd name="connsiteY5" fmla="*/ 6871 h 24984"/>
                <a:gd name="connsiteX6" fmla="*/ 8956 w 37476"/>
                <a:gd name="connsiteY6" fmla="*/ 24922 h 24984"/>
                <a:gd name="connsiteX7" fmla="*/ 1461 w 37476"/>
                <a:gd name="connsiteY7" fmla="*/ 2998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24984">
                  <a:moveTo>
                    <a:pt x="1461" y="29981"/>
                  </a:moveTo>
                  <a:cubicBezTo>
                    <a:pt x="-1162" y="29606"/>
                    <a:pt x="399" y="28607"/>
                    <a:pt x="1149" y="27857"/>
                  </a:cubicBezTo>
                  <a:cubicBezTo>
                    <a:pt x="6708" y="22861"/>
                    <a:pt x="11705" y="17239"/>
                    <a:pt x="18201" y="13117"/>
                  </a:cubicBezTo>
                  <a:cubicBezTo>
                    <a:pt x="19575" y="12242"/>
                    <a:pt x="20574" y="10806"/>
                    <a:pt x="21761" y="9681"/>
                  </a:cubicBezTo>
                  <a:cubicBezTo>
                    <a:pt x="28257" y="7121"/>
                    <a:pt x="32754" y="1437"/>
                    <a:pt x="39937" y="0"/>
                  </a:cubicBezTo>
                  <a:cubicBezTo>
                    <a:pt x="39500" y="4247"/>
                    <a:pt x="34753" y="4560"/>
                    <a:pt x="32192" y="6871"/>
                  </a:cubicBezTo>
                  <a:cubicBezTo>
                    <a:pt x="23635" y="12055"/>
                    <a:pt x="16077" y="18239"/>
                    <a:pt x="8956" y="24922"/>
                  </a:cubicBezTo>
                  <a:cubicBezTo>
                    <a:pt x="6833" y="26983"/>
                    <a:pt x="4647" y="29107"/>
                    <a:pt x="1461" y="29981"/>
                  </a:cubicBezTo>
                  <a:close/>
                </a:path>
              </a:pathLst>
            </a:custGeom>
            <a:grpFill/>
            <a:ln w="6246" cap="flat">
              <a:noFill/>
              <a:prstDash val="solid"/>
              <a:miter/>
            </a:ln>
          </p:spPr>
          <p:txBody>
            <a:bodyPr rtlCol="0" anchor="ctr"/>
            <a:lstStyle/>
            <a:p>
              <a:endParaRPr lang="fr-FR" sz="2400"/>
            </a:p>
          </p:txBody>
        </p:sp>
        <p:sp>
          <p:nvSpPr>
            <p:cNvPr id="311" name="Freeform: Shape 310">
              <a:extLst>
                <a:ext uri="{FF2B5EF4-FFF2-40B4-BE49-F238E27FC236}">
                  <a16:creationId xmlns:a16="http://schemas.microsoft.com/office/drawing/2014/main" id="{CE7A84B4-271A-4E6A-9EC8-685D8B305736}"/>
                </a:ext>
              </a:extLst>
            </p:cNvPr>
            <p:cNvSpPr/>
            <p:nvPr/>
          </p:nvSpPr>
          <p:spPr>
            <a:xfrm>
              <a:off x="1192007" y="421234"/>
              <a:ext cx="6246" cy="6246"/>
            </a:xfrm>
            <a:custGeom>
              <a:avLst/>
              <a:gdLst>
                <a:gd name="connsiteX0" fmla="*/ 334 w 6246"/>
                <a:gd name="connsiteY0" fmla="*/ 5809 h 6246"/>
                <a:gd name="connsiteX1" fmla="*/ 8891 w 6246"/>
                <a:gd name="connsiteY1" fmla="*/ 0 h 6246"/>
                <a:gd name="connsiteX2" fmla="*/ 11015 w 6246"/>
                <a:gd name="connsiteY2" fmla="*/ 937 h 6246"/>
                <a:gd name="connsiteX3" fmla="*/ 11015 w 6246"/>
                <a:gd name="connsiteY3" fmla="*/ 937 h 6246"/>
                <a:gd name="connsiteX4" fmla="*/ 334 w 6246"/>
                <a:gd name="connsiteY4" fmla="*/ 6996 h 6246"/>
                <a:gd name="connsiteX5" fmla="*/ 22 w 6246"/>
                <a:gd name="connsiteY5" fmla="*/ 6184 h 6246"/>
                <a:gd name="connsiteX6" fmla="*/ 334 w 6246"/>
                <a:gd name="connsiteY6" fmla="*/ 5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34" y="5809"/>
                  </a:moveTo>
                  <a:cubicBezTo>
                    <a:pt x="3145" y="3810"/>
                    <a:pt x="6643" y="2686"/>
                    <a:pt x="8891" y="0"/>
                  </a:cubicBezTo>
                  <a:cubicBezTo>
                    <a:pt x="9766" y="0"/>
                    <a:pt x="10515" y="250"/>
                    <a:pt x="11015" y="937"/>
                  </a:cubicBezTo>
                  <a:lnTo>
                    <a:pt x="11015" y="937"/>
                  </a:lnTo>
                  <a:cubicBezTo>
                    <a:pt x="8391" y="4372"/>
                    <a:pt x="5393" y="7183"/>
                    <a:pt x="334" y="6996"/>
                  </a:cubicBezTo>
                  <a:cubicBezTo>
                    <a:pt x="22" y="6746"/>
                    <a:pt x="-41" y="6433"/>
                    <a:pt x="22" y="6184"/>
                  </a:cubicBezTo>
                  <a:cubicBezTo>
                    <a:pt x="147" y="5934"/>
                    <a:pt x="209" y="5809"/>
                    <a:pt x="334" y="5809"/>
                  </a:cubicBezTo>
                  <a:close/>
                </a:path>
              </a:pathLst>
            </a:custGeom>
            <a:grpFill/>
            <a:ln w="6246" cap="flat">
              <a:noFill/>
              <a:prstDash val="solid"/>
              <a:miter/>
            </a:ln>
          </p:spPr>
          <p:txBody>
            <a:bodyPr rtlCol="0" anchor="ctr"/>
            <a:lstStyle/>
            <a:p>
              <a:endParaRPr lang="fr-FR" sz="2400"/>
            </a:p>
          </p:txBody>
        </p:sp>
        <p:sp>
          <p:nvSpPr>
            <p:cNvPr id="312" name="Freeform: Shape 311">
              <a:extLst>
                <a:ext uri="{FF2B5EF4-FFF2-40B4-BE49-F238E27FC236}">
                  <a16:creationId xmlns:a16="http://schemas.microsoft.com/office/drawing/2014/main" id="{1D5E9C26-1DC6-4764-BDE0-4598121AF4A1}"/>
                </a:ext>
              </a:extLst>
            </p:cNvPr>
            <p:cNvSpPr/>
            <p:nvPr/>
          </p:nvSpPr>
          <p:spPr>
            <a:xfrm>
              <a:off x="1209456" y="423170"/>
              <a:ext cx="12492" cy="6246"/>
            </a:xfrm>
            <a:custGeom>
              <a:avLst/>
              <a:gdLst>
                <a:gd name="connsiteX0" fmla="*/ 0 w 12492"/>
                <a:gd name="connsiteY0" fmla="*/ 7745 h 6246"/>
                <a:gd name="connsiteX1" fmla="*/ 14991 w 12492"/>
                <a:gd name="connsiteY1" fmla="*/ 0 h 6246"/>
                <a:gd name="connsiteX2" fmla="*/ 18239 w 12492"/>
                <a:gd name="connsiteY2" fmla="*/ 0 h 6246"/>
                <a:gd name="connsiteX3" fmla="*/ 1124 w 12492"/>
                <a:gd name="connsiteY3" fmla="*/ 7745 h 6246"/>
                <a:gd name="connsiteX4" fmla="*/ 0 w 12492"/>
                <a:gd name="connsiteY4" fmla="*/ 7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7745"/>
                  </a:moveTo>
                  <a:cubicBezTo>
                    <a:pt x="4122" y="3748"/>
                    <a:pt x="9806" y="2311"/>
                    <a:pt x="14991" y="0"/>
                  </a:cubicBezTo>
                  <a:cubicBezTo>
                    <a:pt x="16052" y="0"/>
                    <a:pt x="17114" y="0"/>
                    <a:pt x="18239" y="0"/>
                  </a:cubicBezTo>
                  <a:cubicBezTo>
                    <a:pt x="13492" y="4310"/>
                    <a:pt x="6808" y="5184"/>
                    <a:pt x="1124" y="7745"/>
                  </a:cubicBezTo>
                  <a:cubicBezTo>
                    <a:pt x="687" y="8182"/>
                    <a:pt x="312" y="8120"/>
                    <a:pt x="0" y="7745"/>
                  </a:cubicBezTo>
                  <a:close/>
                </a:path>
              </a:pathLst>
            </a:custGeom>
            <a:grpFill/>
            <a:ln w="6246" cap="flat">
              <a:noFill/>
              <a:prstDash val="solid"/>
              <a:miter/>
            </a:ln>
          </p:spPr>
          <p:txBody>
            <a:bodyPr rtlCol="0" anchor="ctr"/>
            <a:lstStyle/>
            <a:p>
              <a:endParaRPr lang="fr-FR" sz="2400"/>
            </a:p>
          </p:txBody>
        </p:sp>
        <p:sp>
          <p:nvSpPr>
            <p:cNvPr id="313" name="Freeform: Shape 312">
              <a:extLst>
                <a:ext uri="{FF2B5EF4-FFF2-40B4-BE49-F238E27FC236}">
                  <a16:creationId xmlns:a16="http://schemas.microsoft.com/office/drawing/2014/main" id="{EA263E84-36A6-49D7-8F0D-845823D0D3F0}"/>
                </a:ext>
              </a:extLst>
            </p:cNvPr>
            <p:cNvSpPr/>
            <p:nvPr/>
          </p:nvSpPr>
          <p:spPr>
            <a:xfrm>
              <a:off x="1364709" y="531352"/>
              <a:ext cx="37476" cy="81199"/>
            </a:xfrm>
            <a:custGeom>
              <a:avLst/>
              <a:gdLst>
                <a:gd name="connsiteX0" fmla="*/ 38437 w 37476"/>
                <a:gd name="connsiteY0" fmla="*/ 29107 h 81198"/>
                <a:gd name="connsiteX1" fmla="*/ 37375 w 37476"/>
                <a:gd name="connsiteY1" fmla="*/ 31043 h 81198"/>
                <a:gd name="connsiteX2" fmla="*/ 36313 w 37476"/>
                <a:gd name="connsiteY2" fmla="*/ 33916 h 81198"/>
                <a:gd name="connsiteX3" fmla="*/ 34189 w 37476"/>
                <a:gd name="connsiteY3" fmla="*/ 41661 h 81198"/>
                <a:gd name="connsiteX4" fmla="*/ 27631 w 37476"/>
                <a:gd name="connsiteY4" fmla="*/ 57152 h 81198"/>
                <a:gd name="connsiteX5" fmla="*/ 19012 w 37476"/>
                <a:gd name="connsiteY5" fmla="*/ 73704 h 81198"/>
                <a:gd name="connsiteX6" fmla="*/ 12640 w 37476"/>
                <a:gd name="connsiteY6" fmla="*/ 81011 h 81198"/>
                <a:gd name="connsiteX7" fmla="*/ 8768 w 37476"/>
                <a:gd name="connsiteY7" fmla="*/ 82698 h 81198"/>
                <a:gd name="connsiteX8" fmla="*/ 7394 w 37476"/>
                <a:gd name="connsiteY8" fmla="*/ 82948 h 81198"/>
                <a:gd name="connsiteX9" fmla="*/ 710 w 37476"/>
                <a:gd name="connsiteY9" fmla="*/ 84072 h 81198"/>
                <a:gd name="connsiteX10" fmla="*/ 4146 w 37476"/>
                <a:gd name="connsiteY10" fmla="*/ 74078 h 81198"/>
                <a:gd name="connsiteX11" fmla="*/ 10579 w 37476"/>
                <a:gd name="connsiteY11" fmla="*/ 68394 h 81198"/>
                <a:gd name="connsiteX12" fmla="*/ 7144 w 37476"/>
                <a:gd name="connsiteY12" fmla="*/ 69769 h 81198"/>
                <a:gd name="connsiteX13" fmla="*/ 8018 w 37476"/>
                <a:gd name="connsiteY13" fmla="*/ 64334 h 81198"/>
                <a:gd name="connsiteX14" fmla="*/ 19511 w 37476"/>
                <a:gd name="connsiteY14" fmla="*/ 41536 h 81198"/>
                <a:gd name="connsiteX15" fmla="*/ 19199 w 37476"/>
                <a:gd name="connsiteY15" fmla="*/ 38851 h 81198"/>
                <a:gd name="connsiteX16" fmla="*/ 20261 w 37476"/>
                <a:gd name="connsiteY16" fmla="*/ 31917 h 81198"/>
                <a:gd name="connsiteX17" fmla="*/ 23384 w 37476"/>
                <a:gd name="connsiteY17" fmla="*/ 30044 h 81198"/>
                <a:gd name="connsiteX18" fmla="*/ 24820 w 37476"/>
                <a:gd name="connsiteY18" fmla="*/ 14991 h 81198"/>
                <a:gd name="connsiteX19" fmla="*/ 26819 w 37476"/>
                <a:gd name="connsiteY19" fmla="*/ 8807 h 81198"/>
                <a:gd name="connsiteX20" fmla="*/ 28443 w 37476"/>
                <a:gd name="connsiteY20" fmla="*/ 5122 h 81198"/>
                <a:gd name="connsiteX21" fmla="*/ 31316 w 37476"/>
                <a:gd name="connsiteY21" fmla="*/ 1374 h 81198"/>
                <a:gd name="connsiteX22" fmla="*/ 36376 w 37476"/>
                <a:gd name="connsiteY22" fmla="*/ 0 h 81198"/>
                <a:gd name="connsiteX23" fmla="*/ 38499 w 37476"/>
                <a:gd name="connsiteY23" fmla="*/ 13991 h 81198"/>
                <a:gd name="connsiteX24" fmla="*/ 38437 w 37476"/>
                <a:gd name="connsiteY24" fmla="*/ 29107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476" h="81198">
                  <a:moveTo>
                    <a:pt x="38437" y="29107"/>
                  </a:moveTo>
                  <a:cubicBezTo>
                    <a:pt x="38062" y="29731"/>
                    <a:pt x="37750" y="30418"/>
                    <a:pt x="37375" y="31043"/>
                  </a:cubicBezTo>
                  <a:cubicBezTo>
                    <a:pt x="36563" y="31855"/>
                    <a:pt x="36313" y="32854"/>
                    <a:pt x="36313" y="33916"/>
                  </a:cubicBezTo>
                  <a:cubicBezTo>
                    <a:pt x="35626" y="36477"/>
                    <a:pt x="34876" y="39100"/>
                    <a:pt x="34189" y="41661"/>
                  </a:cubicBezTo>
                  <a:cubicBezTo>
                    <a:pt x="34065" y="47533"/>
                    <a:pt x="29942" y="52030"/>
                    <a:pt x="27631" y="57152"/>
                  </a:cubicBezTo>
                  <a:cubicBezTo>
                    <a:pt x="25070" y="62835"/>
                    <a:pt x="22384" y="68457"/>
                    <a:pt x="19012" y="73704"/>
                  </a:cubicBezTo>
                  <a:cubicBezTo>
                    <a:pt x="17200" y="76389"/>
                    <a:pt x="15201" y="78888"/>
                    <a:pt x="12640" y="81011"/>
                  </a:cubicBezTo>
                  <a:cubicBezTo>
                    <a:pt x="11329" y="81574"/>
                    <a:pt x="10080" y="82136"/>
                    <a:pt x="8768" y="82698"/>
                  </a:cubicBezTo>
                  <a:cubicBezTo>
                    <a:pt x="8331" y="82823"/>
                    <a:pt x="7831" y="82948"/>
                    <a:pt x="7394" y="82948"/>
                  </a:cubicBezTo>
                  <a:cubicBezTo>
                    <a:pt x="5020" y="82635"/>
                    <a:pt x="3271" y="85196"/>
                    <a:pt x="710" y="84072"/>
                  </a:cubicBezTo>
                  <a:cubicBezTo>
                    <a:pt x="-789" y="80012"/>
                    <a:pt x="-39" y="76702"/>
                    <a:pt x="4146" y="74078"/>
                  </a:cubicBezTo>
                  <a:cubicBezTo>
                    <a:pt x="6582" y="72579"/>
                    <a:pt x="8143" y="70081"/>
                    <a:pt x="10579" y="68394"/>
                  </a:cubicBezTo>
                  <a:cubicBezTo>
                    <a:pt x="9455" y="68832"/>
                    <a:pt x="8830" y="70393"/>
                    <a:pt x="7144" y="69769"/>
                  </a:cubicBezTo>
                  <a:cubicBezTo>
                    <a:pt x="4771" y="67645"/>
                    <a:pt x="6644" y="65709"/>
                    <a:pt x="8018" y="64334"/>
                  </a:cubicBezTo>
                  <a:cubicBezTo>
                    <a:pt x="14452" y="57776"/>
                    <a:pt x="14514" y="48657"/>
                    <a:pt x="19511" y="41536"/>
                  </a:cubicBezTo>
                  <a:cubicBezTo>
                    <a:pt x="20136" y="40662"/>
                    <a:pt x="19886" y="39787"/>
                    <a:pt x="19199" y="38851"/>
                  </a:cubicBezTo>
                  <a:cubicBezTo>
                    <a:pt x="17450" y="36290"/>
                    <a:pt x="18387" y="34041"/>
                    <a:pt x="20261" y="31917"/>
                  </a:cubicBezTo>
                  <a:cubicBezTo>
                    <a:pt x="21697" y="31855"/>
                    <a:pt x="23446" y="31793"/>
                    <a:pt x="23384" y="30044"/>
                  </a:cubicBezTo>
                  <a:cubicBezTo>
                    <a:pt x="23196" y="24984"/>
                    <a:pt x="26195" y="20237"/>
                    <a:pt x="24820" y="14991"/>
                  </a:cubicBezTo>
                  <a:cubicBezTo>
                    <a:pt x="24321" y="12992"/>
                    <a:pt x="25070" y="10493"/>
                    <a:pt x="26819" y="8807"/>
                  </a:cubicBezTo>
                  <a:cubicBezTo>
                    <a:pt x="28006" y="7683"/>
                    <a:pt x="29130" y="6808"/>
                    <a:pt x="28443" y="5122"/>
                  </a:cubicBezTo>
                  <a:cubicBezTo>
                    <a:pt x="27381" y="2623"/>
                    <a:pt x="29567" y="2061"/>
                    <a:pt x="31316" y="1374"/>
                  </a:cubicBezTo>
                  <a:cubicBezTo>
                    <a:pt x="32940" y="750"/>
                    <a:pt x="34689" y="437"/>
                    <a:pt x="36376" y="0"/>
                  </a:cubicBezTo>
                  <a:cubicBezTo>
                    <a:pt x="38125" y="4560"/>
                    <a:pt x="38812" y="9307"/>
                    <a:pt x="38499" y="13991"/>
                  </a:cubicBezTo>
                  <a:cubicBezTo>
                    <a:pt x="38125" y="19175"/>
                    <a:pt x="37500" y="24110"/>
                    <a:pt x="38437" y="29107"/>
                  </a:cubicBezTo>
                  <a:close/>
                </a:path>
              </a:pathLst>
            </a:custGeom>
            <a:grpFill/>
            <a:ln w="6246" cap="flat">
              <a:noFill/>
              <a:prstDash val="solid"/>
              <a:miter/>
            </a:ln>
          </p:spPr>
          <p:txBody>
            <a:bodyPr rtlCol="0" anchor="ctr"/>
            <a:lstStyle/>
            <a:p>
              <a:endParaRPr lang="fr-FR" sz="2400"/>
            </a:p>
          </p:txBody>
        </p:sp>
        <p:sp>
          <p:nvSpPr>
            <p:cNvPr id="314" name="Freeform: Shape 313">
              <a:extLst>
                <a:ext uri="{FF2B5EF4-FFF2-40B4-BE49-F238E27FC236}">
                  <a16:creationId xmlns:a16="http://schemas.microsoft.com/office/drawing/2014/main" id="{95468063-49D1-462F-B475-0EED2C878EE7}"/>
                </a:ext>
              </a:extLst>
            </p:cNvPr>
            <p:cNvSpPr/>
            <p:nvPr/>
          </p:nvSpPr>
          <p:spPr>
            <a:xfrm>
              <a:off x="1352650" y="517773"/>
              <a:ext cx="18738" cy="62461"/>
            </a:xfrm>
            <a:custGeom>
              <a:avLst/>
              <a:gdLst>
                <a:gd name="connsiteX0" fmla="*/ 19453 w 18738"/>
                <a:gd name="connsiteY0" fmla="*/ 150 h 62460"/>
                <a:gd name="connsiteX1" fmla="*/ 20515 w 18738"/>
                <a:gd name="connsiteY1" fmla="*/ 2086 h 62460"/>
                <a:gd name="connsiteX2" fmla="*/ 21577 w 18738"/>
                <a:gd name="connsiteY2" fmla="*/ 6896 h 62460"/>
                <a:gd name="connsiteX3" fmla="*/ 21577 w 18738"/>
                <a:gd name="connsiteY3" fmla="*/ 9769 h 62460"/>
                <a:gd name="connsiteX4" fmla="*/ 19890 w 18738"/>
                <a:gd name="connsiteY4" fmla="*/ 9207 h 62460"/>
                <a:gd name="connsiteX5" fmla="*/ 20702 w 18738"/>
                <a:gd name="connsiteY5" fmla="*/ 10456 h 62460"/>
                <a:gd name="connsiteX6" fmla="*/ 22639 w 18738"/>
                <a:gd name="connsiteY6" fmla="*/ 12705 h 62460"/>
                <a:gd name="connsiteX7" fmla="*/ 22639 w 18738"/>
                <a:gd name="connsiteY7" fmla="*/ 15578 h 62460"/>
                <a:gd name="connsiteX8" fmla="*/ 18703 w 18738"/>
                <a:gd name="connsiteY8" fmla="*/ 17327 h 62460"/>
                <a:gd name="connsiteX9" fmla="*/ 17079 w 18738"/>
                <a:gd name="connsiteY9" fmla="*/ 16890 h 62460"/>
                <a:gd name="connsiteX10" fmla="*/ 17392 w 18738"/>
                <a:gd name="connsiteY10" fmla="*/ 19201 h 62460"/>
                <a:gd name="connsiteX11" fmla="*/ 16205 w 18738"/>
                <a:gd name="connsiteY11" fmla="*/ 27820 h 62460"/>
                <a:gd name="connsiteX12" fmla="*/ 17579 w 18738"/>
                <a:gd name="connsiteY12" fmla="*/ 19450 h 62460"/>
                <a:gd name="connsiteX13" fmla="*/ 21889 w 18738"/>
                <a:gd name="connsiteY13" fmla="*/ 17327 h 62460"/>
                <a:gd name="connsiteX14" fmla="*/ 23575 w 18738"/>
                <a:gd name="connsiteY14" fmla="*/ 21512 h 62460"/>
                <a:gd name="connsiteX15" fmla="*/ 23138 w 18738"/>
                <a:gd name="connsiteY15" fmla="*/ 36252 h 62460"/>
                <a:gd name="connsiteX16" fmla="*/ 21764 w 18738"/>
                <a:gd name="connsiteY16" fmla="*/ 41811 h 62460"/>
                <a:gd name="connsiteX17" fmla="*/ 18891 w 18738"/>
                <a:gd name="connsiteY17" fmla="*/ 49494 h 62460"/>
                <a:gd name="connsiteX18" fmla="*/ 18891 w 18738"/>
                <a:gd name="connsiteY18" fmla="*/ 50868 h 62460"/>
                <a:gd name="connsiteX19" fmla="*/ 16705 w 18738"/>
                <a:gd name="connsiteY19" fmla="*/ 54179 h 62460"/>
                <a:gd name="connsiteX20" fmla="*/ 14081 w 18738"/>
                <a:gd name="connsiteY20" fmla="*/ 53991 h 62460"/>
                <a:gd name="connsiteX21" fmla="*/ 14331 w 18738"/>
                <a:gd name="connsiteY21" fmla="*/ 52242 h 62460"/>
                <a:gd name="connsiteX22" fmla="*/ 13894 w 18738"/>
                <a:gd name="connsiteY22" fmla="*/ 53991 h 62460"/>
                <a:gd name="connsiteX23" fmla="*/ 11708 w 18738"/>
                <a:gd name="connsiteY23" fmla="*/ 61611 h 62460"/>
                <a:gd name="connsiteX24" fmla="*/ 7336 w 18738"/>
                <a:gd name="connsiteY24" fmla="*/ 63485 h 62460"/>
                <a:gd name="connsiteX25" fmla="*/ 6961 w 18738"/>
                <a:gd name="connsiteY25" fmla="*/ 59363 h 62460"/>
                <a:gd name="connsiteX26" fmla="*/ 9834 w 18738"/>
                <a:gd name="connsiteY26" fmla="*/ 41187 h 62460"/>
                <a:gd name="connsiteX27" fmla="*/ 11208 w 18738"/>
                <a:gd name="connsiteY27" fmla="*/ 24760 h 62460"/>
                <a:gd name="connsiteX28" fmla="*/ 11645 w 18738"/>
                <a:gd name="connsiteY28" fmla="*/ 24697 h 62460"/>
                <a:gd name="connsiteX29" fmla="*/ 9022 w 18738"/>
                <a:gd name="connsiteY29" fmla="*/ 37876 h 62460"/>
                <a:gd name="connsiteX30" fmla="*/ 7585 w 18738"/>
                <a:gd name="connsiteY30" fmla="*/ 38438 h 62460"/>
                <a:gd name="connsiteX31" fmla="*/ 6024 w 18738"/>
                <a:gd name="connsiteY31" fmla="*/ 38189 h 62460"/>
                <a:gd name="connsiteX32" fmla="*/ 4650 w 18738"/>
                <a:gd name="connsiteY32" fmla="*/ 46996 h 62460"/>
                <a:gd name="connsiteX33" fmla="*/ 590 w 18738"/>
                <a:gd name="connsiteY33" fmla="*/ 46558 h 62460"/>
                <a:gd name="connsiteX34" fmla="*/ 153 w 18738"/>
                <a:gd name="connsiteY34" fmla="*/ 42811 h 62460"/>
                <a:gd name="connsiteX35" fmla="*/ 6086 w 18738"/>
                <a:gd name="connsiteY35" fmla="*/ 26821 h 62460"/>
                <a:gd name="connsiteX36" fmla="*/ 12083 w 18738"/>
                <a:gd name="connsiteY36" fmla="*/ 11705 h 62460"/>
                <a:gd name="connsiteX37" fmla="*/ 14206 w 18738"/>
                <a:gd name="connsiteY37" fmla="*/ 4960 h 62460"/>
                <a:gd name="connsiteX38" fmla="*/ 19453 w 18738"/>
                <a:gd name="connsiteY38" fmla="*/ 150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738" h="62460">
                  <a:moveTo>
                    <a:pt x="19453" y="150"/>
                  </a:moveTo>
                  <a:cubicBezTo>
                    <a:pt x="20265" y="587"/>
                    <a:pt x="20515" y="1274"/>
                    <a:pt x="20515" y="2086"/>
                  </a:cubicBezTo>
                  <a:cubicBezTo>
                    <a:pt x="21764" y="3523"/>
                    <a:pt x="20265" y="5459"/>
                    <a:pt x="21577" y="6896"/>
                  </a:cubicBezTo>
                  <a:cubicBezTo>
                    <a:pt x="21577" y="7833"/>
                    <a:pt x="21577" y="8832"/>
                    <a:pt x="21577" y="9769"/>
                  </a:cubicBezTo>
                  <a:cubicBezTo>
                    <a:pt x="20827" y="10081"/>
                    <a:pt x="20265" y="9831"/>
                    <a:pt x="19890" y="9207"/>
                  </a:cubicBezTo>
                  <a:cubicBezTo>
                    <a:pt x="19765" y="9831"/>
                    <a:pt x="20328" y="10144"/>
                    <a:pt x="20702" y="10456"/>
                  </a:cubicBezTo>
                  <a:cubicBezTo>
                    <a:pt x="21514" y="11081"/>
                    <a:pt x="22014" y="11955"/>
                    <a:pt x="22639" y="12705"/>
                  </a:cubicBezTo>
                  <a:cubicBezTo>
                    <a:pt x="22639" y="13642"/>
                    <a:pt x="22639" y="14641"/>
                    <a:pt x="22639" y="15578"/>
                  </a:cubicBezTo>
                  <a:cubicBezTo>
                    <a:pt x="21639" y="16765"/>
                    <a:pt x="20265" y="17202"/>
                    <a:pt x="18703" y="17327"/>
                  </a:cubicBezTo>
                  <a:cubicBezTo>
                    <a:pt x="18016" y="17514"/>
                    <a:pt x="17267" y="16265"/>
                    <a:pt x="17079" y="16890"/>
                  </a:cubicBezTo>
                  <a:cubicBezTo>
                    <a:pt x="16892" y="17452"/>
                    <a:pt x="17579" y="18326"/>
                    <a:pt x="17392" y="19201"/>
                  </a:cubicBezTo>
                  <a:cubicBezTo>
                    <a:pt x="17017" y="22199"/>
                    <a:pt x="16143" y="25134"/>
                    <a:pt x="16205" y="27820"/>
                  </a:cubicBezTo>
                  <a:cubicBezTo>
                    <a:pt x="16205" y="25197"/>
                    <a:pt x="16767" y="22324"/>
                    <a:pt x="17579" y="19450"/>
                  </a:cubicBezTo>
                  <a:cubicBezTo>
                    <a:pt x="18579" y="18014"/>
                    <a:pt x="20015" y="16827"/>
                    <a:pt x="21889" y="17327"/>
                  </a:cubicBezTo>
                  <a:cubicBezTo>
                    <a:pt x="24013" y="17951"/>
                    <a:pt x="23451" y="20013"/>
                    <a:pt x="23575" y="21512"/>
                  </a:cubicBezTo>
                  <a:cubicBezTo>
                    <a:pt x="23950" y="26446"/>
                    <a:pt x="23638" y="31380"/>
                    <a:pt x="23138" y="36252"/>
                  </a:cubicBezTo>
                  <a:cubicBezTo>
                    <a:pt x="23138" y="38189"/>
                    <a:pt x="23388" y="40187"/>
                    <a:pt x="21764" y="41811"/>
                  </a:cubicBezTo>
                  <a:cubicBezTo>
                    <a:pt x="18204" y="43560"/>
                    <a:pt x="17579" y="46246"/>
                    <a:pt x="18891" y="49494"/>
                  </a:cubicBezTo>
                  <a:cubicBezTo>
                    <a:pt x="19016" y="49931"/>
                    <a:pt x="19016" y="50368"/>
                    <a:pt x="18891" y="50868"/>
                  </a:cubicBezTo>
                  <a:cubicBezTo>
                    <a:pt x="18329" y="52055"/>
                    <a:pt x="17767" y="53242"/>
                    <a:pt x="16705" y="54179"/>
                  </a:cubicBezTo>
                  <a:cubicBezTo>
                    <a:pt x="15830" y="54866"/>
                    <a:pt x="14768" y="55115"/>
                    <a:pt x="14081" y="53991"/>
                  </a:cubicBezTo>
                  <a:cubicBezTo>
                    <a:pt x="13769" y="53429"/>
                    <a:pt x="14581" y="52867"/>
                    <a:pt x="14331" y="52242"/>
                  </a:cubicBezTo>
                  <a:cubicBezTo>
                    <a:pt x="14331" y="52867"/>
                    <a:pt x="13707" y="53367"/>
                    <a:pt x="13894" y="53991"/>
                  </a:cubicBezTo>
                  <a:cubicBezTo>
                    <a:pt x="14893" y="56927"/>
                    <a:pt x="13457" y="59300"/>
                    <a:pt x="11708" y="61611"/>
                  </a:cubicBezTo>
                  <a:cubicBezTo>
                    <a:pt x="10646" y="62986"/>
                    <a:pt x="9334" y="64360"/>
                    <a:pt x="7336" y="63485"/>
                  </a:cubicBezTo>
                  <a:cubicBezTo>
                    <a:pt x="5025" y="62486"/>
                    <a:pt x="6211" y="60799"/>
                    <a:pt x="6961" y="59363"/>
                  </a:cubicBezTo>
                  <a:cubicBezTo>
                    <a:pt x="9959" y="53554"/>
                    <a:pt x="10521" y="47495"/>
                    <a:pt x="9834" y="41187"/>
                  </a:cubicBezTo>
                  <a:cubicBezTo>
                    <a:pt x="9584" y="35628"/>
                    <a:pt x="10521" y="30194"/>
                    <a:pt x="11208" y="24760"/>
                  </a:cubicBezTo>
                  <a:cubicBezTo>
                    <a:pt x="11521" y="24135"/>
                    <a:pt x="11645" y="24697"/>
                    <a:pt x="11645" y="24697"/>
                  </a:cubicBezTo>
                  <a:cubicBezTo>
                    <a:pt x="9210" y="28820"/>
                    <a:pt x="11583" y="33754"/>
                    <a:pt x="9022" y="37876"/>
                  </a:cubicBezTo>
                  <a:cubicBezTo>
                    <a:pt x="8585" y="38189"/>
                    <a:pt x="8148" y="38376"/>
                    <a:pt x="7585" y="38438"/>
                  </a:cubicBezTo>
                  <a:cubicBezTo>
                    <a:pt x="6961" y="38813"/>
                    <a:pt x="6086" y="37314"/>
                    <a:pt x="6024" y="38189"/>
                  </a:cubicBezTo>
                  <a:cubicBezTo>
                    <a:pt x="5712" y="41124"/>
                    <a:pt x="5462" y="44122"/>
                    <a:pt x="4650" y="46996"/>
                  </a:cubicBezTo>
                  <a:cubicBezTo>
                    <a:pt x="3088" y="48432"/>
                    <a:pt x="1777" y="47995"/>
                    <a:pt x="590" y="46558"/>
                  </a:cubicBezTo>
                  <a:cubicBezTo>
                    <a:pt x="-97" y="45372"/>
                    <a:pt x="-97" y="44122"/>
                    <a:pt x="153" y="42811"/>
                  </a:cubicBezTo>
                  <a:cubicBezTo>
                    <a:pt x="403" y="36939"/>
                    <a:pt x="4400" y="32255"/>
                    <a:pt x="6086" y="26821"/>
                  </a:cubicBezTo>
                  <a:cubicBezTo>
                    <a:pt x="8522" y="21949"/>
                    <a:pt x="10271" y="16827"/>
                    <a:pt x="12083" y="11705"/>
                  </a:cubicBezTo>
                  <a:cubicBezTo>
                    <a:pt x="13644" y="9644"/>
                    <a:pt x="13956" y="7396"/>
                    <a:pt x="14206" y="4960"/>
                  </a:cubicBezTo>
                  <a:cubicBezTo>
                    <a:pt x="14519" y="2399"/>
                    <a:pt x="15018" y="-724"/>
                    <a:pt x="19453" y="150"/>
                  </a:cubicBezTo>
                  <a:close/>
                </a:path>
              </a:pathLst>
            </a:custGeom>
            <a:grpFill/>
            <a:ln w="6246" cap="flat">
              <a:noFill/>
              <a:prstDash val="solid"/>
              <a:miter/>
            </a:ln>
          </p:spPr>
          <p:txBody>
            <a:bodyPr rtlCol="0" anchor="ctr"/>
            <a:lstStyle/>
            <a:p>
              <a:endParaRPr lang="fr-FR" sz="2400"/>
            </a:p>
          </p:txBody>
        </p:sp>
        <p:sp>
          <p:nvSpPr>
            <p:cNvPr id="315" name="Freeform: Shape 314">
              <a:extLst>
                <a:ext uri="{FF2B5EF4-FFF2-40B4-BE49-F238E27FC236}">
                  <a16:creationId xmlns:a16="http://schemas.microsoft.com/office/drawing/2014/main" id="{19DF4C10-0CC9-4ED5-B144-0694C81AD1D5}"/>
                </a:ext>
              </a:extLst>
            </p:cNvPr>
            <p:cNvSpPr/>
            <p:nvPr/>
          </p:nvSpPr>
          <p:spPr>
            <a:xfrm>
              <a:off x="1354109" y="460407"/>
              <a:ext cx="18738" cy="49969"/>
            </a:xfrm>
            <a:custGeom>
              <a:avLst/>
              <a:gdLst>
                <a:gd name="connsiteX0" fmla="*/ 22242 w 18738"/>
                <a:gd name="connsiteY0" fmla="*/ 37216 h 49968"/>
                <a:gd name="connsiteX1" fmla="*/ 19119 w 18738"/>
                <a:gd name="connsiteY1" fmla="*/ 38466 h 49968"/>
                <a:gd name="connsiteX2" fmla="*/ 17932 w 18738"/>
                <a:gd name="connsiteY2" fmla="*/ 51707 h 49968"/>
                <a:gd name="connsiteX3" fmla="*/ 10187 w 18738"/>
                <a:gd name="connsiteY3" fmla="*/ 52956 h 49968"/>
                <a:gd name="connsiteX4" fmla="*/ 7939 w 18738"/>
                <a:gd name="connsiteY4" fmla="*/ 51208 h 49968"/>
                <a:gd name="connsiteX5" fmla="*/ 3504 w 18738"/>
                <a:gd name="connsiteY5" fmla="*/ 40339 h 49968"/>
                <a:gd name="connsiteX6" fmla="*/ 4253 w 18738"/>
                <a:gd name="connsiteY6" fmla="*/ 38216 h 49968"/>
                <a:gd name="connsiteX7" fmla="*/ 6877 w 18738"/>
                <a:gd name="connsiteY7" fmla="*/ 33281 h 49968"/>
                <a:gd name="connsiteX8" fmla="*/ 9063 w 18738"/>
                <a:gd name="connsiteY8" fmla="*/ 30283 h 49968"/>
                <a:gd name="connsiteX9" fmla="*/ 10624 w 18738"/>
                <a:gd name="connsiteY9" fmla="*/ 19727 h 49968"/>
                <a:gd name="connsiteX10" fmla="*/ 8563 w 18738"/>
                <a:gd name="connsiteY10" fmla="*/ 16917 h 49968"/>
                <a:gd name="connsiteX11" fmla="*/ 3004 w 18738"/>
                <a:gd name="connsiteY11" fmla="*/ 12732 h 49968"/>
                <a:gd name="connsiteX12" fmla="*/ 6 w 18738"/>
                <a:gd name="connsiteY12" fmla="*/ 7485 h 49968"/>
                <a:gd name="connsiteX13" fmla="*/ 943 w 18738"/>
                <a:gd name="connsiteY13" fmla="*/ 4300 h 49968"/>
                <a:gd name="connsiteX14" fmla="*/ 2067 w 18738"/>
                <a:gd name="connsiteY14" fmla="*/ 2551 h 49968"/>
                <a:gd name="connsiteX15" fmla="*/ 8188 w 18738"/>
                <a:gd name="connsiteY15" fmla="*/ 1239 h 49968"/>
                <a:gd name="connsiteX16" fmla="*/ 10312 w 18738"/>
                <a:gd name="connsiteY16" fmla="*/ 1239 h 49968"/>
                <a:gd name="connsiteX17" fmla="*/ 11436 w 18738"/>
                <a:gd name="connsiteY17" fmla="*/ 1489 h 49968"/>
                <a:gd name="connsiteX18" fmla="*/ 12498 w 18738"/>
                <a:gd name="connsiteY18" fmla="*/ 2426 h 49968"/>
                <a:gd name="connsiteX19" fmla="*/ 13560 w 18738"/>
                <a:gd name="connsiteY19" fmla="*/ 7235 h 49968"/>
                <a:gd name="connsiteX20" fmla="*/ 14622 w 18738"/>
                <a:gd name="connsiteY20" fmla="*/ 12045 h 49968"/>
                <a:gd name="connsiteX21" fmla="*/ 21055 w 18738"/>
                <a:gd name="connsiteY21" fmla="*/ 25099 h 49968"/>
                <a:gd name="connsiteX22" fmla="*/ 21867 w 18738"/>
                <a:gd name="connsiteY22" fmla="*/ 28347 h 49968"/>
                <a:gd name="connsiteX23" fmla="*/ 21742 w 18738"/>
                <a:gd name="connsiteY23" fmla="*/ 32782 h 49968"/>
                <a:gd name="connsiteX24" fmla="*/ 22242 w 18738"/>
                <a:gd name="connsiteY24" fmla="*/ 37216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49968">
                  <a:moveTo>
                    <a:pt x="22242" y="37216"/>
                  </a:moveTo>
                  <a:cubicBezTo>
                    <a:pt x="20431" y="36092"/>
                    <a:pt x="18182" y="35155"/>
                    <a:pt x="19119" y="38466"/>
                  </a:cubicBezTo>
                  <a:cubicBezTo>
                    <a:pt x="20493" y="43150"/>
                    <a:pt x="19681" y="47397"/>
                    <a:pt x="17932" y="51707"/>
                  </a:cubicBezTo>
                  <a:cubicBezTo>
                    <a:pt x="15871" y="54643"/>
                    <a:pt x="12623" y="51645"/>
                    <a:pt x="10187" y="52956"/>
                  </a:cubicBezTo>
                  <a:cubicBezTo>
                    <a:pt x="9000" y="52832"/>
                    <a:pt x="8376" y="52082"/>
                    <a:pt x="7939" y="51208"/>
                  </a:cubicBezTo>
                  <a:cubicBezTo>
                    <a:pt x="6315" y="47647"/>
                    <a:pt x="6315" y="43525"/>
                    <a:pt x="3504" y="40339"/>
                  </a:cubicBezTo>
                  <a:cubicBezTo>
                    <a:pt x="3004" y="39777"/>
                    <a:pt x="3691" y="38840"/>
                    <a:pt x="4253" y="38216"/>
                  </a:cubicBezTo>
                  <a:cubicBezTo>
                    <a:pt x="6252" y="37029"/>
                    <a:pt x="5565" y="34718"/>
                    <a:pt x="6877" y="33281"/>
                  </a:cubicBezTo>
                  <a:cubicBezTo>
                    <a:pt x="8063" y="32594"/>
                    <a:pt x="9250" y="31845"/>
                    <a:pt x="9063" y="30283"/>
                  </a:cubicBezTo>
                  <a:cubicBezTo>
                    <a:pt x="8626" y="26661"/>
                    <a:pt x="7689" y="23100"/>
                    <a:pt x="10624" y="19727"/>
                  </a:cubicBezTo>
                  <a:cubicBezTo>
                    <a:pt x="11624" y="18603"/>
                    <a:pt x="10000" y="17416"/>
                    <a:pt x="8563" y="16917"/>
                  </a:cubicBezTo>
                  <a:cubicBezTo>
                    <a:pt x="6190" y="16105"/>
                    <a:pt x="4191" y="14855"/>
                    <a:pt x="3004" y="12732"/>
                  </a:cubicBezTo>
                  <a:cubicBezTo>
                    <a:pt x="2379" y="10796"/>
                    <a:pt x="443" y="9484"/>
                    <a:pt x="6" y="7485"/>
                  </a:cubicBezTo>
                  <a:cubicBezTo>
                    <a:pt x="-56" y="6298"/>
                    <a:pt x="381" y="5299"/>
                    <a:pt x="943" y="4300"/>
                  </a:cubicBezTo>
                  <a:cubicBezTo>
                    <a:pt x="1255" y="3737"/>
                    <a:pt x="1630" y="3175"/>
                    <a:pt x="2067" y="2551"/>
                  </a:cubicBezTo>
                  <a:cubicBezTo>
                    <a:pt x="3504" y="-73"/>
                    <a:pt x="5440" y="-947"/>
                    <a:pt x="8188" y="1239"/>
                  </a:cubicBezTo>
                  <a:cubicBezTo>
                    <a:pt x="8938" y="1864"/>
                    <a:pt x="9625" y="2114"/>
                    <a:pt x="10312" y="1239"/>
                  </a:cubicBezTo>
                  <a:cubicBezTo>
                    <a:pt x="10749" y="1052"/>
                    <a:pt x="11124" y="1114"/>
                    <a:pt x="11436" y="1489"/>
                  </a:cubicBezTo>
                  <a:cubicBezTo>
                    <a:pt x="11811" y="1801"/>
                    <a:pt x="12123" y="2114"/>
                    <a:pt x="12498" y="2426"/>
                  </a:cubicBezTo>
                  <a:cubicBezTo>
                    <a:pt x="13248" y="3987"/>
                    <a:pt x="15184" y="5299"/>
                    <a:pt x="13560" y="7235"/>
                  </a:cubicBezTo>
                  <a:cubicBezTo>
                    <a:pt x="11374" y="9296"/>
                    <a:pt x="15309" y="10296"/>
                    <a:pt x="14622" y="12045"/>
                  </a:cubicBezTo>
                  <a:cubicBezTo>
                    <a:pt x="16058" y="16667"/>
                    <a:pt x="18869" y="20727"/>
                    <a:pt x="21055" y="25099"/>
                  </a:cubicBezTo>
                  <a:cubicBezTo>
                    <a:pt x="21680" y="26098"/>
                    <a:pt x="22055" y="27160"/>
                    <a:pt x="21867" y="28347"/>
                  </a:cubicBezTo>
                  <a:cubicBezTo>
                    <a:pt x="20868" y="29784"/>
                    <a:pt x="20805" y="31220"/>
                    <a:pt x="21742" y="32782"/>
                  </a:cubicBezTo>
                  <a:cubicBezTo>
                    <a:pt x="22617" y="34156"/>
                    <a:pt x="23803" y="35655"/>
                    <a:pt x="22242" y="37216"/>
                  </a:cubicBezTo>
                  <a:close/>
                </a:path>
              </a:pathLst>
            </a:custGeom>
            <a:grpFill/>
            <a:ln w="6246" cap="flat">
              <a:noFill/>
              <a:prstDash val="solid"/>
              <a:miter/>
            </a:ln>
          </p:spPr>
          <p:txBody>
            <a:bodyPr rtlCol="0" anchor="ctr"/>
            <a:lstStyle/>
            <a:p>
              <a:endParaRPr lang="fr-FR" sz="2400"/>
            </a:p>
          </p:txBody>
        </p:sp>
        <p:sp>
          <p:nvSpPr>
            <p:cNvPr id="316" name="Freeform: Shape 315">
              <a:extLst>
                <a:ext uri="{FF2B5EF4-FFF2-40B4-BE49-F238E27FC236}">
                  <a16:creationId xmlns:a16="http://schemas.microsoft.com/office/drawing/2014/main" id="{C8A5BD7C-8F94-4308-8821-AF347EB0B67B}"/>
                </a:ext>
              </a:extLst>
            </p:cNvPr>
            <p:cNvSpPr/>
            <p:nvPr/>
          </p:nvSpPr>
          <p:spPr>
            <a:xfrm>
              <a:off x="1326839" y="561707"/>
              <a:ext cx="56215" cy="62461"/>
            </a:xfrm>
            <a:custGeom>
              <a:avLst/>
              <a:gdLst>
                <a:gd name="connsiteX0" fmla="*/ 40955 w 56214"/>
                <a:gd name="connsiteY0" fmla="*/ 26796 h 62460"/>
                <a:gd name="connsiteX1" fmla="*/ 46139 w 56214"/>
                <a:gd name="connsiteY1" fmla="*/ 24298 h 62460"/>
                <a:gd name="connsiteX2" fmla="*/ 54821 w 56214"/>
                <a:gd name="connsiteY2" fmla="*/ 1312 h 62460"/>
                <a:gd name="connsiteX3" fmla="*/ 55758 w 56214"/>
                <a:gd name="connsiteY3" fmla="*/ 313 h 62460"/>
                <a:gd name="connsiteX4" fmla="*/ 55883 w 56214"/>
                <a:gd name="connsiteY4" fmla="*/ 1687 h 62460"/>
                <a:gd name="connsiteX5" fmla="*/ 55508 w 56214"/>
                <a:gd name="connsiteY5" fmla="*/ 14679 h 62460"/>
                <a:gd name="connsiteX6" fmla="*/ 41017 w 56214"/>
                <a:gd name="connsiteY6" fmla="*/ 40475 h 62460"/>
                <a:gd name="connsiteX7" fmla="*/ 6664 w 56214"/>
                <a:gd name="connsiteY7" fmla="*/ 63960 h 62460"/>
                <a:gd name="connsiteX8" fmla="*/ 1667 w 56214"/>
                <a:gd name="connsiteY8" fmla="*/ 65085 h 62460"/>
                <a:gd name="connsiteX9" fmla="*/ 1979 w 56214"/>
                <a:gd name="connsiteY9" fmla="*/ 60587 h 62460"/>
                <a:gd name="connsiteX10" fmla="*/ 8725 w 56214"/>
                <a:gd name="connsiteY10" fmla="*/ 56777 h 62460"/>
                <a:gd name="connsiteX11" fmla="*/ 12598 w 56214"/>
                <a:gd name="connsiteY11" fmla="*/ 52592 h 62460"/>
                <a:gd name="connsiteX12" fmla="*/ 16782 w 56214"/>
                <a:gd name="connsiteY12" fmla="*/ 48158 h 62460"/>
                <a:gd name="connsiteX13" fmla="*/ 23341 w 56214"/>
                <a:gd name="connsiteY13" fmla="*/ 43473 h 62460"/>
                <a:gd name="connsiteX14" fmla="*/ 30711 w 56214"/>
                <a:gd name="connsiteY14" fmla="*/ 38789 h 62460"/>
                <a:gd name="connsiteX15" fmla="*/ 37019 w 56214"/>
                <a:gd name="connsiteY15" fmla="*/ 30169 h 62460"/>
                <a:gd name="connsiteX16" fmla="*/ 40955 w 56214"/>
                <a:gd name="connsiteY16" fmla="*/ 26796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62460">
                  <a:moveTo>
                    <a:pt x="40955" y="26796"/>
                  </a:moveTo>
                  <a:cubicBezTo>
                    <a:pt x="43765" y="27796"/>
                    <a:pt x="44765" y="26359"/>
                    <a:pt x="46139" y="24298"/>
                  </a:cubicBezTo>
                  <a:cubicBezTo>
                    <a:pt x="50698" y="17115"/>
                    <a:pt x="52322" y="9057"/>
                    <a:pt x="54821" y="1312"/>
                  </a:cubicBezTo>
                  <a:cubicBezTo>
                    <a:pt x="54946" y="1000"/>
                    <a:pt x="54009" y="-686"/>
                    <a:pt x="55758" y="313"/>
                  </a:cubicBezTo>
                  <a:cubicBezTo>
                    <a:pt x="56008" y="438"/>
                    <a:pt x="55883" y="1250"/>
                    <a:pt x="55883" y="1687"/>
                  </a:cubicBezTo>
                  <a:cubicBezTo>
                    <a:pt x="57444" y="6059"/>
                    <a:pt x="57194" y="10494"/>
                    <a:pt x="55508" y="14679"/>
                  </a:cubicBezTo>
                  <a:cubicBezTo>
                    <a:pt x="51885" y="23798"/>
                    <a:pt x="48450" y="33042"/>
                    <a:pt x="41017" y="40475"/>
                  </a:cubicBezTo>
                  <a:cubicBezTo>
                    <a:pt x="31523" y="50656"/>
                    <a:pt x="20467" y="58963"/>
                    <a:pt x="6664" y="63960"/>
                  </a:cubicBezTo>
                  <a:cubicBezTo>
                    <a:pt x="5040" y="64522"/>
                    <a:pt x="3541" y="65584"/>
                    <a:pt x="1667" y="65085"/>
                  </a:cubicBezTo>
                  <a:cubicBezTo>
                    <a:pt x="-1144" y="63461"/>
                    <a:pt x="43" y="61899"/>
                    <a:pt x="1979" y="60587"/>
                  </a:cubicBezTo>
                  <a:cubicBezTo>
                    <a:pt x="4103" y="59151"/>
                    <a:pt x="6476" y="58027"/>
                    <a:pt x="8725" y="56777"/>
                  </a:cubicBezTo>
                  <a:cubicBezTo>
                    <a:pt x="10536" y="55778"/>
                    <a:pt x="12473" y="54904"/>
                    <a:pt x="12598" y="52592"/>
                  </a:cubicBezTo>
                  <a:cubicBezTo>
                    <a:pt x="13097" y="50469"/>
                    <a:pt x="14784" y="49157"/>
                    <a:pt x="16782" y="48158"/>
                  </a:cubicBezTo>
                  <a:cubicBezTo>
                    <a:pt x="19593" y="47283"/>
                    <a:pt x="21279" y="45160"/>
                    <a:pt x="23341" y="43473"/>
                  </a:cubicBezTo>
                  <a:cubicBezTo>
                    <a:pt x="25464" y="41474"/>
                    <a:pt x="29337" y="41724"/>
                    <a:pt x="30711" y="38789"/>
                  </a:cubicBezTo>
                  <a:cubicBezTo>
                    <a:pt x="32897" y="35978"/>
                    <a:pt x="35083" y="33167"/>
                    <a:pt x="37019" y="30169"/>
                  </a:cubicBezTo>
                  <a:cubicBezTo>
                    <a:pt x="37957" y="28733"/>
                    <a:pt x="38768" y="27109"/>
                    <a:pt x="40955" y="26796"/>
                  </a:cubicBezTo>
                  <a:close/>
                </a:path>
              </a:pathLst>
            </a:custGeom>
            <a:grpFill/>
            <a:ln w="6246" cap="flat">
              <a:noFill/>
              <a:prstDash val="solid"/>
              <a:miter/>
            </a:ln>
          </p:spPr>
          <p:txBody>
            <a:bodyPr rtlCol="0" anchor="ctr"/>
            <a:lstStyle/>
            <a:p>
              <a:endParaRPr lang="fr-FR" sz="2400"/>
            </a:p>
          </p:txBody>
        </p:sp>
        <p:sp>
          <p:nvSpPr>
            <p:cNvPr id="317" name="Freeform: Shape 316">
              <a:extLst>
                <a:ext uri="{FF2B5EF4-FFF2-40B4-BE49-F238E27FC236}">
                  <a16:creationId xmlns:a16="http://schemas.microsoft.com/office/drawing/2014/main" id="{8AB1392A-62D3-4E5C-911E-61C2199E05B9}"/>
                </a:ext>
              </a:extLst>
            </p:cNvPr>
            <p:cNvSpPr/>
            <p:nvPr/>
          </p:nvSpPr>
          <p:spPr>
            <a:xfrm>
              <a:off x="1345995" y="550663"/>
              <a:ext cx="31230" cy="49969"/>
            </a:xfrm>
            <a:custGeom>
              <a:avLst/>
              <a:gdLst>
                <a:gd name="connsiteX0" fmla="*/ 12180 w 31230"/>
                <a:gd name="connsiteY0" fmla="*/ 50457 h 49968"/>
                <a:gd name="connsiteX1" fmla="*/ 4685 w 31230"/>
                <a:gd name="connsiteY1" fmla="*/ 55267 h 49968"/>
                <a:gd name="connsiteX2" fmla="*/ 3997 w 31230"/>
                <a:gd name="connsiteY2" fmla="*/ 55079 h 49968"/>
                <a:gd name="connsiteX3" fmla="*/ 0 w 31230"/>
                <a:gd name="connsiteY3" fmla="*/ 52893 h 49968"/>
                <a:gd name="connsiteX4" fmla="*/ 9931 w 31230"/>
                <a:gd name="connsiteY4" fmla="*/ 40526 h 49968"/>
                <a:gd name="connsiteX5" fmla="*/ 10806 w 31230"/>
                <a:gd name="connsiteY5" fmla="*/ 41588 h 49968"/>
                <a:gd name="connsiteX6" fmla="*/ 8432 w 31230"/>
                <a:gd name="connsiteY6" fmla="*/ 47709 h 49968"/>
                <a:gd name="connsiteX7" fmla="*/ 13866 w 31230"/>
                <a:gd name="connsiteY7" fmla="*/ 36778 h 49968"/>
                <a:gd name="connsiteX8" fmla="*/ 24047 w 31230"/>
                <a:gd name="connsiteY8" fmla="*/ 19227 h 49968"/>
                <a:gd name="connsiteX9" fmla="*/ 24984 w 31230"/>
                <a:gd name="connsiteY9" fmla="*/ 17540 h 49968"/>
                <a:gd name="connsiteX10" fmla="*/ 24984 w 31230"/>
                <a:gd name="connsiteY10" fmla="*/ 16603 h 49968"/>
                <a:gd name="connsiteX11" fmla="*/ 27108 w 31230"/>
                <a:gd name="connsiteY11" fmla="*/ 8858 h 49968"/>
                <a:gd name="connsiteX12" fmla="*/ 28170 w 31230"/>
                <a:gd name="connsiteY12" fmla="*/ 3050 h 49968"/>
                <a:gd name="connsiteX13" fmla="*/ 31355 w 31230"/>
                <a:gd name="connsiteY13" fmla="*/ 176 h 49968"/>
                <a:gd name="connsiteX14" fmla="*/ 29981 w 31230"/>
                <a:gd name="connsiteY14" fmla="*/ 13855 h 49968"/>
                <a:gd name="connsiteX15" fmla="*/ 28170 w 31230"/>
                <a:gd name="connsiteY15" fmla="*/ 24349 h 49968"/>
                <a:gd name="connsiteX16" fmla="*/ 23610 w 31230"/>
                <a:gd name="connsiteY16" fmla="*/ 32718 h 49968"/>
                <a:gd name="connsiteX17" fmla="*/ 12180 w 31230"/>
                <a:gd name="connsiteY17" fmla="*/ 50457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49968">
                  <a:moveTo>
                    <a:pt x="12180" y="50457"/>
                  </a:moveTo>
                  <a:cubicBezTo>
                    <a:pt x="11993" y="54954"/>
                    <a:pt x="6871" y="53268"/>
                    <a:pt x="4685" y="55267"/>
                  </a:cubicBezTo>
                  <a:cubicBezTo>
                    <a:pt x="4435" y="55204"/>
                    <a:pt x="4247" y="55142"/>
                    <a:pt x="3997" y="55079"/>
                  </a:cubicBezTo>
                  <a:cubicBezTo>
                    <a:pt x="2623" y="54455"/>
                    <a:pt x="687" y="54517"/>
                    <a:pt x="0" y="52893"/>
                  </a:cubicBezTo>
                  <a:cubicBezTo>
                    <a:pt x="2374" y="48146"/>
                    <a:pt x="4247" y="43149"/>
                    <a:pt x="9931" y="40526"/>
                  </a:cubicBezTo>
                  <a:cubicBezTo>
                    <a:pt x="10368" y="40838"/>
                    <a:pt x="10618" y="41151"/>
                    <a:pt x="10806" y="41588"/>
                  </a:cubicBezTo>
                  <a:cubicBezTo>
                    <a:pt x="10993" y="43899"/>
                    <a:pt x="9369" y="45710"/>
                    <a:pt x="8432" y="47709"/>
                  </a:cubicBezTo>
                  <a:cubicBezTo>
                    <a:pt x="10618" y="44211"/>
                    <a:pt x="11743" y="40339"/>
                    <a:pt x="13866" y="36778"/>
                  </a:cubicBezTo>
                  <a:cubicBezTo>
                    <a:pt x="18363" y="31407"/>
                    <a:pt x="20737" y="25098"/>
                    <a:pt x="24047" y="19227"/>
                  </a:cubicBezTo>
                  <a:cubicBezTo>
                    <a:pt x="24360" y="18665"/>
                    <a:pt x="24547" y="18040"/>
                    <a:pt x="24984" y="17540"/>
                  </a:cubicBezTo>
                  <a:cubicBezTo>
                    <a:pt x="24984" y="17228"/>
                    <a:pt x="24984" y="16916"/>
                    <a:pt x="24984" y="16603"/>
                  </a:cubicBezTo>
                  <a:cubicBezTo>
                    <a:pt x="24984" y="13855"/>
                    <a:pt x="25859" y="11357"/>
                    <a:pt x="27108" y="8858"/>
                  </a:cubicBezTo>
                  <a:cubicBezTo>
                    <a:pt x="28982" y="7172"/>
                    <a:pt x="27857" y="4986"/>
                    <a:pt x="28170" y="3050"/>
                  </a:cubicBezTo>
                  <a:cubicBezTo>
                    <a:pt x="29919" y="2737"/>
                    <a:pt x="28170" y="-823"/>
                    <a:pt x="31355" y="176"/>
                  </a:cubicBezTo>
                  <a:cubicBezTo>
                    <a:pt x="32979" y="4923"/>
                    <a:pt x="32854" y="9358"/>
                    <a:pt x="29981" y="13855"/>
                  </a:cubicBezTo>
                  <a:cubicBezTo>
                    <a:pt x="27920" y="16978"/>
                    <a:pt x="29232" y="20913"/>
                    <a:pt x="28170" y="24349"/>
                  </a:cubicBezTo>
                  <a:cubicBezTo>
                    <a:pt x="25609" y="26660"/>
                    <a:pt x="25172" y="29970"/>
                    <a:pt x="23610" y="32718"/>
                  </a:cubicBezTo>
                  <a:cubicBezTo>
                    <a:pt x="20237" y="38839"/>
                    <a:pt x="16177" y="44586"/>
                    <a:pt x="12180" y="50457"/>
                  </a:cubicBezTo>
                  <a:close/>
                </a:path>
              </a:pathLst>
            </a:custGeom>
            <a:grpFill/>
            <a:ln w="6246" cap="flat">
              <a:noFill/>
              <a:prstDash val="solid"/>
              <a:miter/>
            </a:ln>
          </p:spPr>
          <p:txBody>
            <a:bodyPr rtlCol="0" anchor="ctr"/>
            <a:lstStyle/>
            <a:p>
              <a:endParaRPr lang="fr-FR" sz="2400"/>
            </a:p>
          </p:txBody>
        </p:sp>
        <p:sp>
          <p:nvSpPr>
            <p:cNvPr id="318" name="Freeform: Shape 317">
              <a:extLst>
                <a:ext uri="{FF2B5EF4-FFF2-40B4-BE49-F238E27FC236}">
                  <a16:creationId xmlns:a16="http://schemas.microsoft.com/office/drawing/2014/main" id="{C890D351-A747-48D6-BD5F-F1CCDDEC9A8B}"/>
                </a:ext>
              </a:extLst>
            </p:cNvPr>
            <p:cNvSpPr/>
            <p:nvPr/>
          </p:nvSpPr>
          <p:spPr>
            <a:xfrm>
              <a:off x="1245957" y="428913"/>
              <a:ext cx="68707" cy="12492"/>
            </a:xfrm>
            <a:custGeom>
              <a:avLst/>
              <a:gdLst>
                <a:gd name="connsiteX0" fmla="*/ 70494 w 68706"/>
                <a:gd name="connsiteY0" fmla="*/ 3938 h 12492"/>
                <a:gd name="connsiteX1" fmla="*/ 60875 w 68706"/>
                <a:gd name="connsiteY1" fmla="*/ 3938 h 12492"/>
                <a:gd name="connsiteX2" fmla="*/ 54379 w 68706"/>
                <a:gd name="connsiteY2" fmla="*/ 5313 h 12492"/>
                <a:gd name="connsiteX3" fmla="*/ 6847 w 68706"/>
                <a:gd name="connsiteY3" fmla="*/ 15431 h 12492"/>
                <a:gd name="connsiteX4" fmla="*/ 4036 w 68706"/>
                <a:gd name="connsiteY4" fmla="*/ 16555 h 12492"/>
                <a:gd name="connsiteX5" fmla="*/ 413 w 68706"/>
                <a:gd name="connsiteY5" fmla="*/ 13120 h 12492"/>
                <a:gd name="connsiteX6" fmla="*/ 11469 w 68706"/>
                <a:gd name="connsiteY6" fmla="*/ 7061 h 12492"/>
                <a:gd name="connsiteX7" fmla="*/ 12968 w 68706"/>
                <a:gd name="connsiteY7" fmla="*/ 6562 h 12492"/>
                <a:gd name="connsiteX8" fmla="*/ 30332 w 68706"/>
                <a:gd name="connsiteY8" fmla="*/ 1378 h 12492"/>
                <a:gd name="connsiteX9" fmla="*/ 64810 w 68706"/>
                <a:gd name="connsiteY9" fmla="*/ 1003 h 12492"/>
                <a:gd name="connsiteX10" fmla="*/ 70494 w 68706"/>
                <a:gd name="connsiteY10" fmla="*/ 393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706" h="12492">
                  <a:moveTo>
                    <a:pt x="70494" y="3938"/>
                  </a:moveTo>
                  <a:cubicBezTo>
                    <a:pt x="67309" y="3938"/>
                    <a:pt x="64061" y="3938"/>
                    <a:pt x="60875" y="3938"/>
                  </a:cubicBezTo>
                  <a:cubicBezTo>
                    <a:pt x="59064" y="5687"/>
                    <a:pt x="56628" y="5250"/>
                    <a:pt x="54379" y="5313"/>
                  </a:cubicBezTo>
                  <a:cubicBezTo>
                    <a:pt x="37702" y="5500"/>
                    <a:pt x="22025" y="9560"/>
                    <a:pt x="6847" y="15431"/>
                  </a:cubicBezTo>
                  <a:cubicBezTo>
                    <a:pt x="5910" y="15806"/>
                    <a:pt x="4973" y="16243"/>
                    <a:pt x="4036" y="16555"/>
                  </a:cubicBezTo>
                  <a:cubicBezTo>
                    <a:pt x="-87" y="17742"/>
                    <a:pt x="-524" y="17367"/>
                    <a:pt x="413" y="13120"/>
                  </a:cubicBezTo>
                  <a:cubicBezTo>
                    <a:pt x="3224" y="9810"/>
                    <a:pt x="7783" y="9060"/>
                    <a:pt x="11469" y="7061"/>
                  </a:cubicBezTo>
                  <a:cubicBezTo>
                    <a:pt x="11968" y="6874"/>
                    <a:pt x="12468" y="6687"/>
                    <a:pt x="12968" y="6562"/>
                  </a:cubicBezTo>
                  <a:cubicBezTo>
                    <a:pt x="18589" y="4313"/>
                    <a:pt x="24523" y="3064"/>
                    <a:pt x="30332" y="1378"/>
                  </a:cubicBezTo>
                  <a:cubicBezTo>
                    <a:pt x="41825" y="1940"/>
                    <a:pt x="53317" y="-1683"/>
                    <a:pt x="64810" y="1003"/>
                  </a:cubicBezTo>
                  <a:cubicBezTo>
                    <a:pt x="66871" y="1502"/>
                    <a:pt x="69932" y="815"/>
                    <a:pt x="70494" y="3938"/>
                  </a:cubicBezTo>
                  <a:close/>
                </a:path>
              </a:pathLst>
            </a:custGeom>
            <a:grpFill/>
            <a:ln w="6246" cap="flat">
              <a:noFill/>
              <a:prstDash val="solid"/>
              <a:miter/>
            </a:ln>
          </p:spPr>
          <p:txBody>
            <a:bodyPr rtlCol="0" anchor="ctr"/>
            <a:lstStyle/>
            <a:p>
              <a:endParaRPr lang="fr-FR" sz="2400"/>
            </a:p>
          </p:txBody>
        </p:sp>
        <p:sp>
          <p:nvSpPr>
            <p:cNvPr id="319" name="Freeform: Shape 318">
              <a:extLst>
                <a:ext uri="{FF2B5EF4-FFF2-40B4-BE49-F238E27FC236}">
                  <a16:creationId xmlns:a16="http://schemas.microsoft.com/office/drawing/2014/main" id="{C2DEB9E6-F9A1-4338-84F4-79CBB5B1C1D8}"/>
                </a:ext>
              </a:extLst>
            </p:cNvPr>
            <p:cNvSpPr/>
            <p:nvPr/>
          </p:nvSpPr>
          <p:spPr>
            <a:xfrm>
              <a:off x="1254168" y="433600"/>
              <a:ext cx="68707" cy="12492"/>
            </a:xfrm>
            <a:custGeom>
              <a:avLst/>
              <a:gdLst>
                <a:gd name="connsiteX0" fmla="*/ 59097 w 68706"/>
                <a:gd name="connsiteY0" fmla="*/ 1187 h 12492"/>
                <a:gd name="connsiteX1" fmla="*/ 70902 w 68706"/>
                <a:gd name="connsiteY1" fmla="*/ 5060 h 12492"/>
                <a:gd name="connsiteX2" fmla="*/ 68903 w 68706"/>
                <a:gd name="connsiteY2" fmla="*/ 6809 h 12492"/>
                <a:gd name="connsiteX3" fmla="*/ 54662 w 68706"/>
                <a:gd name="connsiteY3" fmla="*/ 4498 h 12492"/>
                <a:gd name="connsiteX4" fmla="*/ 67904 w 68706"/>
                <a:gd name="connsiteY4" fmla="*/ 8370 h 12492"/>
                <a:gd name="connsiteX5" fmla="*/ 70902 w 68706"/>
                <a:gd name="connsiteY5" fmla="*/ 12618 h 12492"/>
                <a:gd name="connsiteX6" fmla="*/ 65656 w 68706"/>
                <a:gd name="connsiteY6" fmla="*/ 12868 h 12492"/>
                <a:gd name="connsiteX7" fmla="*/ 56661 w 68706"/>
                <a:gd name="connsiteY7" fmla="*/ 10182 h 12492"/>
                <a:gd name="connsiteX8" fmla="*/ 48416 w 68706"/>
                <a:gd name="connsiteY8" fmla="*/ 8120 h 12492"/>
                <a:gd name="connsiteX9" fmla="*/ 46043 w 68706"/>
                <a:gd name="connsiteY9" fmla="*/ 7059 h 12492"/>
                <a:gd name="connsiteX10" fmla="*/ 35237 w 68706"/>
                <a:gd name="connsiteY10" fmla="*/ 4935 h 12492"/>
                <a:gd name="connsiteX11" fmla="*/ 6568 w 68706"/>
                <a:gd name="connsiteY11" fmla="*/ 12555 h 12492"/>
                <a:gd name="connsiteX12" fmla="*/ 384 w 68706"/>
                <a:gd name="connsiteY12" fmla="*/ 13305 h 12492"/>
                <a:gd name="connsiteX13" fmla="*/ 3944 w 68706"/>
                <a:gd name="connsiteY13" fmla="*/ 8245 h 12492"/>
                <a:gd name="connsiteX14" fmla="*/ 41358 w 68706"/>
                <a:gd name="connsiteY14" fmla="*/ 126 h 12492"/>
                <a:gd name="connsiteX15" fmla="*/ 59097 w 68706"/>
                <a:gd name="connsiteY15" fmla="*/ 118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706" h="12492">
                  <a:moveTo>
                    <a:pt x="59097" y="1187"/>
                  </a:moveTo>
                  <a:cubicBezTo>
                    <a:pt x="62845" y="2936"/>
                    <a:pt x="67404" y="2624"/>
                    <a:pt x="70902" y="5060"/>
                  </a:cubicBezTo>
                  <a:cubicBezTo>
                    <a:pt x="71152" y="6496"/>
                    <a:pt x="69965" y="6621"/>
                    <a:pt x="68903" y="6809"/>
                  </a:cubicBezTo>
                  <a:cubicBezTo>
                    <a:pt x="64281" y="5872"/>
                    <a:pt x="59722" y="4560"/>
                    <a:pt x="54662" y="4498"/>
                  </a:cubicBezTo>
                  <a:cubicBezTo>
                    <a:pt x="59285" y="5685"/>
                    <a:pt x="63907" y="6372"/>
                    <a:pt x="67904" y="8370"/>
                  </a:cubicBezTo>
                  <a:cubicBezTo>
                    <a:pt x="69653" y="9245"/>
                    <a:pt x="72339" y="10244"/>
                    <a:pt x="70902" y="12618"/>
                  </a:cubicBezTo>
                  <a:cubicBezTo>
                    <a:pt x="69715" y="14554"/>
                    <a:pt x="67342" y="13617"/>
                    <a:pt x="65656" y="12868"/>
                  </a:cubicBezTo>
                  <a:cubicBezTo>
                    <a:pt x="62782" y="11556"/>
                    <a:pt x="59847" y="10494"/>
                    <a:pt x="56661" y="10182"/>
                  </a:cubicBezTo>
                  <a:cubicBezTo>
                    <a:pt x="53913" y="9495"/>
                    <a:pt x="51102" y="8932"/>
                    <a:pt x="48416" y="8120"/>
                  </a:cubicBezTo>
                  <a:cubicBezTo>
                    <a:pt x="47542" y="7871"/>
                    <a:pt x="46792" y="7496"/>
                    <a:pt x="46043" y="7059"/>
                  </a:cubicBezTo>
                  <a:cubicBezTo>
                    <a:pt x="42170" y="4560"/>
                    <a:pt x="40109" y="3998"/>
                    <a:pt x="35237" y="4935"/>
                  </a:cubicBezTo>
                  <a:cubicBezTo>
                    <a:pt x="25493" y="6809"/>
                    <a:pt x="15749" y="8745"/>
                    <a:pt x="6568" y="12555"/>
                  </a:cubicBezTo>
                  <a:cubicBezTo>
                    <a:pt x="4631" y="13367"/>
                    <a:pt x="1758" y="15366"/>
                    <a:pt x="384" y="13305"/>
                  </a:cubicBezTo>
                  <a:cubicBezTo>
                    <a:pt x="-1115" y="11056"/>
                    <a:pt x="2133" y="9620"/>
                    <a:pt x="3944" y="8245"/>
                  </a:cubicBezTo>
                  <a:cubicBezTo>
                    <a:pt x="16312" y="5122"/>
                    <a:pt x="28304" y="937"/>
                    <a:pt x="41358" y="126"/>
                  </a:cubicBezTo>
                  <a:cubicBezTo>
                    <a:pt x="47355" y="-374"/>
                    <a:pt x="53163" y="750"/>
                    <a:pt x="59097" y="1187"/>
                  </a:cubicBezTo>
                  <a:close/>
                </a:path>
              </a:pathLst>
            </a:custGeom>
            <a:grpFill/>
            <a:ln w="6246" cap="flat">
              <a:noFill/>
              <a:prstDash val="solid"/>
              <a:miter/>
            </a:ln>
          </p:spPr>
          <p:txBody>
            <a:bodyPr rtlCol="0" anchor="ctr"/>
            <a:lstStyle/>
            <a:p>
              <a:endParaRPr lang="fr-FR" sz="2400"/>
            </a:p>
          </p:txBody>
        </p:sp>
        <p:sp>
          <p:nvSpPr>
            <p:cNvPr id="320" name="Freeform: Shape 319">
              <a:extLst>
                <a:ext uri="{FF2B5EF4-FFF2-40B4-BE49-F238E27FC236}">
                  <a16:creationId xmlns:a16="http://schemas.microsoft.com/office/drawing/2014/main" id="{5DEA617C-1EDF-4E18-8BB2-686AB58628A4}"/>
                </a:ext>
              </a:extLst>
            </p:cNvPr>
            <p:cNvSpPr/>
            <p:nvPr/>
          </p:nvSpPr>
          <p:spPr>
            <a:xfrm>
              <a:off x="1363043" y="537973"/>
              <a:ext cx="18738" cy="68707"/>
            </a:xfrm>
            <a:custGeom>
              <a:avLst/>
              <a:gdLst>
                <a:gd name="connsiteX0" fmla="*/ 3689 w 18738"/>
                <a:gd name="connsiteY0" fmla="*/ 64085 h 68706"/>
                <a:gd name="connsiteX1" fmla="*/ 7499 w 18738"/>
                <a:gd name="connsiteY1" fmla="*/ 59025 h 68706"/>
                <a:gd name="connsiteX2" fmla="*/ 19741 w 18738"/>
                <a:gd name="connsiteY2" fmla="*/ 25421 h 68706"/>
                <a:gd name="connsiteX3" fmla="*/ 20178 w 18738"/>
                <a:gd name="connsiteY3" fmla="*/ 7995 h 68706"/>
                <a:gd name="connsiteX4" fmla="*/ 20428 w 18738"/>
                <a:gd name="connsiteY4" fmla="*/ 0 h 68706"/>
                <a:gd name="connsiteX5" fmla="*/ 22427 w 18738"/>
                <a:gd name="connsiteY5" fmla="*/ 7683 h 68706"/>
                <a:gd name="connsiteX6" fmla="*/ 21927 w 18738"/>
                <a:gd name="connsiteY6" fmla="*/ 16739 h 68706"/>
                <a:gd name="connsiteX7" fmla="*/ 21927 w 18738"/>
                <a:gd name="connsiteY7" fmla="*/ 25421 h 68706"/>
                <a:gd name="connsiteX8" fmla="*/ 23239 w 18738"/>
                <a:gd name="connsiteY8" fmla="*/ 33042 h 68706"/>
                <a:gd name="connsiteX9" fmla="*/ 22864 w 18738"/>
                <a:gd name="connsiteY9" fmla="*/ 34853 h 68706"/>
                <a:gd name="connsiteX10" fmla="*/ 10747 w 18738"/>
                <a:gd name="connsiteY10" fmla="*/ 58526 h 68706"/>
                <a:gd name="connsiteX11" fmla="*/ 9060 w 18738"/>
                <a:gd name="connsiteY11" fmla="*/ 63148 h 68706"/>
                <a:gd name="connsiteX12" fmla="*/ 253 w 18738"/>
                <a:gd name="connsiteY12" fmla="*/ 70830 h 68706"/>
                <a:gd name="connsiteX13" fmla="*/ 3689 w 18738"/>
                <a:gd name="connsiteY13" fmla="*/ 64085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68706">
                  <a:moveTo>
                    <a:pt x="3689" y="64085"/>
                  </a:moveTo>
                  <a:cubicBezTo>
                    <a:pt x="3751" y="61649"/>
                    <a:pt x="6249" y="60712"/>
                    <a:pt x="7499" y="59025"/>
                  </a:cubicBezTo>
                  <a:cubicBezTo>
                    <a:pt x="14869" y="48782"/>
                    <a:pt x="19678" y="37789"/>
                    <a:pt x="19741" y="25421"/>
                  </a:cubicBezTo>
                  <a:cubicBezTo>
                    <a:pt x="21865" y="19675"/>
                    <a:pt x="20990" y="13804"/>
                    <a:pt x="20178" y="7995"/>
                  </a:cubicBezTo>
                  <a:cubicBezTo>
                    <a:pt x="19803" y="5309"/>
                    <a:pt x="19803" y="2686"/>
                    <a:pt x="20428" y="0"/>
                  </a:cubicBezTo>
                  <a:cubicBezTo>
                    <a:pt x="22239" y="2374"/>
                    <a:pt x="22989" y="5122"/>
                    <a:pt x="22427" y="7683"/>
                  </a:cubicBezTo>
                  <a:cubicBezTo>
                    <a:pt x="21740" y="10743"/>
                    <a:pt x="22052" y="13741"/>
                    <a:pt x="21927" y="16739"/>
                  </a:cubicBezTo>
                  <a:cubicBezTo>
                    <a:pt x="21802" y="19613"/>
                    <a:pt x="21927" y="22486"/>
                    <a:pt x="21927" y="25421"/>
                  </a:cubicBezTo>
                  <a:cubicBezTo>
                    <a:pt x="22739" y="27857"/>
                    <a:pt x="19054" y="30980"/>
                    <a:pt x="23239" y="33042"/>
                  </a:cubicBezTo>
                  <a:cubicBezTo>
                    <a:pt x="23426" y="33104"/>
                    <a:pt x="23239" y="34353"/>
                    <a:pt x="22864" y="34853"/>
                  </a:cubicBezTo>
                  <a:cubicBezTo>
                    <a:pt x="17555" y="42223"/>
                    <a:pt x="17867" y="51905"/>
                    <a:pt x="10747" y="58526"/>
                  </a:cubicBezTo>
                  <a:cubicBezTo>
                    <a:pt x="9622" y="59587"/>
                    <a:pt x="7686" y="61024"/>
                    <a:pt x="9060" y="63148"/>
                  </a:cubicBezTo>
                  <a:cubicBezTo>
                    <a:pt x="7998" y="67458"/>
                    <a:pt x="4625" y="69644"/>
                    <a:pt x="253" y="70830"/>
                  </a:cubicBezTo>
                  <a:cubicBezTo>
                    <a:pt x="-1058" y="67520"/>
                    <a:pt x="3126" y="66583"/>
                    <a:pt x="3689" y="64085"/>
                  </a:cubicBezTo>
                  <a:close/>
                </a:path>
              </a:pathLst>
            </a:custGeom>
            <a:grpFill/>
            <a:ln w="6246" cap="flat">
              <a:noFill/>
              <a:prstDash val="solid"/>
              <a:miter/>
            </a:ln>
          </p:spPr>
          <p:txBody>
            <a:bodyPr rtlCol="0" anchor="ctr"/>
            <a:lstStyle/>
            <a:p>
              <a:endParaRPr lang="fr-FR" sz="2400"/>
            </a:p>
          </p:txBody>
        </p:sp>
        <p:sp>
          <p:nvSpPr>
            <p:cNvPr id="321" name="Freeform: Shape 320">
              <a:extLst>
                <a:ext uri="{FF2B5EF4-FFF2-40B4-BE49-F238E27FC236}">
                  <a16:creationId xmlns:a16="http://schemas.microsoft.com/office/drawing/2014/main" id="{3C24D6E1-2BE3-4CEA-B0F5-4001ED1FD34D}"/>
                </a:ext>
              </a:extLst>
            </p:cNvPr>
            <p:cNvSpPr/>
            <p:nvPr/>
          </p:nvSpPr>
          <p:spPr>
            <a:xfrm>
              <a:off x="1232566" y="426043"/>
              <a:ext cx="37476" cy="12492"/>
            </a:xfrm>
            <a:custGeom>
              <a:avLst/>
              <a:gdLst>
                <a:gd name="connsiteX0" fmla="*/ 8994 w 37476"/>
                <a:gd name="connsiteY0" fmla="*/ 9744 h 12492"/>
                <a:gd name="connsiteX1" fmla="*/ 31980 w 37476"/>
                <a:gd name="connsiteY1" fmla="*/ 625 h 12492"/>
                <a:gd name="connsiteX2" fmla="*/ 42348 w 37476"/>
                <a:gd name="connsiteY2" fmla="*/ 0 h 12492"/>
                <a:gd name="connsiteX3" fmla="*/ 37851 w 37476"/>
                <a:gd name="connsiteY3" fmla="*/ 2998 h 12492"/>
                <a:gd name="connsiteX4" fmla="*/ 25422 w 37476"/>
                <a:gd name="connsiteY4" fmla="*/ 7870 h 12492"/>
                <a:gd name="connsiteX5" fmla="*/ 4372 w 37476"/>
                <a:gd name="connsiteY5" fmla="*/ 16739 h 12492"/>
                <a:gd name="connsiteX6" fmla="*/ 0 w 37476"/>
                <a:gd name="connsiteY6" fmla="*/ 15115 h 12492"/>
                <a:gd name="connsiteX7" fmla="*/ 8994 w 37476"/>
                <a:gd name="connsiteY7" fmla="*/ 97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6" h="12492">
                  <a:moveTo>
                    <a:pt x="8994" y="9744"/>
                  </a:moveTo>
                  <a:cubicBezTo>
                    <a:pt x="16365" y="6184"/>
                    <a:pt x="23360" y="1874"/>
                    <a:pt x="31980" y="625"/>
                  </a:cubicBezTo>
                  <a:cubicBezTo>
                    <a:pt x="35478" y="125"/>
                    <a:pt x="38851" y="1374"/>
                    <a:pt x="42348" y="0"/>
                  </a:cubicBezTo>
                  <a:cubicBezTo>
                    <a:pt x="41849" y="2936"/>
                    <a:pt x="38663" y="1312"/>
                    <a:pt x="37851" y="2998"/>
                  </a:cubicBezTo>
                  <a:cubicBezTo>
                    <a:pt x="34104" y="5434"/>
                    <a:pt x="29419" y="5934"/>
                    <a:pt x="25422" y="7870"/>
                  </a:cubicBezTo>
                  <a:cubicBezTo>
                    <a:pt x="18051" y="10119"/>
                    <a:pt x="12117" y="15115"/>
                    <a:pt x="4372" y="16739"/>
                  </a:cubicBezTo>
                  <a:cubicBezTo>
                    <a:pt x="2623" y="16802"/>
                    <a:pt x="937" y="16739"/>
                    <a:pt x="0" y="15115"/>
                  </a:cubicBezTo>
                  <a:cubicBezTo>
                    <a:pt x="1249" y="10806"/>
                    <a:pt x="5059" y="10181"/>
                    <a:pt x="8994" y="9744"/>
                  </a:cubicBezTo>
                  <a:close/>
                </a:path>
              </a:pathLst>
            </a:custGeom>
            <a:grpFill/>
            <a:ln w="6246" cap="flat">
              <a:noFill/>
              <a:prstDash val="solid"/>
              <a:miter/>
            </a:ln>
          </p:spPr>
          <p:txBody>
            <a:bodyPr rtlCol="0" anchor="ctr"/>
            <a:lstStyle/>
            <a:p>
              <a:endParaRPr lang="fr-FR" sz="2400"/>
            </a:p>
          </p:txBody>
        </p:sp>
        <p:sp>
          <p:nvSpPr>
            <p:cNvPr id="322" name="Freeform: Shape 321">
              <a:extLst>
                <a:ext uri="{FF2B5EF4-FFF2-40B4-BE49-F238E27FC236}">
                  <a16:creationId xmlns:a16="http://schemas.microsoft.com/office/drawing/2014/main" id="{D8CC1926-D116-4D5C-815B-5BCAA6933462}"/>
                </a:ext>
              </a:extLst>
            </p:cNvPr>
            <p:cNvSpPr/>
            <p:nvPr/>
          </p:nvSpPr>
          <p:spPr>
            <a:xfrm>
              <a:off x="1274630" y="428006"/>
              <a:ext cx="56215" cy="6246"/>
            </a:xfrm>
            <a:custGeom>
              <a:avLst/>
              <a:gdLst>
                <a:gd name="connsiteX0" fmla="*/ 41821 w 56214"/>
                <a:gd name="connsiteY0" fmla="*/ 4845 h 6246"/>
                <a:gd name="connsiteX1" fmla="*/ 29766 w 56214"/>
                <a:gd name="connsiteY1" fmla="*/ 1910 h 6246"/>
                <a:gd name="connsiteX2" fmla="*/ 10091 w 56214"/>
                <a:gd name="connsiteY2" fmla="*/ 3783 h 6246"/>
                <a:gd name="connsiteX3" fmla="*/ 1159 w 56214"/>
                <a:gd name="connsiteY3" fmla="*/ 2971 h 6246"/>
                <a:gd name="connsiteX4" fmla="*/ 98 w 56214"/>
                <a:gd name="connsiteY4" fmla="*/ 2034 h 6246"/>
                <a:gd name="connsiteX5" fmla="*/ 2221 w 56214"/>
                <a:gd name="connsiteY5" fmla="*/ 1098 h 6246"/>
                <a:gd name="connsiteX6" fmla="*/ 13964 w 56214"/>
                <a:gd name="connsiteY6" fmla="*/ 161 h 6246"/>
                <a:gd name="connsiteX7" fmla="*/ 55625 w 56214"/>
                <a:gd name="connsiteY7" fmla="*/ 6906 h 6246"/>
                <a:gd name="connsiteX8" fmla="*/ 61059 w 56214"/>
                <a:gd name="connsiteY8" fmla="*/ 9780 h 6246"/>
                <a:gd name="connsiteX9" fmla="*/ 61059 w 56214"/>
                <a:gd name="connsiteY9" fmla="*/ 9780 h 6246"/>
                <a:gd name="connsiteX10" fmla="*/ 41821 w 56214"/>
                <a:gd name="connsiteY10" fmla="*/ 48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14" h="6246">
                  <a:moveTo>
                    <a:pt x="41821" y="4845"/>
                  </a:moveTo>
                  <a:cubicBezTo>
                    <a:pt x="38261" y="2284"/>
                    <a:pt x="34076" y="2284"/>
                    <a:pt x="29766" y="1910"/>
                  </a:cubicBezTo>
                  <a:cubicBezTo>
                    <a:pt x="23021" y="1285"/>
                    <a:pt x="16587" y="2784"/>
                    <a:pt x="10091" y="3783"/>
                  </a:cubicBezTo>
                  <a:cubicBezTo>
                    <a:pt x="6906" y="4221"/>
                    <a:pt x="4220" y="2534"/>
                    <a:pt x="1159" y="2971"/>
                  </a:cubicBezTo>
                  <a:cubicBezTo>
                    <a:pt x="35" y="3346"/>
                    <a:pt x="-152" y="2846"/>
                    <a:pt x="98" y="2034"/>
                  </a:cubicBezTo>
                  <a:cubicBezTo>
                    <a:pt x="785" y="1722"/>
                    <a:pt x="1534" y="1410"/>
                    <a:pt x="2221" y="1098"/>
                  </a:cubicBezTo>
                  <a:cubicBezTo>
                    <a:pt x="5969" y="-1089"/>
                    <a:pt x="10216" y="1910"/>
                    <a:pt x="13964" y="161"/>
                  </a:cubicBezTo>
                  <a:cubicBezTo>
                    <a:pt x="28455" y="-589"/>
                    <a:pt x="42446" y="1222"/>
                    <a:pt x="55625" y="6906"/>
                  </a:cubicBezTo>
                  <a:cubicBezTo>
                    <a:pt x="57499" y="7718"/>
                    <a:pt x="59623" y="8280"/>
                    <a:pt x="61059" y="9780"/>
                  </a:cubicBezTo>
                  <a:lnTo>
                    <a:pt x="61059" y="9780"/>
                  </a:lnTo>
                  <a:cubicBezTo>
                    <a:pt x="54313" y="9155"/>
                    <a:pt x="48067" y="7156"/>
                    <a:pt x="41821" y="4845"/>
                  </a:cubicBezTo>
                  <a:close/>
                </a:path>
              </a:pathLst>
            </a:custGeom>
            <a:grpFill/>
            <a:ln w="6246" cap="flat">
              <a:noFill/>
              <a:prstDash val="solid"/>
              <a:miter/>
            </a:ln>
          </p:spPr>
          <p:txBody>
            <a:bodyPr rtlCol="0" anchor="ctr"/>
            <a:lstStyle/>
            <a:p>
              <a:endParaRPr lang="fr-FR" sz="2400"/>
            </a:p>
          </p:txBody>
        </p:sp>
        <p:sp>
          <p:nvSpPr>
            <p:cNvPr id="323" name="Freeform: Shape 322">
              <a:extLst>
                <a:ext uri="{FF2B5EF4-FFF2-40B4-BE49-F238E27FC236}">
                  <a16:creationId xmlns:a16="http://schemas.microsoft.com/office/drawing/2014/main" id="{7C8EB479-A68D-450C-B4BE-401246C8C85A}"/>
                </a:ext>
              </a:extLst>
            </p:cNvPr>
            <p:cNvSpPr/>
            <p:nvPr/>
          </p:nvSpPr>
          <p:spPr>
            <a:xfrm>
              <a:off x="1325874" y="439660"/>
              <a:ext cx="37476" cy="18738"/>
            </a:xfrm>
            <a:custGeom>
              <a:avLst/>
              <a:gdLst>
                <a:gd name="connsiteX0" fmla="*/ 39796 w 37476"/>
                <a:gd name="connsiteY0" fmla="*/ 22236 h 18738"/>
                <a:gd name="connsiteX1" fmla="*/ 38734 w 37476"/>
                <a:gd name="connsiteY1" fmla="*/ 22236 h 18738"/>
                <a:gd name="connsiteX2" fmla="*/ 24181 w 37476"/>
                <a:gd name="connsiteY2" fmla="*/ 14616 h 18738"/>
                <a:gd name="connsiteX3" fmla="*/ 3944 w 37476"/>
                <a:gd name="connsiteY3" fmla="*/ 3685 h 18738"/>
                <a:gd name="connsiteX4" fmla="*/ 1695 w 37476"/>
                <a:gd name="connsiteY4" fmla="*/ 3560 h 18738"/>
                <a:gd name="connsiteX5" fmla="*/ 446 w 37476"/>
                <a:gd name="connsiteY5" fmla="*/ 2748 h 18738"/>
                <a:gd name="connsiteX6" fmla="*/ 2320 w 37476"/>
                <a:gd name="connsiteY6" fmla="*/ 0 h 18738"/>
                <a:gd name="connsiteX7" fmla="*/ 18372 w 37476"/>
                <a:gd name="connsiteY7" fmla="*/ 5122 h 18738"/>
                <a:gd name="connsiteX8" fmla="*/ 39796 w 37476"/>
                <a:gd name="connsiteY8" fmla="*/ 2223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18738">
                  <a:moveTo>
                    <a:pt x="39796" y="22236"/>
                  </a:moveTo>
                  <a:cubicBezTo>
                    <a:pt x="39421" y="22236"/>
                    <a:pt x="39109" y="22236"/>
                    <a:pt x="38734" y="22236"/>
                  </a:cubicBezTo>
                  <a:cubicBezTo>
                    <a:pt x="34237" y="19238"/>
                    <a:pt x="28491" y="18301"/>
                    <a:pt x="24181" y="14616"/>
                  </a:cubicBezTo>
                  <a:cubicBezTo>
                    <a:pt x="18435" y="9681"/>
                    <a:pt x="12188" y="4997"/>
                    <a:pt x="3944" y="3685"/>
                  </a:cubicBezTo>
                  <a:cubicBezTo>
                    <a:pt x="3194" y="3810"/>
                    <a:pt x="2445" y="3748"/>
                    <a:pt x="1695" y="3560"/>
                  </a:cubicBezTo>
                  <a:cubicBezTo>
                    <a:pt x="1195" y="3373"/>
                    <a:pt x="821" y="3123"/>
                    <a:pt x="446" y="2748"/>
                  </a:cubicBezTo>
                  <a:cubicBezTo>
                    <a:pt x="-866" y="750"/>
                    <a:pt x="1008" y="500"/>
                    <a:pt x="2320" y="0"/>
                  </a:cubicBezTo>
                  <a:cubicBezTo>
                    <a:pt x="8004" y="812"/>
                    <a:pt x="13438" y="2748"/>
                    <a:pt x="18372" y="5122"/>
                  </a:cubicBezTo>
                  <a:cubicBezTo>
                    <a:pt x="26804" y="9307"/>
                    <a:pt x="34987" y="14116"/>
                    <a:pt x="39796" y="22236"/>
                  </a:cubicBezTo>
                  <a:close/>
                </a:path>
              </a:pathLst>
            </a:custGeom>
            <a:grpFill/>
            <a:ln w="6246" cap="flat">
              <a:noFill/>
              <a:prstDash val="solid"/>
              <a:miter/>
            </a:ln>
          </p:spPr>
          <p:txBody>
            <a:bodyPr rtlCol="0" anchor="ctr"/>
            <a:lstStyle/>
            <a:p>
              <a:endParaRPr lang="fr-FR" sz="2400"/>
            </a:p>
          </p:txBody>
        </p:sp>
        <p:sp>
          <p:nvSpPr>
            <p:cNvPr id="324" name="Freeform: Shape 323">
              <a:extLst>
                <a:ext uri="{FF2B5EF4-FFF2-40B4-BE49-F238E27FC236}">
                  <a16:creationId xmlns:a16="http://schemas.microsoft.com/office/drawing/2014/main" id="{D9AC7D69-84E7-4350-923A-EBCB1B7FBF53}"/>
                </a:ext>
              </a:extLst>
            </p:cNvPr>
            <p:cNvSpPr/>
            <p:nvPr/>
          </p:nvSpPr>
          <p:spPr>
            <a:xfrm>
              <a:off x="1251092" y="432765"/>
              <a:ext cx="62461" cy="6246"/>
            </a:xfrm>
            <a:custGeom>
              <a:avLst/>
              <a:gdLst>
                <a:gd name="connsiteX0" fmla="*/ 62174 w 62460"/>
                <a:gd name="connsiteY0" fmla="*/ 2023 h 6246"/>
                <a:gd name="connsiteX1" fmla="*/ 12205 w 62460"/>
                <a:gd name="connsiteY1" fmla="*/ 8831 h 6246"/>
                <a:gd name="connsiteX2" fmla="*/ 6521 w 62460"/>
                <a:gd name="connsiteY2" fmla="*/ 9768 h 6246"/>
                <a:gd name="connsiteX3" fmla="*/ 1149 w 62460"/>
                <a:gd name="connsiteY3" fmla="*/ 12329 h 6246"/>
                <a:gd name="connsiteX4" fmla="*/ 88 w 62460"/>
                <a:gd name="connsiteY4" fmla="*/ 10705 h 6246"/>
                <a:gd name="connsiteX5" fmla="*/ 55740 w 62460"/>
                <a:gd name="connsiteY5" fmla="*/ 86 h 6246"/>
                <a:gd name="connsiteX6" fmla="*/ 63110 w 62460"/>
                <a:gd name="connsiteY6" fmla="*/ 1086 h 6246"/>
                <a:gd name="connsiteX7" fmla="*/ 64047 w 62460"/>
                <a:gd name="connsiteY7" fmla="*/ 1273 h 6246"/>
                <a:gd name="connsiteX8" fmla="*/ 62174 w 62460"/>
                <a:gd name="connsiteY8" fmla="*/ 202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6246">
                  <a:moveTo>
                    <a:pt x="62174" y="2023"/>
                  </a:moveTo>
                  <a:cubicBezTo>
                    <a:pt x="44809" y="-39"/>
                    <a:pt x="28320" y="3397"/>
                    <a:pt x="12205" y="8831"/>
                  </a:cubicBezTo>
                  <a:cubicBezTo>
                    <a:pt x="10394" y="9455"/>
                    <a:pt x="8520" y="9893"/>
                    <a:pt x="6521" y="9768"/>
                  </a:cubicBezTo>
                  <a:cubicBezTo>
                    <a:pt x="5209" y="11454"/>
                    <a:pt x="3585" y="12516"/>
                    <a:pt x="1149" y="12329"/>
                  </a:cubicBezTo>
                  <a:cubicBezTo>
                    <a:pt x="337" y="12016"/>
                    <a:pt x="-225" y="11641"/>
                    <a:pt x="88" y="10705"/>
                  </a:cubicBezTo>
                  <a:cubicBezTo>
                    <a:pt x="17764" y="3522"/>
                    <a:pt x="36190" y="-663"/>
                    <a:pt x="55740" y="86"/>
                  </a:cubicBezTo>
                  <a:cubicBezTo>
                    <a:pt x="57989" y="1898"/>
                    <a:pt x="60674" y="711"/>
                    <a:pt x="63110" y="1086"/>
                  </a:cubicBezTo>
                  <a:cubicBezTo>
                    <a:pt x="63423" y="1148"/>
                    <a:pt x="64047" y="1211"/>
                    <a:pt x="64047" y="1273"/>
                  </a:cubicBezTo>
                  <a:cubicBezTo>
                    <a:pt x="63922" y="2460"/>
                    <a:pt x="62861" y="1835"/>
                    <a:pt x="62174" y="2023"/>
                  </a:cubicBezTo>
                  <a:close/>
                </a:path>
              </a:pathLst>
            </a:custGeom>
            <a:grpFill/>
            <a:ln w="6246" cap="flat">
              <a:noFill/>
              <a:prstDash val="solid"/>
              <a:miter/>
            </a:ln>
          </p:spPr>
          <p:txBody>
            <a:bodyPr rtlCol="0" anchor="ctr"/>
            <a:lstStyle/>
            <a:p>
              <a:endParaRPr lang="fr-FR" sz="2400"/>
            </a:p>
          </p:txBody>
        </p:sp>
        <p:sp>
          <p:nvSpPr>
            <p:cNvPr id="325" name="Freeform: Shape 324">
              <a:extLst>
                <a:ext uri="{FF2B5EF4-FFF2-40B4-BE49-F238E27FC236}">
                  <a16:creationId xmlns:a16="http://schemas.microsoft.com/office/drawing/2014/main" id="{A3C033BB-6AE4-4241-ACE2-D372C9EE0990}"/>
                </a:ext>
              </a:extLst>
            </p:cNvPr>
            <p:cNvSpPr/>
            <p:nvPr/>
          </p:nvSpPr>
          <p:spPr>
            <a:xfrm>
              <a:off x="1400625" y="528229"/>
              <a:ext cx="6246" cy="31230"/>
            </a:xfrm>
            <a:custGeom>
              <a:avLst/>
              <a:gdLst>
                <a:gd name="connsiteX0" fmla="*/ 2521 w 0"/>
                <a:gd name="connsiteY0" fmla="*/ 32230 h 31230"/>
                <a:gd name="connsiteX1" fmla="*/ 148 w 0"/>
                <a:gd name="connsiteY1" fmla="*/ 27608 h 31230"/>
                <a:gd name="connsiteX2" fmla="*/ 398 w 0"/>
                <a:gd name="connsiteY2" fmla="*/ 3248 h 31230"/>
                <a:gd name="connsiteX3" fmla="*/ 1835 w 0"/>
                <a:gd name="connsiteY3" fmla="*/ 0 h 31230"/>
                <a:gd name="connsiteX4" fmla="*/ 2584 w 0"/>
                <a:gd name="connsiteY4" fmla="*/ 8557 h 31230"/>
                <a:gd name="connsiteX5" fmla="*/ 4708 w 0"/>
                <a:gd name="connsiteY5" fmla="*/ 10993 h 31230"/>
                <a:gd name="connsiteX6" fmla="*/ 2521 w 0"/>
                <a:gd name="connsiteY6" fmla="*/ 32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31230">
                  <a:moveTo>
                    <a:pt x="2521" y="32230"/>
                  </a:moveTo>
                  <a:cubicBezTo>
                    <a:pt x="-227" y="31480"/>
                    <a:pt x="-164" y="30106"/>
                    <a:pt x="148" y="27608"/>
                  </a:cubicBezTo>
                  <a:cubicBezTo>
                    <a:pt x="960" y="19488"/>
                    <a:pt x="1772" y="11368"/>
                    <a:pt x="398" y="3248"/>
                  </a:cubicBezTo>
                  <a:cubicBezTo>
                    <a:pt x="460" y="2186"/>
                    <a:pt x="273" y="999"/>
                    <a:pt x="1835" y="0"/>
                  </a:cubicBezTo>
                  <a:cubicBezTo>
                    <a:pt x="3209" y="2936"/>
                    <a:pt x="2209" y="5809"/>
                    <a:pt x="2584" y="8557"/>
                  </a:cubicBezTo>
                  <a:cubicBezTo>
                    <a:pt x="2709" y="9681"/>
                    <a:pt x="1709" y="11868"/>
                    <a:pt x="4708" y="10993"/>
                  </a:cubicBezTo>
                  <a:cubicBezTo>
                    <a:pt x="6144" y="18239"/>
                    <a:pt x="6581" y="25421"/>
                    <a:pt x="2521" y="32230"/>
                  </a:cubicBezTo>
                  <a:close/>
                </a:path>
              </a:pathLst>
            </a:custGeom>
            <a:grpFill/>
            <a:ln w="6246" cap="flat">
              <a:noFill/>
              <a:prstDash val="solid"/>
              <a:miter/>
            </a:ln>
          </p:spPr>
          <p:txBody>
            <a:bodyPr rtlCol="0" anchor="ctr"/>
            <a:lstStyle/>
            <a:p>
              <a:endParaRPr lang="fr-FR" sz="2400"/>
            </a:p>
          </p:txBody>
        </p:sp>
        <p:sp>
          <p:nvSpPr>
            <p:cNvPr id="326" name="Freeform: Shape 325">
              <a:extLst>
                <a:ext uri="{FF2B5EF4-FFF2-40B4-BE49-F238E27FC236}">
                  <a16:creationId xmlns:a16="http://schemas.microsoft.com/office/drawing/2014/main" id="{ED3BCDBE-3F65-4D9D-B463-C9BED31A3579}"/>
                </a:ext>
              </a:extLst>
            </p:cNvPr>
            <p:cNvSpPr/>
            <p:nvPr/>
          </p:nvSpPr>
          <p:spPr>
            <a:xfrm>
              <a:off x="1373288" y="483132"/>
              <a:ext cx="6246" cy="18738"/>
            </a:xfrm>
            <a:custGeom>
              <a:avLst/>
              <a:gdLst>
                <a:gd name="connsiteX0" fmla="*/ 3062 w 6246"/>
                <a:gd name="connsiteY0" fmla="*/ 14491 h 18738"/>
                <a:gd name="connsiteX1" fmla="*/ 439 w 6246"/>
                <a:gd name="connsiteY1" fmla="*/ 8869 h 18738"/>
                <a:gd name="connsiteX2" fmla="*/ 2000 w 6246"/>
                <a:gd name="connsiteY2" fmla="*/ 5809 h 18738"/>
                <a:gd name="connsiteX3" fmla="*/ 1563 w 6246"/>
                <a:gd name="connsiteY3" fmla="*/ 1249 h 18738"/>
                <a:gd name="connsiteX4" fmla="*/ 3062 w 6246"/>
                <a:gd name="connsiteY4" fmla="*/ 0 h 18738"/>
                <a:gd name="connsiteX5" fmla="*/ 8996 w 6246"/>
                <a:gd name="connsiteY5" fmla="*/ 8307 h 18738"/>
                <a:gd name="connsiteX6" fmla="*/ 7497 w 6246"/>
                <a:gd name="connsiteY6" fmla="*/ 11430 h 18738"/>
                <a:gd name="connsiteX7" fmla="*/ 6872 w 6246"/>
                <a:gd name="connsiteY7" fmla="*/ 13741 h 18738"/>
                <a:gd name="connsiteX8" fmla="*/ 9433 w 6246"/>
                <a:gd name="connsiteY8" fmla="*/ 19363 h 18738"/>
                <a:gd name="connsiteX9" fmla="*/ 6248 w 6246"/>
                <a:gd name="connsiteY9" fmla="*/ 19363 h 18738"/>
                <a:gd name="connsiteX10" fmla="*/ 3062 w 6246"/>
                <a:gd name="connsiteY10" fmla="*/ 1449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062" y="14491"/>
                  </a:moveTo>
                  <a:cubicBezTo>
                    <a:pt x="2188" y="12617"/>
                    <a:pt x="1501" y="10618"/>
                    <a:pt x="439" y="8869"/>
                  </a:cubicBezTo>
                  <a:cubicBezTo>
                    <a:pt x="-623" y="7058"/>
                    <a:pt x="376" y="6371"/>
                    <a:pt x="2000" y="5809"/>
                  </a:cubicBezTo>
                  <a:cubicBezTo>
                    <a:pt x="3999" y="4122"/>
                    <a:pt x="1126" y="2811"/>
                    <a:pt x="1563" y="1249"/>
                  </a:cubicBezTo>
                  <a:cubicBezTo>
                    <a:pt x="1813" y="562"/>
                    <a:pt x="2313" y="125"/>
                    <a:pt x="3062" y="0"/>
                  </a:cubicBezTo>
                  <a:cubicBezTo>
                    <a:pt x="5498" y="2498"/>
                    <a:pt x="7622" y="5184"/>
                    <a:pt x="8996" y="8307"/>
                  </a:cubicBezTo>
                  <a:cubicBezTo>
                    <a:pt x="9183" y="8807"/>
                    <a:pt x="13306" y="12430"/>
                    <a:pt x="7497" y="11430"/>
                  </a:cubicBezTo>
                  <a:cubicBezTo>
                    <a:pt x="6498" y="11243"/>
                    <a:pt x="6435" y="12804"/>
                    <a:pt x="6872" y="13741"/>
                  </a:cubicBezTo>
                  <a:cubicBezTo>
                    <a:pt x="7747" y="15615"/>
                    <a:pt x="8621" y="17489"/>
                    <a:pt x="9433" y="19363"/>
                  </a:cubicBezTo>
                  <a:cubicBezTo>
                    <a:pt x="8371" y="21174"/>
                    <a:pt x="7310" y="20737"/>
                    <a:pt x="6248" y="19363"/>
                  </a:cubicBezTo>
                  <a:cubicBezTo>
                    <a:pt x="4561" y="18114"/>
                    <a:pt x="3874" y="16240"/>
                    <a:pt x="3062" y="14491"/>
                  </a:cubicBezTo>
                  <a:close/>
                </a:path>
              </a:pathLst>
            </a:custGeom>
            <a:grpFill/>
            <a:ln w="6246" cap="flat">
              <a:noFill/>
              <a:prstDash val="solid"/>
              <a:miter/>
            </a:ln>
          </p:spPr>
          <p:txBody>
            <a:bodyPr rtlCol="0" anchor="ctr"/>
            <a:lstStyle/>
            <a:p>
              <a:endParaRPr lang="fr-FR" sz="2400"/>
            </a:p>
          </p:txBody>
        </p:sp>
        <p:sp>
          <p:nvSpPr>
            <p:cNvPr id="327" name="Freeform: Shape 326">
              <a:extLst>
                <a:ext uri="{FF2B5EF4-FFF2-40B4-BE49-F238E27FC236}">
                  <a16:creationId xmlns:a16="http://schemas.microsoft.com/office/drawing/2014/main" id="{C41FB769-CBBF-4E5A-8262-A1A22E2BE696}"/>
                </a:ext>
              </a:extLst>
            </p:cNvPr>
            <p:cNvSpPr/>
            <p:nvPr/>
          </p:nvSpPr>
          <p:spPr>
            <a:xfrm>
              <a:off x="1363633" y="509865"/>
              <a:ext cx="6246" cy="18738"/>
            </a:xfrm>
            <a:custGeom>
              <a:avLst/>
              <a:gdLst>
                <a:gd name="connsiteX0" fmla="*/ 976 w 6246"/>
                <a:gd name="connsiteY0" fmla="*/ 3248 h 18738"/>
                <a:gd name="connsiteX1" fmla="*/ 3037 w 6246"/>
                <a:gd name="connsiteY1" fmla="*/ 0 h 18738"/>
                <a:gd name="connsiteX2" fmla="*/ 8471 w 6246"/>
                <a:gd name="connsiteY2" fmla="*/ 2249 h 18738"/>
                <a:gd name="connsiteX3" fmla="*/ 8471 w 6246"/>
                <a:gd name="connsiteY3" fmla="*/ 8057 h 18738"/>
                <a:gd name="connsiteX4" fmla="*/ 4661 w 6246"/>
                <a:gd name="connsiteY4" fmla="*/ 13929 h 18738"/>
                <a:gd name="connsiteX5" fmla="*/ 2037 w 6246"/>
                <a:gd name="connsiteY5" fmla="*/ 19675 h 18738"/>
                <a:gd name="connsiteX6" fmla="*/ 976 w 6246"/>
                <a:gd name="connsiteY6" fmla="*/ 324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8738">
                  <a:moveTo>
                    <a:pt x="976" y="3248"/>
                  </a:moveTo>
                  <a:cubicBezTo>
                    <a:pt x="1163" y="1999"/>
                    <a:pt x="1350" y="750"/>
                    <a:pt x="3037" y="0"/>
                  </a:cubicBezTo>
                  <a:cubicBezTo>
                    <a:pt x="3911" y="2561"/>
                    <a:pt x="6160" y="2498"/>
                    <a:pt x="8471" y="2249"/>
                  </a:cubicBezTo>
                  <a:cubicBezTo>
                    <a:pt x="8471" y="4185"/>
                    <a:pt x="8471" y="6121"/>
                    <a:pt x="8471" y="8057"/>
                  </a:cubicBezTo>
                  <a:cubicBezTo>
                    <a:pt x="5598" y="9182"/>
                    <a:pt x="4036" y="10806"/>
                    <a:pt x="4661" y="13929"/>
                  </a:cubicBezTo>
                  <a:cubicBezTo>
                    <a:pt x="5098" y="16177"/>
                    <a:pt x="4473" y="18363"/>
                    <a:pt x="2037" y="19675"/>
                  </a:cubicBezTo>
                  <a:cubicBezTo>
                    <a:pt x="1663" y="14179"/>
                    <a:pt x="-1585" y="8869"/>
                    <a:pt x="976" y="3248"/>
                  </a:cubicBezTo>
                  <a:close/>
                </a:path>
              </a:pathLst>
            </a:custGeom>
            <a:grpFill/>
            <a:ln w="6246" cap="flat">
              <a:noFill/>
              <a:prstDash val="solid"/>
              <a:miter/>
            </a:ln>
          </p:spPr>
          <p:txBody>
            <a:bodyPr rtlCol="0" anchor="ctr"/>
            <a:lstStyle/>
            <a:p>
              <a:endParaRPr lang="fr-FR" sz="2400"/>
            </a:p>
          </p:txBody>
        </p:sp>
        <p:sp>
          <p:nvSpPr>
            <p:cNvPr id="328" name="Freeform: Shape 327">
              <a:extLst>
                <a:ext uri="{FF2B5EF4-FFF2-40B4-BE49-F238E27FC236}">
                  <a16:creationId xmlns:a16="http://schemas.microsoft.com/office/drawing/2014/main" id="{89774F60-4075-4EDB-90E8-4ECA47E8C782}"/>
                </a:ext>
              </a:extLst>
            </p:cNvPr>
            <p:cNvSpPr/>
            <p:nvPr/>
          </p:nvSpPr>
          <p:spPr>
            <a:xfrm>
              <a:off x="1212182" y="434342"/>
              <a:ext cx="24984" cy="18738"/>
            </a:xfrm>
            <a:custGeom>
              <a:avLst/>
              <a:gdLst>
                <a:gd name="connsiteX0" fmla="*/ 29378 w 24984"/>
                <a:gd name="connsiteY0" fmla="*/ 1445 h 18738"/>
                <a:gd name="connsiteX1" fmla="*/ 20821 w 24984"/>
                <a:gd name="connsiteY1" fmla="*/ 6255 h 18738"/>
                <a:gd name="connsiteX2" fmla="*/ 2583 w 24984"/>
                <a:gd name="connsiteY2" fmla="*/ 19621 h 18738"/>
                <a:gd name="connsiteX3" fmla="*/ 22 w 24984"/>
                <a:gd name="connsiteY3" fmla="*/ 18997 h 18738"/>
                <a:gd name="connsiteX4" fmla="*/ 2958 w 24984"/>
                <a:gd name="connsiteY4" fmla="*/ 14250 h 18738"/>
                <a:gd name="connsiteX5" fmla="*/ 20634 w 24984"/>
                <a:gd name="connsiteY5" fmla="*/ 2445 h 18738"/>
                <a:gd name="connsiteX6" fmla="*/ 28317 w 24984"/>
                <a:gd name="connsiteY6" fmla="*/ 446 h 18738"/>
                <a:gd name="connsiteX7" fmla="*/ 29378 w 24984"/>
                <a:gd name="connsiteY7" fmla="*/ 144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8738">
                  <a:moveTo>
                    <a:pt x="29378" y="1445"/>
                  </a:moveTo>
                  <a:cubicBezTo>
                    <a:pt x="26505" y="3069"/>
                    <a:pt x="23695" y="4693"/>
                    <a:pt x="20821" y="6255"/>
                  </a:cubicBezTo>
                  <a:cubicBezTo>
                    <a:pt x="15450" y="11501"/>
                    <a:pt x="8641" y="15187"/>
                    <a:pt x="2583" y="19621"/>
                  </a:cubicBezTo>
                  <a:cubicBezTo>
                    <a:pt x="1708" y="20246"/>
                    <a:pt x="584" y="20183"/>
                    <a:pt x="22" y="18997"/>
                  </a:cubicBezTo>
                  <a:cubicBezTo>
                    <a:pt x="-228" y="16811"/>
                    <a:pt x="1708" y="15686"/>
                    <a:pt x="2958" y="14250"/>
                  </a:cubicBezTo>
                  <a:cubicBezTo>
                    <a:pt x="8517" y="9940"/>
                    <a:pt x="14325" y="5942"/>
                    <a:pt x="20634" y="2445"/>
                  </a:cubicBezTo>
                  <a:cubicBezTo>
                    <a:pt x="23195" y="1882"/>
                    <a:pt x="25069" y="-1116"/>
                    <a:pt x="28317" y="446"/>
                  </a:cubicBezTo>
                  <a:cubicBezTo>
                    <a:pt x="28629" y="758"/>
                    <a:pt x="29004" y="1070"/>
                    <a:pt x="29378" y="1445"/>
                  </a:cubicBezTo>
                  <a:close/>
                </a:path>
              </a:pathLst>
            </a:custGeom>
            <a:grpFill/>
            <a:ln w="6246" cap="flat">
              <a:noFill/>
              <a:prstDash val="solid"/>
              <a:miter/>
            </a:ln>
          </p:spPr>
          <p:txBody>
            <a:bodyPr rtlCol="0" anchor="ctr"/>
            <a:lstStyle/>
            <a:p>
              <a:endParaRPr lang="fr-FR" sz="2400"/>
            </a:p>
          </p:txBody>
        </p:sp>
        <p:sp>
          <p:nvSpPr>
            <p:cNvPr id="329" name="Freeform: Shape 328">
              <a:extLst>
                <a:ext uri="{FF2B5EF4-FFF2-40B4-BE49-F238E27FC236}">
                  <a16:creationId xmlns:a16="http://schemas.microsoft.com/office/drawing/2014/main" id="{5E481568-0102-4D1D-8E65-F7760AE75617}"/>
                </a:ext>
              </a:extLst>
            </p:cNvPr>
            <p:cNvSpPr/>
            <p:nvPr/>
          </p:nvSpPr>
          <p:spPr>
            <a:xfrm>
              <a:off x="1370158" y="533413"/>
              <a:ext cx="6246" cy="18738"/>
            </a:xfrm>
            <a:custGeom>
              <a:avLst/>
              <a:gdLst>
                <a:gd name="connsiteX0" fmla="*/ 7255 w 6246"/>
                <a:gd name="connsiteY0" fmla="*/ 17427 h 18738"/>
                <a:gd name="connsiteX1" fmla="*/ 5818 w 6246"/>
                <a:gd name="connsiteY1" fmla="*/ 19925 h 18738"/>
                <a:gd name="connsiteX2" fmla="*/ 4069 w 6246"/>
                <a:gd name="connsiteY2" fmla="*/ 20300 h 18738"/>
                <a:gd name="connsiteX3" fmla="*/ 4007 w 6246"/>
                <a:gd name="connsiteY3" fmla="*/ 2061 h 18738"/>
                <a:gd name="connsiteX4" fmla="*/ 821 w 6246"/>
                <a:gd name="connsiteY4" fmla="*/ 3873 h 18738"/>
                <a:gd name="connsiteX5" fmla="*/ 9 w 6246"/>
                <a:gd name="connsiteY5" fmla="*/ 2124 h 18738"/>
                <a:gd name="connsiteX6" fmla="*/ 759 w 6246"/>
                <a:gd name="connsiteY6" fmla="*/ 999 h 18738"/>
                <a:gd name="connsiteX7" fmla="*/ 5069 w 6246"/>
                <a:gd name="connsiteY7" fmla="*/ 0 h 18738"/>
                <a:gd name="connsiteX8" fmla="*/ 7192 w 6246"/>
                <a:gd name="connsiteY8" fmla="*/ 4497 h 18738"/>
                <a:gd name="connsiteX9" fmla="*/ 7255 w 6246"/>
                <a:gd name="connsiteY9" fmla="*/ 1742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18738">
                  <a:moveTo>
                    <a:pt x="7255" y="17427"/>
                  </a:moveTo>
                  <a:cubicBezTo>
                    <a:pt x="6005" y="17926"/>
                    <a:pt x="5693" y="18613"/>
                    <a:pt x="5818" y="19925"/>
                  </a:cubicBezTo>
                  <a:cubicBezTo>
                    <a:pt x="5943" y="21424"/>
                    <a:pt x="4694" y="20300"/>
                    <a:pt x="4069" y="20300"/>
                  </a:cubicBezTo>
                  <a:cubicBezTo>
                    <a:pt x="4944" y="14303"/>
                    <a:pt x="5568" y="8307"/>
                    <a:pt x="4007" y="2061"/>
                  </a:cubicBezTo>
                  <a:cubicBezTo>
                    <a:pt x="2882" y="2686"/>
                    <a:pt x="1821" y="3310"/>
                    <a:pt x="821" y="3873"/>
                  </a:cubicBezTo>
                  <a:cubicBezTo>
                    <a:pt x="197" y="3435"/>
                    <a:pt x="-53" y="2811"/>
                    <a:pt x="9" y="2124"/>
                  </a:cubicBezTo>
                  <a:cubicBezTo>
                    <a:pt x="134" y="1686"/>
                    <a:pt x="384" y="1312"/>
                    <a:pt x="759" y="999"/>
                  </a:cubicBezTo>
                  <a:cubicBezTo>
                    <a:pt x="2195" y="687"/>
                    <a:pt x="3632" y="375"/>
                    <a:pt x="5069" y="0"/>
                  </a:cubicBezTo>
                  <a:cubicBezTo>
                    <a:pt x="7255" y="937"/>
                    <a:pt x="7255" y="2686"/>
                    <a:pt x="7192" y="4497"/>
                  </a:cubicBezTo>
                  <a:cubicBezTo>
                    <a:pt x="7255" y="8807"/>
                    <a:pt x="7255" y="13117"/>
                    <a:pt x="7255" y="17427"/>
                  </a:cubicBezTo>
                  <a:close/>
                </a:path>
              </a:pathLst>
            </a:custGeom>
            <a:grpFill/>
            <a:ln w="6246" cap="flat">
              <a:noFill/>
              <a:prstDash val="solid"/>
              <a:miter/>
            </a:ln>
          </p:spPr>
          <p:txBody>
            <a:bodyPr rtlCol="0" anchor="ctr"/>
            <a:lstStyle/>
            <a:p>
              <a:endParaRPr lang="fr-FR" sz="2400"/>
            </a:p>
          </p:txBody>
        </p:sp>
        <p:sp>
          <p:nvSpPr>
            <p:cNvPr id="330" name="Freeform: Shape 329">
              <a:extLst>
                <a:ext uri="{FF2B5EF4-FFF2-40B4-BE49-F238E27FC236}">
                  <a16:creationId xmlns:a16="http://schemas.microsoft.com/office/drawing/2014/main" id="{C6E8EFE5-E155-4F5C-B9DC-1391734460B7}"/>
                </a:ext>
              </a:extLst>
            </p:cNvPr>
            <p:cNvSpPr/>
            <p:nvPr/>
          </p:nvSpPr>
          <p:spPr>
            <a:xfrm>
              <a:off x="1369480" y="467642"/>
              <a:ext cx="12492" cy="12492"/>
            </a:xfrm>
            <a:custGeom>
              <a:avLst/>
              <a:gdLst>
                <a:gd name="connsiteX0" fmla="*/ 1561 w 12492"/>
                <a:gd name="connsiteY0" fmla="*/ 0 h 12492"/>
                <a:gd name="connsiteX1" fmla="*/ 13866 w 12492"/>
                <a:gd name="connsiteY1" fmla="*/ 16490 h 12492"/>
                <a:gd name="connsiteX2" fmla="*/ 499 w 12492"/>
                <a:gd name="connsiteY2" fmla="*/ 1936 h 12492"/>
                <a:gd name="connsiteX3" fmla="*/ 1561 w 12492"/>
                <a:gd name="connsiteY3" fmla="*/ 0 h 12492"/>
              </a:gdLst>
              <a:ahLst/>
              <a:cxnLst>
                <a:cxn ang="0">
                  <a:pos x="connsiteX0" y="connsiteY0"/>
                </a:cxn>
                <a:cxn ang="0">
                  <a:pos x="connsiteX1" y="connsiteY1"/>
                </a:cxn>
                <a:cxn ang="0">
                  <a:pos x="connsiteX2" y="connsiteY2"/>
                </a:cxn>
                <a:cxn ang="0">
                  <a:pos x="connsiteX3" y="connsiteY3"/>
                </a:cxn>
              </a:cxnLst>
              <a:rect l="l" t="t" r="r" b="b"/>
              <a:pathLst>
                <a:path w="12492" h="12492">
                  <a:moveTo>
                    <a:pt x="1561" y="0"/>
                  </a:moveTo>
                  <a:cubicBezTo>
                    <a:pt x="6433" y="4997"/>
                    <a:pt x="10930" y="10244"/>
                    <a:pt x="13866" y="16490"/>
                  </a:cubicBezTo>
                  <a:cubicBezTo>
                    <a:pt x="8681" y="12180"/>
                    <a:pt x="3372" y="7932"/>
                    <a:pt x="499" y="1936"/>
                  </a:cubicBezTo>
                  <a:cubicBezTo>
                    <a:pt x="-313" y="812"/>
                    <a:pt x="-250" y="0"/>
                    <a:pt x="1561" y="0"/>
                  </a:cubicBezTo>
                  <a:close/>
                </a:path>
              </a:pathLst>
            </a:custGeom>
            <a:grpFill/>
            <a:ln w="6246" cap="flat">
              <a:noFill/>
              <a:prstDash val="solid"/>
              <a:miter/>
            </a:ln>
          </p:spPr>
          <p:txBody>
            <a:bodyPr rtlCol="0" anchor="ctr"/>
            <a:lstStyle/>
            <a:p>
              <a:endParaRPr lang="fr-FR" sz="2400"/>
            </a:p>
          </p:txBody>
        </p:sp>
        <p:sp>
          <p:nvSpPr>
            <p:cNvPr id="331" name="Freeform: Shape 330">
              <a:extLst>
                <a:ext uri="{FF2B5EF4-FFF2-40B4-BE49-F238E27FC236}">
                  <a16:creationId xmlns:a16="http://schemas.microsoft.com/office/drawing/2014/main" id="{20DA0096-6B74-4254-819C-AFB02E159E61}"/>
                </a:ext>
              </a:extLst>
            </p:cNvPr>
            <p:cNvSpPr/>
            <p:nvPr/>
          </p:nvSpPr>
          <p:spPr>
            <a:xfrm>
              <a:off x="1232825" y="427043"/>
              <a:ext cx="18738" cy="6246"/>
            </a:xfrm>
            <a:custGeom>
              <a:avLst/>
              <a:gdLst>
                <a:gd name="connsiteX0" fmla="*/ 7674 w 18738"/>
                <a:gd name="connsiteY0" fmla="*/ 7745 h 6246"/>
                <a:gd name="connsiteX1" fmla="*/ 179 w 18738"/>
                <a:gd name="connsiteY1" fmla="*/ 10618 h 6246"/>
                <a:gd name="connsiteX2" fmla="*/ 928 w 18738"/>
                <a:gd name="connsiteY2" fmla="*/ 7121 h 6246"/>
                <a:gd name="connsiteX3" fmla="*/ 5550 w 18738"/>
                <a:gd name="connsiteY3" fmla="*/ 4809 h 6246"/>
                <a:gd name="connsiteX4" fmla="*/ 18417 w 18738"/>
                <a:gd name="connsiteY4" fmla="*/ 0 h 6246"/>
                <a:gd name="connsiteX5" fmla="*/ 18480 w 18738"/>
                <a:gd name="connsiteY5" fmla="*/ 1874 h 6246"/>
                <a:gd name="connsiteX6" fmla="*/ 7674 w 18738"/>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7674" y="7745"/>
                  </a:moveTo>
                  <a:cubicBezTo>
                    <a:pt x="4863" y="7995"/>
                    <a:pt x="3177" y="10681"/>
                    <a:pt x="179" y="10618"/>
                  </a:cubicBezTo>
                  <a:cubicBezTo>
                    <a:pt x="-571" y="9244"/>
                    <a:pt x="1303" y="8432"/>
                    <a:pt x="928" y="7121"/>
                  </a:cubicBezTo>
                  <a:cubicBezTo>
                    <a:pt x="1740" y="5184"/>
                    <a:pt x="3864" y="5372"/>
                    <a:pt x="5550" y="4809"/>
                  </a:cubicBezTo>
                  <a:cubicBezTo>
                    <a:pt x="9860" y="3185"/>
                    <a:pt x="14107" y="1562"/>
                    <a:pt x="18417" y="0"/>
                  </a:cubicBezTo>
                  <a:cubicBezTo>
                    <a:pt x="20853" y="562"/>
                    <a:pt x="19729" y="1312"/>
                    <a:pt x="18480" y="1874"/>
                  </a:cubicBezTo>
                  <a:cubicBezTo>
                    <a:pt x="14670" y="3623"/>
                    <a:pt x="10984" y="5434"/>
                    <a:pt x="7674" y="7745"/>
                  </a:cubicBezTo>
                  <a:close/>
                </a:path>
              </a:pathLst>
            </a:custGeom>
            <a:grpFill/>
            <a:ln w="6246" cap="flat">
              <a:noFill/>
              <a:prstDash val="solid"/>
              <a:miter/>
            </a:ln>
          </p:spPr>
          <p:txBody>
            <a:bodyPr rtlCol="0" anchor="ctr"/>
            <a:lstStyle/>
            <a:p>
              <a:endParaRPr lang="fr-FR" sz="2400"/>
            </a:p>
          </p:txBody>
        </p:sp>
        <p:sp>
          <p:nvSpPr>
            <p:cNvPr id="332" name="Freeform: Shape 331">
              <a:extLst>
                <a:ext uri="{FF2B5EF4-FFF2-40B4-BE49-F238E27FC236}">
                  <a16:creationId xmlns:a16="http://schemas.microsoft.com/office/drawing/2014/main" id="{0EA1655F-5C2A-4749-8000-3CBDF23782A0}"/>
                </a:ext>
              </a:extLst>
            </p:cNvPr>
            <p:cNvSpPr/>
            <p:nvPr/>
          </p:nvSpPr>
          <p:spPr>
            <a:xfrm>
              <a:off x="1358175" y="574746"/>
              <a:ext cx="12492" cy="24984"/>
            </a:xfrm>
            <a:custGeom>
              <a:avLst/>
              <a:gdLst>
                <a:gd name="connsiteX0" fmla="*/ 0 w 12492"/>
                <a:gd name="connsiteY0" fmla="*/ 26374 h 24984"/>
                <a:gd name="connsiteX1" fmla="*/ 10993 w 12492"/>
                <a:gd name="connsiteY1" fmla="*/ 7386 h 24984"/>
                <a:gd name="connsiteX2" fmla="*/ 13991 w 12492"/>
                <a:gd name="connsiteY2" fmla="*/ 765 h 24984"/>
                <a:gd name="connsiteX3" fmla="*/ 16052 w 12492"/>
                <a:gd name="connsiteY3" fmla="*/ 265 h 24984"/>
                <a:gd name="connsiteX4" fmla="*/ 9619 w 12492"/>
                <a:gd name="connsiteY4" fmla="*/ 13819 h 24984"/>
                <a:gd name="connsiteX5" fmla="*/ 0 w 12492"/>
                <a:gd name="connsiteY5" fmla="*/ 263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0" y="26374"/>
                  </a:moveTo>
                  <a:cubicBezTo>
                    <a:pt x="3685" y="20066"/>
                    <a:pt x="7433" y="13757"/>
                    <a:pt x="10993" y="7386"/>
                  </a:cubicBezTo>
                  <a:cubicBezTo>
                    <a:pt x="12180" y="5262"/>
                    <a:pt x="13741" y="3264"/>
                    <a:pt x="13991" y="765"/>
                  </a:cubicBezTo>
                  <a:cubicBezTo>
                    <a:pt x="14116" y="-422"/>
                    <a:pt x="15240" y="78"/>
                    <a:pt x="16052" y="265"/>
                  </a:cubicBezTo>
                  <a:cubicBezTo>
                    <a:pt x="14179" y="4888"/>
                    <a:pt x="12305" y="9510"/>
                    <a:pt x="9619" y="13819"/>
                  </a:cubicBezTo>
                  <a:cubicBezTo>
                    <a:pt x="6308" y="17879"/>
                    <a:pt x="4372" y="22876"/>
                    <a:pt x="0" y="26374"/>
                  </a:cubicBezTo>
                  <a:close/>
                </a:path>
              </a:pathLst>
            </a:custGeom>
            <a:grpFill/>
            <a:ln w="6246" cap="flat">
              <a:noFill/>
              <a:prstDash val="solid"/>
              <a:miter/>
            </a:ln>
          </p:spPr>
          <p:txBody>
            <a:bodyPr rtlCol="0" anchor="ctr"/>
            <a:lstStyle/>
            <a:p>
              <a:endParaRPr lang="fr-FR" sz="2400"/>
            </a:p>
          </p:txBody>
        </p:sp>
        <p:sp>
          <p:nvSpPr>
            <p:cNvPr id="333" name="Freeform: Shape 332">
              <a:extLst>
                <a:ext uri="{FF2B5EF4-FFF2-40B4-BE49-F238E27FC236}">
                  <a16:creationId xmlns:a16="http://schemas.microsoft.com/office/drawing/2014/main" id="{1E45316B-529A-47D2-BD35-FFB7897AF9F6}"/>
                </a:ext>
              </a:extLst>
            </p:cNvPr>
            <p:cNvSpPr/>
            <p:nvPr/>
          </p:nvSpPr>
          <p:spPr>
            <a:xfrm>
              <a:off x="1378852" y="502495"/>
              <a:ext cx="6246" cy="6246"/>
            </a:xfrm>
            <a:custGeom>
              <a:avLst/>
              <a:gdLst>
                <a:gd name="connsiteX0" fmla="*/ 746 w 0"/>
                <a:gd name="connsiteY0" fmla="*/ 0 h 6246"/>
                <a:gd name="connsiteX1" fmla="*/ 3932 w 0"/>
                <a:gd name="connsiteY1" fmla="*/ 0 h 6246"/>
                <a:gd name="connsiteX2" fmla="*/ 4244 w 0"/>
                <a:gd name="connsiteY2" fmla="*/ 10306 h 6246"/>
                <a:gd name="connsiteX3" fmla="*/ 2682 w 0"/>
                <a:gd name="connsiteY3" fmla="*/ 11243 h 6246"/>
                <a:gd name="connsiteX4" fmla="*/ 1371 w 0"/>
                <a:gd name="connsiteY4" fmla="*/ 9994 h 6246"/>
                <a:gd name="connsiteX5" fmla="*/ 746 w 0"/>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746" y="0"/>
                  </a:moveTo>
                  <a:cubicBezTo>
                    <a:pt x="1808" y="562"/>
                    <a:pt x="2870" y="562"/>
                    <a:pt x="3932" y="0"/>
                  </a:cubicBezTo>
                  <a:cubicBezTo>
                    <a:pt x="8429" y="3310"/>
                    <a:pt x="4119" y="6871"/>
                    <a:pt x="4244" y="10306"/>
                  </a:cubicBezTo>
                  <a:cubicBezTo>
                    <a:pt x="4306" y="10931"/>
                    <a:pt x="3494" y="11368"/>
                    <a:pt x="2682" y="11243"/>
                  </a:cubicBezTo>
                  <a:cubicBezTo>
                    <a:pt x="1933" y="11118"/>
                    <a:pt x="1308" y="10681"/>
                    <a:pt x="1371" y="9994"/>
                  </a:cubicBezTo>
                  <a:cubicBezTo>
                    <a:pt x="1746" y="6621"/>
                    <a:pt x="-1377" y="3435"/>
                    <a:pt x="746" y="0"/>
                  </a:cubicBezTo>
                  <a:close/>
                </a:path>
              </a:pathLst>
            </a:custGeom>
            <a:grpFill/>
            <a:ln w="6246" cap="flat">
              <a:noFill/>
              <a:prstDash val="solid"/>
              <a:miter/>
            </a:ln>
          </p:spPr>
          <p:txBody>
            <a:bodyPr rtlCol="0" anchor="ctr"/>
            <a:lstStyle/>
            <a:p>
              <a:endParaRPr lang="fr-FR" sz="2400"/>
            </a:p>
          </p:txBody>
        </p:sp>
        <p:sp>
          <p:nvSpPr>
            <p:cNvPr id="334" name="Freeform: Shape 333">
              <a:extLst>
                <a:ext uri="{FF2B5EF4-FFF2-40B4-BE49-F238E27FC236}">
                  <a16:creationId xmlns:a16="http://schemas.microsoft.com/office/drawing/2014/main" id="{6EF1DC3C-77FC-40F1-BB4B-77642DC94CCD}"/>
                </a:ext>
              </a:extLst>
            </p:cNvPr>
            <p:cNvSpPr/>
            <p:nvPr/>
          </p:nvSpPr>
          <p:spPr>
            <a:xfrm>
              <a:off x="1256049" y="428977"/>
              <a:ext cx="12492" cy="6246"/>
            </a:xfrm>
            <a:custGeom>
              <a:avLst/>
              <a:gdLst>
                <a:gd name="connsiteX0" fmla="*/ 1564 w 12492"/>
                <a:gd name="connsiteY0" fmla="*/ 3874 h 6246"/>
                <a:gd name="connsiteX1" fmla="*/ 14431 w 12492"/>
                <a:gd name="connsiteY1" fmla="*/ 1 h 6246"/>
                <a:gd name="connsiteX2" fmla="*/ 15492 w 12492"/>
                <a:gd name="connsiteY2" fmla="*/ 1938 h 6246"/>
                <a:gd name="connsiteX3" fmla="*/ 2626 w 12492"/>
                <a:gd name="connsiteY3" fmla="*/ 7747 h 6246"/>
                <a:gd name="connsiteX4" fmla="*/ 1564 w 12492"/>
                <a:gd name="connsiteY4" fmla="*/ 7747 h 6246"/>
                <a:gd name="connsiteX5" fmla="*/ 939 w 12492"/>
                <a:gd name="connsiteY5" fmla="*/ 7434 h 6246"/>
                <a:gd name="connsiteX6" fmla="*/ 2 w 12492"/>
                <a:gd name="connsiteY6" fmla="*/ 5748 h 6246"/>
                <a:gd name="connsiteX7" fmla="*/ 1564 w 12492"/>
                <a:gd name="connsiteY7" fmla="*/ 387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64" y="3874"/>
                  </a:moveTo>
                  <a:cubicBezTo>
                    <a:pt x="5624" y="1938"/>
                    <a:pt x="9621" y="-61"/>
                    <a:pt x="14431" y="1"/>
                  </a:cubicBezTo>
                  <a:cubicBezTo>
                    <a:pt x="15243" y="439"/>
                    <a:pt x="15492" y="1126"/>
                    <a:pt x="15492" y="1938"/>
                  </a:cubicBezTo>
                  <a:cubicBezTo>
                    <a:pt x="11682" y="4686"/>
                    <a:pt x="6123" y="4374"/>
                    <a:pt x="2626" y="7747"/>
                  </a:cubicBezTo>
                  <a:cubicBezTo>
                    <a:pt x="2251" y="7747"/>
                    <a:pt x="1939" y="7747"/>
                    <a:pt x="1564" y="7747"/>
                  </a:cubicBezTo>
                  <a:cubicBezTo>
                    <a:pt x="1376" y="7622"/>
                    <a:pt x="1189" y="7559"/>
                    <a:pt x="939" y="7434"/>
                  </a:cubicBezTo>
                  <a:cubicBezTo>
                    <a:pt x="439" y="6997"/>
                    <a:pt x="127" y="6435"/>
                    <a:pt x="2" y="5748"/>
                  </a:cubicBezTo>
                  <a:cubicBezTo>
                    <a:pt x="-60" y="4748"/>
                    <a:pt x="1189" y="4624"/>
                    <a:pt x="1564" y="3874"/>
                  </a:cubicBezTo>
                  <a:close/>
                </a:path>
              </a:pathLst>
            </a:custGeom>
            <a:grpFill/>
            <a:ln w="6246" cap="flat">
              <a:noFill/>
              <a:prstDash val="solid"/>
              <a:miter/>
            </a:ln>
          </p:spPr>
          <p:txBody>
            <a:bodyPr rtlCol="0" anchor="ctr"/>
            <a:lstStyle/>
            <a:p>
              <a:endParaRPr lang="fr-FR" sz="2400"/>
            </a:p>
          </p:txBody>
        </p:sp>
        <p:sp>
          <p:nvSpPr>
            <p:cNvPr id="335" name="Freeform: Shape 334">
              <a:extLst>
                <a:ext uri="{FF2B5EF4-FFF2-40B4-BE49-F238E27FC236}">
                  <a16:creationId xmlns:a16="http://schemas.microsoft.com/office/drawing/2014/main" id="{E2B8F948-21CB-41A0-9EF0-38692DF690D3}"/>
                </a:ext>
              </a:extLst>
            </p:cNvPr>
            <p:cNvSpPr/>
            <p:nvPr/>
          </p:nvSpPr>
          <p:spPr>
            <a:xfrm>
              <a:off x="1258675" y="429978"/>
              <a:ext cx="12492" cy="6246"/>
            </a:xfrm>
            <a:custGeom>
              <a:avLst/>
              <a:gdLst>
                <a:gd name="connsiteX0" fmla="*/ 0 w 12492"/>
                <a:gd name="connsiteY0" fmla="*/ 6746 h 6246"/>
                <a:gd name="connsiteX1" fmla="*/ 12867 w 12492"/>
                <a:gd name="connsiteY1" fmla="*/ 937 h 6246"/>
                <a:gd name="connsiteX2" fmla="*/ 16052 w 12492"/>
                <a:gd name="connsiteY2" fmla="*/ 0 h 6246"/>
                <a:gd name="connsiteX3" fmla="*/ 17114 w 12492"/>
                <a:gd name="connsiteY3" fmla="*/ 937 h 6246"/>
                <a:gd name="connsiteX4" fmla="*/ 0 w 12492"/>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6746"/>
                  </a:moveTo>
                  <a:cubicBezTo>
                    <a:pt x="2373" y="1312"/>
                    <a:pt x="8495" y="2748"/>
                    <a:pt x="12867" y="937"/>
                  </a:cubicBezTo>
                  <a:cubicBezTo>
                    <a:pt x="13929" y="625"/>
                    <a:pt x="14991" y="312"/>
                    <a:pt x="16052" y="0"/>
                  </a:cubicBezTo>
                  <a:cubicBezTo>
                    <a:pt x="16427" y="312"/>
                    <a:pt x="16739" y="625"/>
                    <a:pt x="17114" y="937"/>
                  </a:cubicBezTo>
                  <a:cubicBezTo>
                    <a:pt x="11618" y="3435"/>
                    <a:pt x="5746" y="4934"/>
                    <a:pt x="0" y="6746"/>
                  </a:cubicBezTo>
                  <a:close/>
                </a:path>
              </a:pathLst>
            </a:custGeom>
            <a:grpFill/>
            <a:ln w="6246" cap="flat">
              <a:noFill/>
              <a:prstDash val="solid"/>
              <a:miter/>
            </a:ln>
          </p:spPr>
          <p:txBody>
            <a:bodyPr rtlCol="0" anchor="ctr"/>
            <a:lstStyle/>
            <a:p>
              <a:endParaRPr lang="fr-FR" sz="2400"/>
            </a:p>
          </p:txBody>
        </p:sp>
        <p:sp>
          <p:nvSpPr>
            <p:cNvPr id="336" name="Freeform: Shape 335">
              <a:extLst>
                <a:ext uri="{FF2B5EF4-FFF2-40B4-BE49-F238E27FC236}">
                  <a16:creationId xmlns:a16="http://schemas.microsoft.com/office/drawing/2014/main" id="{FE51B6A6-2987-4735-8993-424C330EE4DB}"/>
                </a:ext>
              </a:extLst>
            </p:cNvPr>
            <p:cNvSpPr/>
            <p:nvPr/>
          </p:nvSpPr>
          <p:spPr>
            <a:xfrm>
              <a:off x="1367878" y="472451"/>
              <a:ext cx="6246" cy="12492"/>
            </a:xfrm>
            <a:custGeom>
              <a:avLst/>
              <a:gdLst>
                <a:gd name="connsiteX0" fmla="*/ 8473 w 6246"/>
                <a:gd name="connsiteY0" fmla="*/ 10681 h 12492"/>
                <a:gd name="connsiteX1" fmla="*/ 7411 w 6246"/>
                <a:gd name="connsiteY1" fmla="*/ 11618 h 12492"/>
                <a:gd name="connsiteX2" fmla="*/ 6349 w 6246"/>
                <a:gd name="connsiteY2" fmla="*/ 13554 h 12492"/>
                <a:gd name="connsiteX3" fmla="*/ 228 w 6246"/>
                <a:gd name="connsiteY3" fmla="*/ 2061 h 12492"/>
                <a:gd name="connsiteX4" fmla="*/ 978 w 6246"/>
                <a:gd name="connsiteY4" fmla="*/ 0 h 12492"/>
                <a:gd name="connsiteX5" fmla="*/ 5288 w 6246"/>
                <a:gd name="connsiteY5" fmla="*/ 5809 h 12492"/>
                <a:gd name="connsiteX6" fmla="*/ 7411 w 6246"/>
                <a:gd name="connsiteY6" fmla="*/ 9681 h 12492"/>
                <a:gd name="connsiteX7" fmla="*/ 8473 w 6246"/>
                <a:gd name="connsiteY7"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12492">
                  <a:moveTo>
                    <a:pt x="8473" y="10681"/>
                  </a:moveTo>
                  <a:cubicBezTo>
                    <a:pt x="8098" y="10993"/>
                    <a:pt x="7786" y="11305"/>
                    <a:pt x="7411" y="11618"/>
                  </a:cubicBezTo>
                  <a:cubicBezTo>
                    <a:pt x="6849" y="12180"/>
                    <a:pt x="7224" y="13117"/>
                    <a:pt x="6349" y="13554"/>
                  </a:cubicBezTo>
                  <a:cubicBezTo>
                    <a:pt x="3289" y="10181"/>
                    <a:pt x="3164" y="5559"/>
                    <a:pt x="228" y="2061"/>
                  </a:cubicBezTo>
                  <a:cubicBezTo>
                    <a:pt x="-334" y="1374"/>
                    <a:pt x="228" y="562"/>
                    <a:pt x="978" y="0"/>
                  </a:cubicBezTo>
                  <a:cubicBezTo>
                    <a:pt x="2414" y="1936"/>
                    <a:pt x="3851" y="3873"/>
                    <a:pt x="5288" y="5809"/>
                  </a:cubicBezTo>
                  <a:cubicBezTo>
                    <a:pt x="4538" y="7745"/>
                    <a:pt x="6412" y="8495"/>
                    <a:pt x="7411" y="9681"/>
                  </a:cubicBezTo>
                  <a:cubicBezTo>
                    <a:pt x="7786" y="10056"/>
                    <a:pt x="8161" y="10368"/>
                    <a:pt x="8473" y="10681"/>
                  </a:cubicBezTo>
                  <a:close/>
                </a:path>
              </a:pathLst>
            </a:custGeom>
            <a:grpFill/>
            <a:ln w="6246" cap="flat">
              <a:noFill/>
              <a:prstDash val="solid"/>
              <a:miter/>
            </a:ln>
          </p:spPr>
          <p:txBody>
            <a:bodyPr rtlCol="0" anchor="ctr"/>
            <a:lstStyle/>
            <a:p>
              <a:endParaRPr lang="fr-FR" sz="2400"/>
            </a:p>
          </p:txBody>
        </p:sp>
        <p:sp>
          <p:nvSpPr>
            <p:cNvPr id="337" name="Freeform: Shape 336">
              <a:extLst>
                <a:ext uri="{FF2B5EF4-FFF2-40B4-BE49-F238E27FC236}">
                  <a16:creationId xmlns:a16="http://schemas.microsoft.com/office/drawing/2014/main" id="{110AABCF-3FF4-4282-BECD-27838121B921}"/>
                </a:ext>
              </a:extLst>
            </p:cNvPr>
            <p:cNvSpPr/>
            <p:nvPr/>
          </p:nvSpPr>
          <p:spPr>
            <a:xfrm>
              <a:off x="1276913" y="426025"/>
              <a:ext cx="6246" cy="6246"/>
            </a:xfrm>
            <a:custGeom>
              <a:avLst/>
              <a:gdLst>
                <a:gd name="connsiteX0" fmla="*/ 11743 w 6246"/>
                <a:gd name="connsiteY0" fmla="*/ 2017 h 0"/>
                <a:gd name="connsiteX1" fmla="*/ 0 w 6246"/>
                <a:gd name="connsiteY1" fmla="*/ 2954 h 0"/>
                <a:gd name="connsiteX2" fmla="*/ 7245 w 6246"/>
                <a:gd name="connsiteY2" fmla="*/ 205 h 0"/>
                <a:gd name="connsiteX3" fmla="*/ 5496 w 6246"/>
                <a:gd name="connsiteY3" fmla="*/ 2017 h 0"/>
                <a:gd name="connsiteX4" fmla="*/ 11743 w 6246"/>
                <a:gd name="connsiteY4" fmla="*/ 201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11743" y="2017"/>
                  </a:moveTo>
                  <a:cubicBezTo>
                    <a:pt x="7995" y="4016"/>
                    <a:pt x="3873" y="2517"/>
                    <a:pt x="0" y="2954"/>
                  </a:cubicBezTo>
                  <a:cubicBezTo>
                    <a:pt x="1249" y="-544"/>
                    <a:pt x="4310" y="-107"/>
                    <a:pt x="7245" y="205"/>
                  </a:cubicBezTo>
                  <a:cubicBezTo>
                    <a:pt x="7495" y="1517"/>
                    <a:pt x="5247" y="580"/>
                    <a:pt x="5496" y="2017"/>
                  </a:cubicBezTo>
                  <a:cubicBezTo>
                    <a:pt x="7558" y="2017"/>
                    <a:pt x="9619" y="2017"/>
                    <a:pt x="11743" y="2017"/>
                  </a:cubicBezTo>
                  <a:close/>
                </a:path>
              </a:pathLst>
            </a:custGeom>
            <a:grpFill/>
            <a:ln w="6246" cap="flat">
              <a:noFill/>
              <a:prstDash val="solid"/>
              <a:miter/>
            </a:ln>
          </p:spPr>
          <p:txBody>
            <a:bodyPr rtlCol="0" anchor="ctr"/>
            <a:lstStyle/>
            <a:p>
              <a:endParaRPr lang="fr-FR" sz="2400"/>
            </a:p>
          </p:txBody>
        </p:sp>
        <p:sp>
          <p:nvSpPr>
            <p:cNvPr id="338" name="Freeform: Shape 337">
              <a:extLst>
                <a:ext uri="{FF2B5EF4-FFF2-40B4-BE49-F238E27FC236}">
                  <a16:creationId xmlns:a16="http://schemas.microsoft.com/office/drawing/2014/main" id="{28D2B272-721B-43B5-83EA-9A5D2C9A9ED1}"/>
                </a:ext>
              </a:extLst>
            </p:cNvPr>
            <p:cNvSpPr/>
            <p:nvPr/>
          </p:nvSpPr>
          <p:spPr>
            <a:xfrm>
              <a:off x="1366794" y="462832"/>
              <a:ext cx="6246" cy="6246"/>
            </a:xfrm>
            <a:custGeom>
              <a:avLst/>
              <a:gdLst>
                <a:gd name="connsiteX0" fmla="*/ 4247 w 0"/>
                <a:gd name="connsiteY0" fmla="*/ 4809 h 6246"/>
                <a:gd name="connsiteX1" fmla="*/ 3186 w 0"/>
                <a:gd name="connsiteY1" fmla="*/ 6746 h 6246"/>
                <a:gd name="connsiteX2" fmla="*/ 1062 w 0"/>
                <a:gd name="connsiteY2" fmla="*/ 4809 h 6246"/>
                <a:gd name="connsiteX3" fmla="*/ 0 w 0"/>
                <a:gd name="connsiteY3" fmla="*/ 0 h 6246"/>
                <a:gd name="connsiteX4" fmla="*/ 4247 w 0"/>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247" y="4809"/>
                  </a:moveTo>
                  <a:cubicBezTo>
                    <a:pt x="3435" y="5247"/>
                    <a:pt x="3186" y="5934"/>
                    <a:pt x="3186" y="6746"/>
                  </a:cubicBezTo>
                  <a:cubicBezTo>
                    <a:pt x="2499" y="6121"/>
                    <a:pt x="1749" y="5434"/>
                    <a:pt x="1062" y="4809"/>
                  </a:cubicBezTo>
                  <a:cubicBezTo>
                    <a:pt x="687" y="3186"/>
                    <a:pt x="375" y="1562"/>
                    <a:pt x="0" y="0"/>
                  </a:cubicBezTo>
                  <a:cubicBezTo>
                    <a:pt x="1936" y="1187"/>
                    <a:pt x="3935" y="2374"/>
                    <a:pt x="4247" y="4809"/>
                  </a:cubicBezTo>
                  <a:close/>
                </a:path>
              </a:pathLst>
            </a:custGeom>
            <a:grpFill/>
            <a:ln w="6246" cap="flat">
              <a:noFill/>
              <a:prstDash val="solid"/>
              <a:miter/>
            </a:ln>
          </p:spPr>
          <p:txBody>
            <a:bodyPr rtlCol="0" anchor="ctr"/>
            <a:lstStyle/>
            <a:p>
              <a:endParaRPr lang="fr-FR" sz="2400"/>
            </a:p>
          </p:txBody>
        </p:sp>
        <p:sp>
          <p:nvSpPr>
            <p:cNvPr id="339" name="Freeform: Shape 338">
              <a:extLst>
                <a:ext uri="{FF2B5EF4-FFF2-40B4-BE49-F238E27FC236}">
                  <a16:creationId xmlns:a16="http://schemas.microsoft.com/office/drawing/2014/main" id="{B2EB8711-3A9C-4BF5-AB2D-4C642FC7B865}"/>
                </a:ext>
              </a:extLst>
            </p:cNvPr>
            <p:cNvSpPr/>
            <p:nvPr/>
          </p:nvSpPr>
          <p:spPr>
            <a:xfrm>
              <a:off x="1371079" y="524731"/>
              <a:ext cx="6246" cy="6246"/>
            </a:xfrm>
            <a:custGeom>
              <a:avLst/>
              <a:gdLst>
                <a:gd name="connsiteX0" fmla="*/ 4210 w 0"/>
                <a:gd name="connsiteY0" fmla="*/ 5809 h 0"/>
                <a:gd name="connsiteX1" fmla="*/ 25 w 0"/>
                <a:gd name="connsiteY1" fmla="*/ 0 h 0"/>
                <a:gd name="connsiteX2" fmla="*/ 3148 w 0"/>
                <a:gd name="connsiteY2" fmla="*/ 2936 h 0"/>
                <a:gd name="connsiteX3" fmla="*/ 4210 w 0"/>
                <a:gd name="connsiteY3" fmla="*/ 5809 h 0"/>
              </a:gdLst>
              <a:ahLst/>
              <a:cxnLst>
                <a:cxn ang="0">
                  <a:pos x="connsiteX0" y="connsiteY0"/>
                </a:cxn>
                <a:cxn ang="0">
                  <a:pos x="connsiteX1" y="connsiteY1"/>
                </a:cxn>
                <a:cxn ang="0">
                  <a:pos x="connsiteX2" y="connsiteY2"/>
                </a:cxn>
                <a:cxn ang="0">
                  <a:pos x="connsiteX3" y="connsiteY3"/>
                </a:cxn>
              </a:cxnLst>
              <a:rect l="l" t="t" r="r" b="b"/>
              <a:pathLst>
                <a:path>
                  <a:moveTo>
                    <a:pt x="4210" y="5809"/>
                  </a:moveTo>
                  <a:cubicBezTo>
                    <a:pt x="1399" y="4747"/>
                    <a:pt x="-225" y="2998"/>
                    <a:pt x="25" y="0"/>
                  </a:cubicBezTo>
                  <a:cubicBezTo>
                    <a:pt x="1961" y="375"/>
                    <a:pt x="1712" y="2373"/>
                    <a:pt x="3148" y="2936"/>
                  </a:cubicBezTo>
                  <a:cubicBezTo>
                    <a:pt x="4335" y="3623"/>
                    <a:pt x="4210" y="4685"/>
                    <a:pt x="4210" y="5809"/>
                  </a:cubicBezTo>
                  <a:close/>
                </a:path>
              </a:pathLst>
            </a:custGeom>
            <a:grpFill/>
            <a:ln w="6246" cap="flat">
              <a:noFill/>
              <a:prstDash val="solid"/>
              <a:miter/>
            </a:ln>
          </p:spPr>
          <p:txBody>
            <a:bodyPr rtlCol="0" anchor="ctr"/>
            <a:lstStyle/>
            <a:p>
              <a:endParaRPr lang="fr-FR" sz="2400"/>
            </a:p>
          </p:txBody>
        </p:sp>
        <p:sp>
          <p:nvSpPr>
            <p:cNvPr id="340" name="Freeform: Shape 339">
              <a:extLst>
                <a:ext uri="{FF2B5EF4-FFF2-40B4-BE49-F238E27FC236}">
                  <a16:creationId xmlns:a16="http://schemas.microsoft.com/office/drawing/2014/main" id="{348AD515-4332-48F9-91FA-5E7A4D95E529}"/>
                </a:ext>
              </a:extLst>
            </p:cNvPr>
            <p:cNvSpPr/>
            <p:nvPr/>
          </p:nvSpPr>
          <p:spPr>
            <a:xfrm>
              <a:off x="1322670" y="438660"/>
              <a:ext cx="6246" cy="6246"/>
            </a:xfrm>
            <a:custGeom>
              <a:avLst/>
              <a:gdLst>
                <a:gd name="connsiteX0" fmla="*/ 5523 w 0"/>
                <a:gd name="connsiteY0" fmla="*/ 999 h 0"/>
                <a:gd name="connsiteX1" fmla="*/ 4461 w 0"/>
                <a:gd name="connsiteY1" fmla="*/ 3873 h 0"/>
                <a:gd name="connsiteX2" fmla="*/ 152 w 0"/>
                <a:gd name="connsiteY2" fmla="*/ 999 h 0"/>
                <a:gd name="connsiteX3" fmla="*/ 2275 w 0"/>
                <a:gd name="connsiteY3" fmla="*/ 0 h 0"/>
                <a:gd name="connsiteX4" fmla="*/ 5523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523" y="999"/>
                  </a:moveTo>
                  <a:cubicBezTo>
                    <a:pt x="4836" y="1874"/>
                    <a:pt x="3337" y="2498"/>
                    <a:pt x="4461" y="3873"/>
                  </a:cubicBezTo>
                  <a:cubicBezTo>
                    <a:pt x="1526" y="4685"/>
                    <a:pt x="-598" y="4560"/>
                    <a:pt x="152" y="999"/>
                  </a:cubicBezTo>
                  <a:cubicBezTo>
                    <a:pt x="1026" y="999"/>
                    <a:pt x="1838" y="749"/>
                    <a:pt x="2275" y="0"/>
                  </a:cubicBezTo>
                  <a:cubicBezTo>
                    <a:pt x="3399" y="312"/>
                    <a:pt x="4461" y="625"/>
                    <a:pt x="5523" y="999"/>
                  </a:cubicBezTo>
                  <a:close/>
                </a:path>
              </a:pathLst>
            </a:custGeom>
            <a:grpFill/>
            <a:ln w="6246" cap="flat">
              <a:noFill/>
              <a:prstDash val="solid"/>
              <a:miter/>
            </a:ln>
          </p:spPr>
          <p:txBody>
            <a:bodyPr rtlCol="0" anchor="ctr"/>
            <a:lstStyle/>
            <a:p>
              <a:endParaRPr lang="fr-FR" sz="2400"/>
            </a:p>
          </p:txBody>
        </p:sp>
        <p:sp>
          <p:nvSpPr>
            <p:cNvPr id="341" name="Freeform: Shape 340">
              <a:extLst>
                <a:ext uri="{FF2B5EF4-FFF2-40B4-BE49-F238E27FC236}">
                  <a16:creationId xmlns:a16="http://schemas.microsoft.com/office/drawing/2014/main" id="{C3C13A18-9A1B-4EFD-98A2-D697612D9900}"/>
                </a:ext>
              </a:extLst>
            </p:cNvPr>
            <p:cNvSpPr/>
            <p:nvPr/>
          </p:nvSpPr>
          <p:spPr>
            <a:xfrm>
              <a:off x="1372171" y="478323"/>
              <a:ext cx="6246" cy="6246"/>
            </a:xfrm>
            <a:custGeom>
              <a:avLst/>
              <a:gdLst>
                <a:gd name="connsiteX0" fmla="*/ 3118 w 0"/>
                <a:gd name="connsiteY0" fmla="*/ 3873 h 0"/>
                <a:gd name="connsiteX1" fmla="*/ 995 w 0"/>
                <a:gd name="connsiteY1" fmla="*/ 0 h 0"/>
                <a:gd name="connsiteX2" fmla="*/ 3118 w 0"/>
                <a:gd name="connsiteY2" fmla="*/ 3873 h 0"/>
              </a:gdLst>
              <a:ahLst/>
              <a:cxnLst>
                <a:cxn ang="0">
                  <a:pos x="connsiteX0" y="connsiteY0"/>
                </a:cxn>
                <a:cxn ang="0">
                  <a:pos x="connsiteX1" y="connsiteY1"/>
                </a:cxn>
                <a:cxn ang="0">
                  <a:pos x="connsiteX2" y="connsiteY2"/>
                </a:cxn>
              </a:cxnLst>
              <a:rect l="l" t="t" r="r" b="b"/>
              <a:pathLst>
                <a:path>
                  <a:moveTo>
                    <a:pt x="3118" y="3873"/>
                  </a:moveTo>
                  <a:cubicBezTo>
                    <a:pt x="682" y="3373"/>
                    <a:pt x="-1254" y="2623"/>
                    <a:pt x="995" y="0"/>
                  </a:cubicBezTo>
                  <a:cubicBezTo>
                    <a:pt x="1619" y="1312"/>
                    <a:pt x="3243" y="2186"/>
                    <a:pt x="3118" y="3873"/>
                  </a:cubicBezTo>
                  <a:close/>
                </a:path>
              </a:pathLst>
            </a:custGeom>
            <a:grpFill/>
            <a:ln w="6246" cap="flat">
              <a:noFill/>
              <a:prstDash val="solid"/>
              <a:miter/>
            </a:ln>
          </p:spPr>
          <p:txBody>
            <a:bodyPr rtlCol="0" anchor="ctr"/>
            <a:lstStyle/>
            <a:p>
              <a:endParaRPr lang="fr-FR" sz="2400"/>
            </a:p>
          </p:txBody>
        </p:sp>
        <p:sp>
          <p:nvSpPr>
            <p:cNvPr id="342" name="Freeform: Shape 341">
              <a:extLst>
                <a:ext uri="{FF2B5EF4-FFF2-40B4-BE49-F238E27FC236}">
                  <a16:creationId xmlns:a16="http://schemas.microsoft.com/office/drawing/2014/main" id="{4382A1A1-989E-411F-8618-D11CA1820AEA}"/>
                </a:ext>
              </a:extLst>
            </p:cNvPr>
            <p:cNvSpPr/>
            <p:nvPr/>
          </p:nvSpPr>
          <p:spPr>
            <a:xfrm>
              <a:off x="1335689" y="437723"/>
              <a:ext cx="6246" cy="6246"/>
            </a:xfrm>
            <a:custGeom>
              <a:avLst/>
              <a:gdLst>
                <a:gd name="connsiteX0" fmla="*/ 0 w 0"/>
                <a:gd name="connsiteY0" fmla="*/ 0 h 0"/>
                <a:gd name="connsiteX1" fmla="*/ 5184 w 0"/>
                <a:gd name="connsiteY1" fmla="*/ 2873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1811" y="250"/>
                    <a:pt x="3498" y="749"/>
                    <a:pt x="5184" y="2873"/>
                  </a:cubicBezTo>
                  <a:cubicBezTo>
                    <a:pt x="2498" y="2249"/>
                    <a:pt x="937" y="1686"/>
                    <a:pt x="0" y="0"/>
                  </a:cubicBezTo>
                  <a:lnTo>
                    <a:pt x="0" y="0"/>
                  </a:lnTo>
                  <a:close/>
                </a:path>
              </a:pathLst>
            </a:custGeom>
            <a:grpFill/>
            <a:ln w="6246" cap="flat">
              <a:noFill/>
              <a:prstDash val="solid"/>
              <a:miter/>
            </a:ln>
          </p:spPr>
          <p:txBody>
            <a:bodyPr rtlCol="0" anchor="ctr"/>
            <a:lstStyle/>
            <a:p>
              <a:endParaRPr lang="fr-FR" sz="2400"/>
            </a:p>
          </p:txBody>
        </p:sp>
        <p:sp>
          <p:nvSpPr>
            <p:cNvPr id="343" name="Freeform: Shape 342">
              <a:extLst>
                <a:ext uri="{FF2B5EF4-FFF2-40B4-BE49-F238E27FC236}">
                  <a16:creationId xmlns:a16="http://schemas.microsoft.com/office/drawing/2014/main" id="{445F5106-09AD-49CC-B29C-B234B76F3229}"/>
                </a:ext>
              </a:extLst>
            </p:cNvPr>
            <p:cNvSpPr/>
            <p:nvPr/>
          </p:nvSpPr>
          <p:spPr>
            <a:xfrm>
              <a:off x="1373130" y="519921"/>
              <a:ext cx="6246" cy="6246"/>
            </a:xfrm>
            <a:custGeom>
              <a:avLst/>
              <a:gdLst>
                <a:gd name="connsiteX0" fmla="*/ 1097 w 0"/>
                <a:gd name="connsiteY0" fmla="*/ 4809 h 0"/>
                <a:gd name="connsiteX1" fmla="*/ 35 w 0"/>
                <a:gd name="connsiteY1" fmla="*/ 0 h 0"/>
                <a:gd name="connsiteX2" fmla="*/ 1097 w 0"/>
                <a:gd name="connsiteY2" fmla="*/ 4809 h 0"/>
              </a:gdLst>
              <a:ahLst/>
              <a:cxnLst>
                <a:cxn ang="0">
                  <a:pos x="connsiteX0" y="connsiteY0"/>
                </a:cxn>
                <a:cxn ang="0">
                  <a:pos x="connsiteX1" y="connsiteY1"/>
                </a:cxn>
                <a:cxn ang="0">
                  <a:pos x="connsiteX2" y="connsiteY2"/>
                </a:cxn>
              </a:cxnLst>
              <a:rect l="l" t="t" r="r" b="b"/>
              <a:pathLst>
                <a:path>
                  <a:moveTo>
                    <a:pt x="1097" y="4809"/>
                  </a:moveTo>
                  <a:cubicBezTo>
                    <a:pt x="-589" y="3435"/>
                    <a:pt x="223" y="1624"/>
                    <a:pt x="35" y="0"/>
                  </a:cubicBezTo>
                  <a:cubicBezTo>
                    <a:pt x="1722" y="1312"/>
                    <a:pt x="847" y="3123"/>
                    <a:pt x="1097" y="4809"/>
                  </a:cubicBezTo>
                  <a:close/>
                </a:path>
              </a:pathLst>
            </a:custGeom>
            <a:grpFill/>
            <a:ln w="6246" cap="flat">
              <a:noFill/>
              <a:prstDash val="solid"/>
              <a:miter/>
            </a:ln>
          </p:spPr>
          <p:txBody>
            <a:bodyPr rtlCol="0" anchor="ctr"/>
            <a:lstStyle/>
            <a:p>
              <a:endParaRPr lang="fr-FR" sz="2400"/>
            </a:p>
          </p:txBody>
        </p:sp>
        <p:sp>
          <p:nvSpPr>
            <p:cNvPr id="344" name="Freeform: Shape 343">
              <a:extLst>
                <a:ext uri="{FF2B5EF4-FFF2-40B4-BE49-F238E27FC236}">
                  <a16:creationId xmlns:a16="http://schemas.microsoft.com/office/drawing/2014/main" id="{80DA1A4B-4DEF-4837-BAC7-0AE484ECBC11}"/>
                </a:ext>
              </a:extLst>
            </p:cNvPr>
            <p:cNvSpPr/>
            <p:nvPr/>
          </p:nvSpPr>
          <p:spPr>
            <a:xfrm>
              <a:off x="1382293" y="569474"/>
              <a:ext cx="18738" cy="31230"/>
            </a:xfrm>
            <a:custGeom>
              <a:avLst/>
              <a:gdLst>
                <a:gd name="connsiteX0" fmla="*/ 490 w 18738"/>
                <a:gd name="connsiteY0" fmla="*/ 35456 h 31230"/>
                <a:gd name="connsiteX1" fmla="*/ 428 w 18738"/>
                <a:gd name="connsiteY1" fmla="*/ 32708 h 31230"/>
                <a:gd name="connsiteX2" fmla="*/ 16543 w 18738"/>
                <a:gd name="connsiteY2" fmla="*/ 3539 h 31230"/>
                <a:gd name="connsiteX3" fmla="*/ 19229 w 18738"/>
                <a:gd name="connsiteY3" fmla="*/ 853 h 31230"/>
                <a:gd name="connsiteX4" fmla="*/ 21852 w 18738"/>
                <a:gd name="connsiteY4" fmla="*/ 1602 h 31230"/>
                <a:gd name="connsiteX5" fmla="*/ 22664 w 18738"/>
                <a:gd name="connsiteY5" fmla="*/ 3476 h 31230"/>
                <a:gd name="connsiteX6" fmla="*/ 21977 w 18738"/>
                <a:gd name="connsiteY6" fmla="*/ 11596 h 31230"/>
                <a:gd name="connsiteX7" fmla="*/ 13295 w 18738"/>
                <a:gd name="connsiteY7" fmla="*/ 27711 h 31230"/>
                <a:gd name="connsiteX8" fmla="*/ 8985 w 18738"/>
                <a:gd name="connsiteY8" fmla="*/ 33520 h 31230"/>
                <a:gd name="connsiteX9" fmla="*/ 7111 w 18738"/>
                <a:gd name="connsiteY9" fmla="*/ 32833 h 31230"/>
                <a:gd name="connsiteX10" fmla="*/ 2552 w 18738"/>
                <a:gd name="connsiteY10" fmla="*/ 36455 h 31230"/>
                <a:gd name="connsiteX11" fmla="*/ 490 w 18738"/>
                <a:gd name="connsiteY11" fmla="*/ 3545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31230">
                  <a:moveTo>
                    <a:pt x="490" y="35456"/>
                  </a:moveTo>
                  <a:cubicBezTo>
                    <a:pt x="53" y="34582"/>
                    <a:pt x="-321" y="33582"/>
                    <a:pt x="428" y="32708"/>
                  </a:cubicBezTo>
                  <a:cubicBezTo>
                    <a:pt x="7986" y="23963"/>
                    <a:pt x="10422" y="12908"/>
                    <a:pt x="16543" y="3539"/>
                  </a:cubicBezTo>
                  <a:cubicBezTo>
                    <a:pt x="17917" y="3039"/>
                    <a:pt x="18354" y="1790"/>
                    <a:pt x="19229" y="853"/>
                  </a:cubicBezTo>
                  <a:cubicBezTo>
                    <a:pt x="20540" y="-521"/>
                    <a:pt x="21540" y="-209"/>
                    <a:pt x="21852" y="1602"/>
                  </a:cubicBezTo>
                  <a:cubicBezTo>
                    <a:pt x="22477" y="2102"/>
                    <a:pt x="22664" y="2727"/>
                    <a:pt x="22664" y="3476"/>
                  </a:cubicBezTo>
                  <a:cubicBezTo>
                    <a:pt x="21977" y="6162"/>
                    <a:pt x="21540" y="8848"/>
                    <a:pt x="21977" y="11596"/>
                  </a:cubicBezTo>
                  <a:cubicBezTo>
                    <a:pt x="20041" y="17405"/>
                    <a:pt x="16293" y="22402"/>
                    <a:pt x="13295" y="27711"/>
                  </a:cubicBezTo>
                  <a:cubicBezTo>
                    <a:pt x="10422" y="28773"/>
                    <a:pt x="11421" y="32146"/>
                    <a:pt x="8985" y="33520"/>
                  </a:cubicBezTo>
                  <a:cubicBezTo>
                    <a:pt x="8860" y="32208"/>
                    <a:pt x="8298" y="31896"/>
                    <a:pt x="7111" y="32833"/>
                  </a:cubicBezTo>
                  <a:cubicBezTo>
                    <a:pt x="5612" y="34020"/>
                    <a:pt x="4051" y="35269"/>
                    <a:pt x="2552" y="36455"/>
                  </a:cubicBezTo>
                  <a:cubicBezTo>
                    <a:pt x="2115" y="35768"/>
                    <a:pt x="1178" y="35831"/>
                    <a:pt x="490" y="35456"/>
                  </a:cubicBezTo>
                  <a:close/>
                </a:path>
              </a:pathLst>
            </a:custGeom>
            <a:grpFill/>
            <a:ln w="6246" cap="flat">
              <a:noFill/>
              <a:prstDash val="solid"/>
              <a:miter/>
            </a:ln>
          </p:spPr>
          <p:txBody>
            <a:bodyPr rtlCol="0" anchor="ctr"/>
            <a:lstStyle/>
            <a:p>
              <a:endParaRPr lang="fr-FR" sz="2400"/>
            </a:p>
          </p:txBody>
        </p:sp>
        <p:sp>
          <p:nvSpPr>
            <p:cNvPr id="345" name="Freeform: Shape 344">
              <a:extLst>
                <a:ext uri="{FF2B5EF4-FFF2-40B4-BE49-F238E27FC236}">
                  <a16:creationId xmlns:a16="http://schemas.microsoft.com/office/drawing/2014/main" id="{97169152-C494-48E5-8A48-5939779A6D86}"/>
                </a:ext>
              </a:extLst>
            </p:cNvPr>
            <p:cNvSpPr/>
            <p:nvPr/>
          </p:nvSpPr>
          <p:spPr>
            <a:xfrm>
              <a:off x="1395713" y="560521"/>
              <a:ext cx="12492" cy="31230"/>
            </a:xfrm>
            <a:custGeom>
              <a:avLst/>
              <a:gdLst>
                <a:gd name="connsiteX0" fmla="*/ 8495 w 12492"/>
                <a:gd name="connsiteY0" fmla="*/ 12555 h 31230"/>
                <a:gd name="connsiteX1" fmla="*/ 8495 w 12492"/>
                <a:gd name="connsiteY1" fmla="*/ 10618 h 31230"/>
                <a:gd name="connsiteX2" fmla="*/ 10618 w 12492"/>
                <a:gd name="connsiteY2" fmla="*/ 3935 h 31230"/>
                <a:gd name="connsiteX3" fmla="*/ 12805 w 12492"/>
                <a:gd name="connsiteY3" fmla="*/ 0 h 31230"/>
                <a:gd name="connsiteX4" fmla="*/ 13367 w 12492"/>
                <a:gd name="connsiteY4" fmla="*/ 437 h 31230"/>
                <a:gd name="connsiteX5" fmla="*/ 13929 w 12492"/>
                <a:gd name="connsiteY5" fmla="*/ 2374 h 31230"/>
                <a:gd name="connsiteX6" fmla="*/ 12805 w 12492"/>
                <a:gd name="connsiteY6" fmla="*/ 12555 h 31230"/>
                <a:gd name="connsiteX7" fmla="*/ 11743 w 12492"/>
                <a:gd name="connsiteY7" fmla="*/ 18363 h 31230"/>
                <a:gd name="connsiteX8" fmla="*/ 7495 w 12492"/>
                <a:gd name="connsiteY8" fmla="*/ 27045 h 31230"/>
                <a:gd name="connsiteX9" fmla="*/ 0 w 12492"/>
                <a:gd name="connsiteY9" fmla="*/ 36727 h 31230"/>
                <a:gd name="connsiteX10" fmla="*/ 7495 w 12492"/>
                <a:gd name="connsiteY10" fmla="*/ 20300 h 31230"/>
                <a:gd name="connsiteX11" fmla="*/ 8495 w 12492"/>
                <a:gd name="connsiteY11" fmla="*/ 1255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31230">
                  <a:moveTo>
                    <a:pt x="8495" y="12555"/>
                  </a:moveTo>
                  <a:cubicBezTo>
                    <a:pt x="8495" y="11930"/>
                    <a:pt x="8495" y="11243"/>
                    <a:pt x="8495" y="10618"/>
                  </a:cubicBezTo>
                  <a:cubicBezTo>
                    <a:pt x="9931" y="8557"/>
                    <a:pt x="10431" y="6309"/>
                    <a:pt x="10618" y="3935"/>
                  </a:cubicBezTo>
                  <a:cubicBezTo>
                    <a:pt x="10743" y="2249"/>
                    <a:pt x="10868" y="750"/>
                    <a:pt x="12805" y="0"/>
                  </a:cubicBezTo>
                  <a:cubicBezTo>
                    <a:pt x="12992" y="125"/>
                    <a:pt x="13179" y="312"/>
                    <a:pt x="13367" y="437"/>
                  </a:cubicBezTo>
                  <a:cubicBezTo>
                    <a:pt x="13741" y="999"/>
                    <a:pt x="13929" y="1686"/>
                    <a:pt x="13929" y="2374"/>
                  </a:cubicBezTo>
                  <a:cubicBezTo>
                    <a:pt x="14428" y="5871"/>
                    <a:pt x="11680" y="8994"/>
                    <a:pt x="12805" y="12555"/>
                  </a:cubicBezTo>
                  <a:cubicBezTo>
                    <a:pt x="12430" y="14491"/>
                    <a:pt x="12055" y="16427"/>
                    <a:pt x="11743" y="18363"/>
                  </a:cubicBezTo>
                  <a:cubicBezTo>
                    <a:pt x="10056" y="21174"/>
                    <a:pt x="8370" y="23985"/>
                    <a:pt x="7495" y="27045"/>
                  </a:cubicBezTo>
                  <a:cubicBezTo>
                    <a:pt x="4622" y="30044"/>
                    <a:pt x="3873" y="34353"/>
                    <a:pt x="0" y="36727"/>
                  </a:cubicBezTo>
                  <a:cubicBezTo>
                    <a:pt x="875" y="30668"/>
                    <a:pt x="6184" y="26234"/>
                    <a:pt x="7495" y="20300"/>
                  </a:cubicBezTo>
                  <a:cubicBezTo>
                    <a:pt x="7370" y="17614"/>
                    <a:pt x="8994" y="15178"/>
                    <a:pt x="8495" y="12555"/>
                  </a:cubicBezTo>
                  <a:close/>
                </a:path>
              </a:pathLst>
            </a:custGeom>
            <a:grpFill/>
            <a:ln w="6246" cap="flat">
              <a:noFill/>
              <a:prstDash val="solid"/>
              <a:miter/>
            </a:ln>
          </p:spPr>
          <p:txBody>
            <a:bodyPr rtlCol="0" anchor="ctr"/>
            <a:lstStyle/>
            <a:p>
              <a:endParaRPr lang="fr-FR" sz="2400"/>
            </a:p>
          </p:txBody>
        </p:sp>
        <p:sp>
          <p:nvSpPr>
            <p:cNvPr id="346" name="Freeform: Shape 345">
              <a:extLst>
                <a:ext uri="{FF2B5EF4-FFF2-40B4-BE49-F238E27FC236}">
                  <a16:creationId xmlns:a16="http://schemas.microsoft.com/office/drawing/2014/main" id="{5B31EC49-916A-4437-8B3C-878E73BF8241}"/>
                </a:ext>
              </a:extLst>
            </p:cNvPr>
            <p:cNvSpPr/>
            <p:nvPr/>
          </p:nvSpPr>
          <p:spPr>
            <a:xfrm>
              <a:off x="1411139" y="535950"/>
              <a:ext cx="6246" cy="12492"/>
            </a:xfrm>
            <a:custGeom>
              <a:avLst/>
              <a:gdLst>
                <a:gd name="connsiteX0" fmla="*/ 2688 w 0"/>
                <a:gd name="connsiteY0" fmla="*/ 336 h 12492"/>
                <a:gd name="connsiteX1" fmla="*/ 1689 w 0"/>
                <a:gd name="connsiteY1" fmla="*/ 12891 h 12492"/>
                <a:gd name="connsiteX2" fmla="*/ 1501 w 0"/>
                <a:gd name="connsiteY2" fmla="*/ 14952 h 12492"/>
                <a:gd name="connsiteX3" fmla="*/ 564 w 0"/>
                <a:gd name="connsiteY3" fmla="*/ 11829 h 12492"/>
                <a:gd name="connsiteX4" fmla="*/ 1626 w 0"/>
                <a:gd name="connsiteY4" fmla="*/ 274 h 12492"/>
                <a:gd name="connsiteX5" fmla="*/ 2688 w 0"/>
                <a:gd name="connsiteY5" fmla="*/ 3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12492">
                  <a:moveTo>
                    <a:pt x="2688" y="336"/>
                  </a:moveTo>
                  <a:cubicBezTo>
                    <a:pt x="2813" y="4584"/>
                    <a:pt x="877" y="8643"/>
                    <a:pt x="1689" y="12891"/>
                  </a:cubicBezTo>
                  <a:cubicBezTo>
                    <a:pt x="2313" y="13640"/>
                    <a:pt x="2188" y="14327"/>
                    <a:pt x="1501" y="14952"/>
                  </a:cubicBezTo>
                  <a:cubicBezTo>
                    <a:pt x="-685" y="14390"/>
                    <a:pt x="2" y="13078"/>
                    <a:pt x="564" y="11829"/>
                  </a:cubicBezTo>
                  <a:cubicBezTo>
                    <a:pt x="939" y="7956"/>
                    <a:pt x="-310" y="4021"/>
                    <a:pt x="1626" y="274"/>
                  </a:cubicBezTo>
                  <a:cubicBezTo>
                    <a:pt x="1938" y="-101"/>
                    <a:pt x="2313" y="-101"/>
                    <a:pt x="2688" y="336"/>
                  </a:cubicBezTo>
                  <a:close/>
                </a:path>
              </a:pathLst>
            </a:custGeom>
            <a:grpFill/>
            <a:ln w="6246" cap="flat">
              <a:noFill/>
              <a:prstDash val="solid"/>
              <a:miter/>
            </a:ln>
          </p:spPr>
          <p:txBody>
            <a:bodyPr rtlCol="0" anchor="ctr"/>
            <a:lstStyle/>
            <a:p>
              <a:endParaRPr lang="fr-FR" sz="2400"/>
            </a:p>
          </p:txBody>
        </p:sp>
        <p:sp>
          <p:nvSpPr>
            <p:cNvPr id="347" name="Freeform: Shape 346">
              <a:extLst>
                <a:ext uri="{FF2B5EF4-FFF2-40B4-BE49-F238E27FC236}">
                  <a16:creationId xmlns:a16="http://schemas.microsoft.com/office/drawing/2014/main" id="{176C7C48-8F2C-4E1C-AC95-47BD6ABF098E}"/>
                </a:ext>
              </a:extLst>
            </p:cNvPr>
            <p:cNvSpPr/>
            <p:nvPr/>
          </p:nvSpPr>
          <p:spPr>
            <a:xfrm>
              <a:off x="1412302" y="528259"/>
              <a:ext cx="6246" cy="6246"/>
            </a:xfrm>
            <a:custGeom>
              <a:avLst/>
              <a:gdLst>
                <a:gd name="connsiteX0" fmla="*/ 1525 w 0"/>
                <a:gd name="connsiteY0" fmla="*/ 8027 h 6246"/>
                <a:gd name="connsiteX1" fmla="*/ 401 w 0"/>
                <a:gd name="connsiteY1" fmla="*/ 8027 h 6246"/>
                <a:gd name="connsiteX2" fmla="*/ 276 w 0"/>
                <a:gd name="connsiteY2" fmla="*/ 2780 h 6246"/>
                <a:gd name="connsiteX3" fmla="*/ 3649 w 0"/>
                <a:gd name="connsiteY3" fmla="*/ 344 h 6246"/>
                <a:gd name="connsiteX4" fmla="*/ 1525 w 0"/>
                <a:gd name="connsiteY4" fmla="*/ 5216 h 6246"/>
                <a:gd name="connsiteX5" fmla="*/ 1525 w 0"/>
                <a:gd name="connsiteY5" fmla="*/ 802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525" y="8027"/>
                  </a:moveTo>
                  <a:cubicBezTo>
                    <a:pt x="1151" y="8027"/>
                    <a:pt x="776" y="8027"/>
                    <a:pt x="401" y="8027"/>
                  </a:cubicBezTo>
                  <a:cubicBezTo>
                    <a:pt x="401" y="6278"/>
                    <a:pt x="776" y="4404"/>
                    <a:pt x="276" y="2780"/>
                  </a:cubicBezTo>
                  <a:cubicBezTo>
                    <a:pt x="-786" y="-718"/>
                    <a:pt x="1401" y="-93"/>
                    <a:pt x="3649" y="344"/>
                  </a:cubicBezTo>
                  <a:cubicBezTo>
                    <a:pt x="3524" y="2155"/>
                    <a:pt x="901" y="3092"/>
                    <a:pt x="1525" y="5216"/>
                  </a:cubicBezTo>
                  <a:cubicBezTo>
                    <a:pt x="1525" y="6090"/>
                    <a:pt x="1525" y="7090"/>
                    <a:pt x="1525" y="8027"/>
                  </a:cubicBezTo>
                  <a:close/>
                </a:path>
              </a:pathLst>
            </a:custGeom>
            <a:grpFill/>
            <a:ln w="6246" cap="flat">
              <a:noFill/>
              <a:prstDash val="solid"/>
              <a:miter/>
            </a:ln>
          </p:spPr>
          <p:txBody>
            <a:bodyPr rtlCol="0" anchor="ctr"/>
            <a:lstStyle/>
            <a:p>
              <a:endParaRPr lang="fr-FR" sz="2400"/>
            </a:p>
          </p:txBody>
        </p:sp>
        <p:sp>
          <p:nvSpPr>
            <p:cNvPr id="348" name="Freeform: Shape 347">
              <a:extLst>
                <a:ext uri="{FF2B5EF4-FFF2-40B4-BE49-F238E27FC236}">
                  <a16:creationId xmlns:a16="http://schemas.microsoft.com/office/drawing/2014/main" id="{72F56FA1-0353-4DEE-9CC6-5736BD3968BE}"/>
                </a:ext>
              </a:extLst>
            </p:cNvPr>
            <p:cNvSpPr/>
            <p:nvPr/>
          </p:nvSpPr>
          <p:spPr>
            <a:xfrm>
              <a:off x="1408449" y="549840"/>
              <a:ext cx="6246" cy="6246"/>
            </a:xfrm>
            <a:custGeom>
              <a:avLst/>
              <a:gdLst>
                <a:gd name="connsiteX0" fmla="*/ 6 w 0"/>
                <a:gd name="connsiteY0" fmla="*/ 10618 h 6246"/>
                <a:gd name="connsiteX1" fmla="*/ 2130 w 0"/>
                <a:gd name="connsiteY1" fmla="*/ 0 h 6246"/>
                <a:gd name="connsiteX2" fmla="*/ 3379 w 0"/>
                <a:gd name="connsiteY2" fmla="*/ 5559 h 6246"/>
                <a:gd name="connsiteX3" fmla="*/ 6 w 0"/>
                <a:gd name="connsiteY3" fmla="*/ 10618 h 6246"/>
                <a:gd name="connsiteX4" fmla="*/ 6 w 0"/>
                <a:gd name="connsiteY4" fmla="*/ 10618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6" y="10618"/>
                  </a:moveTo>
                  <a:cubicBezTo>
                    <a:pt x="-56" y="6933"/>
                    <a:pt x="319" y="3373"/>
                    <a:pt x="2130" y="0"/>
                  </a:cubicBezTo>
                  <a:cubicBezTo>
                    <a:pt x="3504" y="1686"/>
                    <a:pt x="3754" y="3560"/>
                    <a:pt x="3379" y="5559"/>
                  </a:cubicBezTo>
                  <a:cubicBezTo>
                    <a:pt x="2193" y="7183"/>
                    <a:pt x="3504" y="10181"/>
                    <a:pt x="6" y="10618"/>
                  </a:cubicBezTo>
                  <a:lnTo>
                    <a:pt x="6" y="10618"/>
                  </a:lnTo>
                  <a:close/>
                </a:path>
              </a:pathLst>
            </a:custGeom>
            <a:grpFill/>
            <a:ln w="6246" cap="flat">
              <a:noFill/>
              <a:prstDash val="solid"/>
              <a:miter/>
            </a:ln>
          </p:spPr>
          <p:txBody>
            <a:bodyPr rtlCol="0" anchor="ctr"/>
            <a:lstStyle/>
            <a:p>
              <a:endParaRPr lang="fr-FR" sz="2400"/>
            </a:p>
          </p:txBody>
        </p:sp>
        <p:sp>
          <p:nvSpPr>
            <p:cNvPr id="349" name="Freeform: Shape 348">
              <a:extLst>
                <a:ext uri="{FF2B5EF4-FFF2-40B4-BE49-F238E27FC236}">
                  <a16:creationId xmlns:a16="http://schemas.microsoft.com/office/drawing/2014/main" id="{4690EEDA-4553-44C1-B903-A0CEC5D5BA63}"/>
                </a:ext>
              </a:extLst>
            </p:cNvPr>
            <p:cNvSpPr/>
            <p:nvPr/>
          </p:nvSpPr>
          <p:spPr>
            <a:xfrm>
              <a:off x="1413405" y="519921"/>
              <a:ext cx="6246" cy="6246"/>
            </a:xfrm>
            <a:custGeom>
              <a:avLst/>
              <a:gdLst>
                <a:gd name="connsiteX0" fmla="*/ 422 w 0"/>
                <a:gd name="connsiteY0" fmla="*/ 937 h 6246"/>
                <a:gd name="connsiteX1" fmla="*/ 2545 w 0"/>
                <a:gd name="connsiteY1" fmla="*/ 0 h 6246"/>
                <a:gd name="connsiteX2" fmla="*/ 1546 w 0"/>
                <a:gd name="connsiteY2" fmla="*/ 6683 h 6246"/>
                <a:gd name="connsiteX3" fmla="*/ 547 w 0"/>
                <a:gd name="connsiteY3" fmla="*/ 3748 h 6246"/>
                <a:gd name="connsiteX4" fmla="*/ 484 w 0"/>
                <a:gd name="connsiteY4" fmla="*/ 1874 h 6246"/>
                <a:gd name="connsiteX5" fmla="*/ 422 w 0"/>
                <a:gd name="connsiteY5"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422" y="937"/>
                  </a:moveTo>
                  <a:cubicBezTo>
                    <a:pt x="921" y="187"/>
                    <a:pt x="1671" y="0"/>
                    <a:pt x="2545" y="0"/>
                  </a:cubicBezTo>
                  <a:cubicBezTo>
                    <a:pt x="2233" y="2249"/>
                    <a:pt x="3545" y="4685"/>
                    <a:pt x="1546" y="6683"/>
                  </a:cubicBezTo>
                  <a:cubicBezTo>
                    <a:pt x="1483" y="5621"/>
                    <a:pt x="1608" y="4497"/>
                    <a:pt x="547" y="3748"/>
                  </a:cubicBezTo>
                  <a:cubicBezTo>
                    <a:pt x="-203" y="3186"/>
                    <a:pt x="-141" y="2561"/>
                    <a:pt x="484" y="1874"/>
                  </a:cubicBezTo>
                  <a:cubicBezTo>
                    <a:pt x="422" y="1562"/>
                    <a:pt x="422" y="1249"/>
                    <a:pt x="422" y="937"/>
                  </a:cubicBezTo>
                  <a:close/>
                </a:path>
              </a:pathLst>
            </a:custGeom>
            <a:grpFill/>
            <a:ln w="6246" cap="flat">
              <a:noFill/>
              <a:prstDash val="solid"/>
              <a:miter/>
            </a:ln>
          </p:spPr>
          <p:txBody>
            <a:bodyPr rtlCol="0" anchor="ctr"/>
            <a:lstStyle/>
            <a:p>
              <a:endParaRPr lang="fr-FR" sz="2400"/>
            </a:p>
          </p:txBody>
        </p:sp>
        <p:sp>
          <p:nvSpPr>
            <p:cNvPr id="350" name="Freeform: Shape 349">
              <a:extLst>
                <a:ext uri="{FF2B5EF4-FFF2-40B4-BE49-F238E27FC236}">
                  <a16:creationId xmlns:a16="http://schemas.microsoft.com/office/drawing/2014/main" id="{6FC58D50-3850-4B2F-B0AF-EB8254B80931}"/>
                </a:ext>
              </a:extLst>
            </p:cNvPr>
            <p:cNvSpPr/>
            <p:nvPr/>
          </p:nvSpPr>
          <p:spPr>
            <a:xfrm>
              <a:off x="1410642" y="547841"/>
              <a:ext cx="6246" cy="6246"/>
            </a:xfrm>
            <a:custGeom>
              <a:avLst/>
              <a:gdLst>
                <a:gd name="connsiteX0" fmla="*/ 0 w 0"/>
                <a:gd name="connsiteY0" fmla="*/ 7808 h 6246"/>
                <a:gd name="connsiteX1" fmla="*/ 0 w 0"/>
                <a:gd name="connsiteY1" fmla="*/ 1999 h 6246"/>
                <a:gd name="connsiteX2" fmla="*/ 1062 w 0"/>
                <a:gd name="connsiteY2" fmla="*/ 0 h 6246"/>
                <a:gd name="connsiteX3" fmla="*/ 2124 w 0"/>
                <a:gd name="connsiteY3" fmla="*/ 2936 h 6246"/>
                <a:gd name="connsiteX4" fmla="*/ 1499 w 0"/>
                <a:gd name="connsiteY4" fmla="*/ 7683 h 6246"/>
                <a:gd name="connsiteX5" fmla="*/ 0 w 0"/>
                <a:gd name="connsiteY5" fmla="*/ 7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7808"/>
                  </a:moveTo>
                  <a:cubicBezTo>
                    <a:pt x="0" y="5871"/>
                    <a:pt x="0" y="3935"/>
                    <a:pt x="0" y="1999"/>
                  </a:cubicBezTo>
                  <a:cubicBezTo>
                    <a:pt x="375" y="1312"/>
                    <a:pt x="687" y="687"/>
                    <a:pt x="1062" y="0"/>
                  </a:cubicBezTo>
                  <a:cubicBezTo>
                    <a:pt x="1124" y="1062"/>
                    <a:pt x="937" y="2186"/>
                    <a:pt x="2124" y="2936"/>
                  </a:cubicBezTo>
                  <a:cubicBezTo>
                    <a:pt x="3623" y="4685"/>
                    <a:pt x="2498" y="6184"/>
                    <a:pt x="1499" y="7683"/>
                  </a:cubicBezTo>
                  <a:cubicBezTo>
                    <a:pt x="999" y="8057"/>
                    <a:pt x="500" y="8057"/>
                    <a:pt x="0" y="7808"/>
                  </a:cubicBezTo>
                  <a:close/>
                </a:path>
              </a:pathLst>
            </a:custGeom>
            <a:grpFill/>
            <a:ln w="6246" cap="flat">
              <a:noFill/>
              <a:prstDash val="solid"/>
              <a:miter/>
            </a:ln>
          </p:spPr>
          <p:txBody>
            <a:bodyPr rtlCol="0" anchor="ctr"/>
            <a:lstStyle/>
            <a:p>
              <a:endParaRPr lang="fr-FR" sz="2400"/>
            </a:p>
          </p:txBody>
        </p:sp>
        <p:sp>
          <p:nvSpPr>
            <p:cNvPr id="351" name="Freeform: Shape 350">
              <a:extLst>
                <a:ext uri="{FF2B5EF4-FFF2-40B4-BE49-F238E27FC236}">
                  <a16:creationId xmlns:a16="http://schemas.microsoft.com/office/drawing/2014/main" id="{43D02EF8-F89D-4E82-9FA3-5E4607E85DF4}"/>
                </a:ext>
              </a:extLst>
            </p:cNvPr>
            <p:cNvSpPr/>
            <p:nvPr/>
          </p:nvSpPr>
          <p:spPr>
            <a:xfrm>
              <a:off x="1412031" y="521795"/>
              <a:ext cx="6246" cy="6246"/>
            </a:xfrm>
            <a:custGeom>
              <a:avLst/>
              <a:gdLst>
                <a:gd name="connsiteX0" fmla="*/ 1796 w 0"/>
                <a:gd name="connsiteY0" fmla="*/ 0 h 0"/>
                <a:gd name="connsiteX1" fmla="*/ 1858 w 0"/>
                <a:gd name="connsiteY1" fmla="*/ 1874 h 0"/>
                <a:gd name="connsiteX2" fmla="*/ 297 w 0"/>
                <a:gd name="connsiteY2" fmla="*/ 2311 h 0"/>
                <a:gd name="connsiteX3" fmla="*/ 1796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796" y="0"/>
                  </a:moveTo>
                  <a:cubicBezTo>
                    <a:pt x="1796" y="625"/>
                    <a:pt x="1858" y="1249"/>
                    <a:pt x="1858" y="1874"/>
                  </a:cubicBezTo>
                  <a:cubicBezTo>
                    <a:pt x="1483" y="2373"/>
                    <a:pt x="734" y="2936"/>
                    <a:pt x="297" y="2311"/>
                  </a:cubicBezTo>
                  <a:cubicBezTo>
                    <a:pt x="-640" y="999"/>
                    <a:pt x="859" y="562"/>
                    <a:pt x="1796" y="0"/>
                  </a:cubicBezTo>
                  <a:close/>
                </a:path>
              </a:pathLst>
            </a:custGeom>
            <a:grpFill/>
            <a:ln w="6246" cap="flat">
              <a:noFill/>
              <a:prstDash val="solid"/>
              <a:miter/>
            </a:ln>
          </p:spPr>
          <p:txBody>
            <a:bodyPr rtlCol="0" anchor="ctr"/>
            <a:lstStyle/>
            <a:p>
              <a:endParaRPr lang="fr-FR" sz="2400"/>
            </a:p>
          </p:txBody>
        </p:sp>
        <p:sp>
          <p:nvSpPr>
            <p:cNvPr id="352" name="Freeform: Shape 351">
              <a:extLst>
                <a:ext uri="{FF2B5EF4-FFF2-40B4-BE49-F238E27FC236}">
                  <a16:creationId xmlns:a16="http://schemas.microsoft.com/office/drawing/2014/main" id="{E4193A5B-6A75-479B-B525-C2833BF63B7D}"/>
                </a:ext>
              </a:extLst>
            </p:cNvPr>
            <p:cNvSpPr/>
            <p:nvPr/>
          </p:nvSpPr>
          <p:spPr>
            <a:xfrm>
              <a:off x="1400150" y="562457"/>
              <a:ext cx="6246" cy="6246"/>
            </a:xfrm>
            <a:custGeom>
              <a:avLst/>
              <a:gdLst>
                <a:gd name="connsiteX0" fmla="*/ 810 w 0"/>
                <a:gd name="connsiteY0" fmla="*/ 2873 h 0"/>
                <a:gd name="connsiteX1" fmla="*/ 1872 w 0"/>
                <a:gd name="connsiteY1" fmla="*/ 0 h 0"/>
                <a:gd name="connsiteX2" fmla="*/ 810 w 0"/>
                <a:gd name="connsiteY2" fmla="*/ 2873 h 0"/>
              </a:gdLst>
              <a:ahLst/>
              <a:cxnLst>
                <a:cxn ang="0">
                  <a:pos x="connsiteX0" y="connsiteY0"/>
                </a:cxn>
                <a:cxn ang="0">
                  <a:pos x="connsiteX1" y="connsiteY1"/>
                </a:cxn>
                <a:cxn ang="0">
                  <a:pos x="connsiteX2" y="connsiteY2"/>
                </a:cxn>
              </a:cxnLst>
              <a:rect l="l" t="t" r="r" b="b"/>
              <a:pathLst>
                <a:path>
                  <a:moveTo>
                    <a:pt x="810" y="2873"/>
                  </a:moveTo>
                  <a:cubicBezTo>
                    <a:pt x="-1063" y="1249"/>
                    <a:pt x="748" y="687"/>
                    <a:pt x="1872" y="0"/>
                  </a:cubicBezTo>
                  <a:cubicBezTo>
                    <a:pt x="1872" y="999"/>
                    <a:pt x="1997" y="2124"/>
                    <a:pt x="810" y="2873"/>
                  </a:cubicBezTo>
                  <a:close/>
                </a:path>
              </a:pathLst>
            </a:custGeom>
            <a:grpFill/>
            <a:ln w="6246" cap="flat">
              <a:noFill/>
              <a:prstDash val="solid"/>
              <a:miter/>
            </a:ln>
          </p:spPr>
          <p:txBody>
            <a:bodyPr rtlCol="0" anchor="ctr"/>
            <a:lstStyle/>
            <a:p>
              <a:endParaRPr lang="fr-FR" sz="2400"/>
            </a:p>
          </p:txBody>
        </p:sp>
        <p:sp>
          <p:nvSpPr>
            <p:cNvPr id="353" name="Freeform: Shape 352">
              <a:extLst>
                <a:ext uri="{FF2B5EF4-FFF2-40B4-BE49-F238E27FC236}">
                  <a16:creationId xmlns:a16="http://schemas.microsoft.com/office/drawing/2014/main" id="{1E67902D-3CFD-4793-8BD0-5ED2D6C61443}"/>
                </a:ext>
              </a:extLst>
            </p:cNvPr>
            <p:cNvSpPr/>
            <p:nvPr/>
          </p:nvSpPr>
          <p:spPr>
            <a:xfrm>
              <a:off x="1406401" y="548834"/>
              <a:ext cx="6246" cy="18738"/>
            </a:xfrm>
            <a:custGeom>
              <a:avLst/>
              <a:gdLst>
                <a:gd name="connsiteX0" fmla="*/ 5240 w 6246"/>
                <a:gd name="connsiteY0" fmla="*/ 6815 h 18738"/>
                <a:gd name="connsiteX1" fmla="*/ 6302 w 6246"/>
                <a:gd name="connsiteY1" fmla="*/ 2006 h 18738"/>
                <a:gd name="connsiteX2" fmla="*/ 6364 w 6246"/>
                <a:gd name="connsiteY2" fmla="*/ 70 h 18738"/>
                <a:gd name="connsiteX3" fmla="*/ 8301 w 6246"/>
                <a:gd name="connsiteY3" fmla="*/ 3505 h 18738"/>
                <a:gd name="connsiteX4" fmla="*/ 5802 w 6246"/>
                <a:gd name="connsiteY4" fmla="*/ 14748 h 18738"/>
                <a:gd name="connsiteX5" fmla="*/ 8488 w 6246"/>
                <a:gd name="connsiteY5" fmla="*/ 13624 h 18738"/>
                <a:gd name="connsiteX6" fmla="*/ 6364 w 6246"/>
                <a:gd name="connsiteY6" fmla="*/ 19432 h 18738"/>
                <a:gd name="connsiteX7" fmla="*/ 4740 w 6246"/>
                <a:gd name="connsiteY7" fmla="*/ 19682 h 18738"/>
                <a:gd name="connsiteX8" fmla="*/ 3366 w 6246"/>
                <a:gd name="connsiteY8" fmla="*/ 21743 h 18738"/>
                <a:gd name="connsiteX9" fmla="*/ 3179 w 6246"/>
                <a:gd name="connsiteY9" fmla="*/ 22368 h 18738"/>
                <a:gd name="connsiteX10" fmla="*/ 2117 w 6246"/>
                <a:gd name="connsiteY10" fmla="*/ 24304 h 18738"/>
                <a:gd name="connsiteX11" fmla="*/ 368 w 6246"/>
                <a:gd name="connsiteY11" fmla="*/ 20931 h 18738"/>
                <a:gd name="connsiteX12" fmla="*/ 2117 w 6246"/>
                <a:gd name="connsiteY12" fmla="*/ 13686 h 18738"/>
                <a:gd name="connsiteX13" fmla="*/ 5240 w 6246"/>
                <a:gd name="connsiteY13" fmla="*/ 681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18738">
                  <a:moveTo>
                    <a:pt x="5240" y="6815"/>
                  </a:moveTo>
                  <a:cubicBezTo>
                    <a:pt x="5615" y="5191"/>
                    <a:pt x="5927" y="3630"/>
                    <a:pt x="6302" y="2006"/>
                  </a:cubicBezTo>
                  <a:cubicBezTo>
                    <a:pt x="6302" y="1381"/>
                    <a:pt x="6364" y="694"/>
                    <a:pt x="6364" y="70"/>
                  </a:cubicBezTo>
                  <a:cubicBezTo>
                    <a:pt x="10549" y="-493"/>
                    <a:pt x="8425" y="2506"/>
                    <a:pt x="8301" y="3505"/>
                  </a:cubicBezTo>
                  <a:cubicBezTo>
                    <a:pt x="7863" y="7253"/>
                    <a:pt x="5864" y="10750"/>
                    <a:pt x="5802" y="14748"/>
                  </a:cubicBezTo>
                  <a:cubicBezTo>
                    <a:pt x="7176" y="15622"/>
                    <a:pt x="6926" y="12562"/>
                    <a:pt x="8488" y="13624"/>
                  </a:cubicBezTo>
                  <a:cubicBezTo>
                    <a:pt x="7738" y="15560"/>
                    <a:pt x="7926" y="17746"/>
                    <a:pt x="6364" y="19432"/>
                  </a:cubicBezTo>
                  <a:cubicBezTo>
                    <a:pt x="5802" y="19307"/>
                    <a:pt x="5240" y="19307"/>
                    <a:pt x="4740" y="19682"/>
                  </a:cubicBezTo>
                  <a:cubicBezTo>
                    <a:pt x="4178" y="20307"/>
                    <a:pt x="3803" y="21056"/>
                    <a:pt x="3366" y="21743"/>
                  </a:cubicBezTo>
                  <a:cubicBezTo>
                    <a:pt x="3304" y="21931"/>
                    <a:pt x="3241" y="22118"/>
                    <a:pt x="3179" y="22368"/>
                  </a:cubicBezTo>
                  <a:cubicBezTo>
                    <a:pt x="3116" y="23180"/>
                    <a:pt x="2929" y="23867"/>
                    <a:pt x="2117" y="24304"/>
                  </a:cubicBezTo>
                  <a:cubicBezTo>
                    <a:pt x="555" y="23555"/>
                    <a:pt x="-631" y="22368"/>
                    <a:pt x="368" y="20931"/>
                  </a:cubicBezTo>
                  <a:cubicBezTo>
                    <a:pt x="1930" y="18620"/>
                    <a:pt x="1430" y="16060"/>
                    <a:pt x="2117" y="13686"/>
                  </a:cubicBezTo>
                  <a:cubicBezTo>
                    <a:pt x="4428" y="11812"/>
                    <a:pt x="3304" y="8689"/>
                    <a:pt x="5240" y="6815"/>
                  </a:cubicBezTo>
                  <a:close/>
                </a:path>
              </a:pathLst>
            </a:custGeom>
            <a:grpFill/>
            <a:ln w="6246" cap="flat">
              <a:noFill/>
              <a:prstDash val="solid"/>
              <a:miter/>
            </a:ln>
          </p:spPr>
          <p:txBody>
            <a:bodyPr rtlCol="0" anchor="ctr"/>
            <a:lstStyle/>
            <a:p>
              <a:endParaRPr lang="fr-FR" sz="2400"/>
            </a:p>
          </p:txBody>
        </p:sp>
        <p:sp>
          <p:nvSpPr>
            <p:cNvPr id="354" name="Freeform: Shape 353">
              <a:extLst>
                <a:ext uri="{FF2B5EF4-FFF2-40B4-BE49-F238E27FC236}">
                  <a16:creationId xmlns:a16="http://schemas.microsoft.com/office/drawing/2014/main" id="{C2B463E1-22A9-4169-A712-E1E4E0D64A94}"/>
                </a:ext>
              </a:extLst>
            </p:cNvPr>
            <p:cNvSpPr/>
            <p:nvPr/>
          </p:nvSpPr>
          <p:spPr>
            <a:xfrm>
              <a:off x="1112250" y="514363"/>
              <a:ext cx="249843" cy="143660"/>
            </a:xfrm>
            <a:custGeom>
              <a:avLst/>
              <a:gdLst>
                <a:gd name="connsiteX0" fmla="*/ 254481 w 249842"/>
                <a:gd name="connsiteY0" fmla="*/ 87695 h 143659"/>
                <a:gd name="connsiteX1" fmla="*/ 251296 w 249842"/>
                <a:gd name="connsiteY1" fmla="*/ 94441 h 143659"/>
                <a:gd name="connsiteX2" fmla="*/ 244238 w 249842"/>
                <a:gd name="connsiteY2" fmla="*/ 102810 h 143659"/>
                <a:gd name="connsiteX3" fmla="*/ 230184 w 249842"/>
                <a:gd name="connsiteY3" fmla="*/ 110868 h 143659"/>
                <a:gd name="connsiteX4" fmla="*/ 209260 w 249842"/>
                <a:gd name="connsiteY4" fmla="*/ 119550 h 143659"/>
                <a:gd name="connsiteX5" fmla="*/ 220628 w 249842"/>
                <a:gd name="connsiteY5" fmla="*/ 114865 h 143659"/>
                <a:gd name="connsiteX6" fmla="*/ 223376 w 249842"/>
                <a:gd name="connsiteY6" fmla="*/ 114928 h 143659"/>
                <a:gd name="connsiteX7" fmla="*/ 222252 w 249842"/>
                <a:gd name="connsiteY7" fmla="*/ 117364 h 143659"/>
                <a:gd name="connsiteX8" fmla="*/ 217380 w 249842"/>
                <a:gd name="connsiteY8" fmla="*/ 120299 h 143659"/>
                <a:gd name="connsiteX9" fmla="*/ 213195 w 249842"/>
                <a:gd name="connsiteY9" fmla="*/ 124047 h 143659"/>
                <a:gd name="connsiteX10" fmla="*/ 200016 w 249842"/>
                <a:gd name="connsiteY10" fmla="*/ 128669 h 143659"/>
                <a:gd name="connsiteX11" fmla="*/ 164788 w 249842"/>
                <a:gd name="connsiteY11" fmla="*/ 138912 h 143659"/>
                <a:gd name="connsiteX12" fmla="*/ 145300 w 249842"/>
                <a:gd name="connsiteY12" fmla="*/ 142848 h 143659"/>
                <a:gd name="connsiteX13" fmla="*/ 138304 w 249842"/>
                <a:gd name="connsiteY13" fmla="*/ 144846 h 143659"/>
                <a:gd name="connsiteX14" fmla="*/ 137867 w 249842"/>
                <a:gd name="connsiteY14" fmla="*/ 145034 h 143659"/>
                <a:gd name="connsiteX15" fmla="*/ 138867 w 249842"/>
                <a:gd name="connsiteY15" fmla="*/ 145783 h 143659"/>
                <a:gd name="connsiteX16" fmla="*/ 129497 w 249842"/>
                <a:gd name="connsiteY16" fmla="*/ 146470 h 143659"/>
                <a:gd name="connsiteX17" fmla="*/ 119566 w 249842"/>
                <a:gd name="connsiteY17" fmla="*/ 144784 h 143659"/>
                <a:gd name="connsiteX18" fmla="*/ 122065 w 249842"/>
                <a:gd name="connsiteY18" fmla="*/ 143410 h 143659"/>
                <a:gd name="connsiteX19" fmla="*/ 130497 w 249842"/>
                <a:gd name="connsiteY19" fmla="*/ 143410 h 143659"/>
                <a:gd name="connsiteX20" fmla="*/ 117380 w 249842"/>
                <a:gd name="connsiteY20" fmla="*/ 144846 h 143659"/>
                <a:gd name="connsiteX21" fmla="*/ 109885 w 249842"/>
                <a:gd name="connsiteY21" fmla="*/ 142910 h 143659"/>
                <a:gd name="connsiteX22" fmla="*/ 112945 w 249842"/>
                <a:gd name="connsiteY22" fmla="*/ 141473 h 143659"/>
                <a:gd name="connsiteX23" fmla="*/ 131059 w 249842"/>
                <a:gd name="connsiteY23" fmla="*/ 140287 h 143659"/>
                <a:gd name="connsiteX24" fmla="*/ 116693 w 249842"/>
                <a:gd name="connsiteY24" fmla="*/ 141099 h 143659"/>
                <a:gd name="connsiteX25" fmla="*/ 99891 w 249842"/>
                <a:gd name="connsiteY25" fmla="*/ 141099 h 143659"/>
                <a:gd name="connsiteX26" fmla="*/ 94894 w 249842"/>
                <a:gd name="connsiteY26" fmla="*/ 141973 h 143659"/>
                <a:gd name="connsiteX27" fmla="*/ 86337 w 249842"/>
                <a:gd name="connsiteY27" fmla="*/ 141973 h 143659"/>
                <a:gd name="connsiteX28" fmla="*/ 65663 w 249842"/>
                <a:gd name="connsiteY28" fmla="*/ 136164 h 143659"/>
                <a:gd name="connsiteX29" fmla="*/ 73470 w 249842"/>
                <a:gd name="connsiteY29" fmla="*/ 136039 h 143659"/>
                <a:gd name="connsiteX30" fmla="*/ 57480 w 249842"/>
                <a:gd name="connsiteY30" fmla="*/ 130355 h 143659"/>
                <a:gd name="connsiteX31" fmla="*/ 39304 w 249842"/>
                <a:gd name="connsiteY31" fmla="*/ 119737 h 143659"/>
                <a:gd name="connsiteX32" fmla="*/ 33433 w 249842"/>
                <a:gd name="connsiteY32" fmla="*/ 115677 h 143659"/>
                <a:gd name="connsiteX33" fmla="*/ 32059 w 249842"/>
                <a:gd name="connsiteY33" fmla="*/ 113054 h 143659"/>
                <a:gd name="connsiteX34" fmla="*/ 35494 w 249842"/>
                <a:gd name="connsiteY34" fmla="*/ 112929 h 143659"/>
                <a:gd name="connsiteX35" fmla="*/ 41241 w 249842"/>
                <a:gd name="connsiteY35" fmla="*/ 116364 h 143659"/>
                <a:gd name="connsiteX36" fmla="*/ 58917 w 249842"/>
                <a:gd name="connsiteY36" fmla="*/ 126920 h 143659"/>
                <a:gd name="connsiteX37" fmla="*/ 15070 w 249842"/>
                <a:gd name="connsiteY37" fmla="*/ 94441 h 143659"/>
                <a:gd name="connsiteX38" fmla="*/ 7512 w 249842"/>
                <a:gd name="connsiteY38" fmla="*/ 85446 h 143659"/>
                <a:gd name="connsiteX39" fmla="*/ 1516 w 249842"/>
                <a:gd name="connsiteY39" fmla="*/ 77139 h 143659"/>
                <a:gd name="connsiteX40" fmla="*/ 141 w 249842"/>
                <a:gd name="connsiteY40" fmla="*/ 73329 h 143659"/>
                <a:gd name="connsiteX41" fmla="*/ 1953 w 249842"/>
                <a:gd name="connsiteY41" fmla="*/ 72392 h 143659"/>
                <a:gd name="connsiteX42" fmla="*/ 1953 w 249842"/>
                <a:gd name="connsiteY42" fmla="*/ 72392 h 143659"/>
                <a:gd name="connsiteX43" fmla="*/ 4014 w 249842"/>
                <a:gd name="connsiteY43" fmla="*/ 69956 h 143659"/>
                <a:gd name="connsiteX44" fmla="*/ 1953 w 249842"/>
                <a:gd name="connsiteY44" fmla="*/ 47283 h 143659"/>
                <a:gd name="connsiteX45" fmla="*/ 891 w 249842"/>
                <a:gd name="connsiteY45" fmla="*/ 38601 h 143659"/>
                <a:gd name="connsiteX46" fmla="*/ 266 w 249842"/>
                <a:gd name="connsiteY46" fmla="*/ 37227 h 143659"/>
                <a:gd name="connsiteX47" fmla="*/ 454 w 249842"/>
                <a:gd name="connsiteY47" fmla="*/ 19675 h 143659"/>
                <a:gd name="connsiteX48" fmla="*/ 641 w 249842"/>
                <a:gd name="connsiteY48" fmla="*/ 12367 h 143659"/>
                <a:gd name="connsiteX49" fmla="*/ 2577 w 249842"/>
                <a:gd name="connsiteY49" fmla="*/ 9307 h 143659"/>
                <a:gd name="connsiteX50" fmla="*/ 7262 w 249842"/>
                <a:gd name="connsiteY50" fmla="*/ 874 h 143659"/>
                <a:gd name="connsiteX51" fmla="*/ 8386 w 249842"/>
                <a:gd name="connsiteY51" fmla="*/ 0 h 143659"/>
                <a:gd name="connsiteX52" fmla="*/ 9635 w 249842"/>
                <a:gd name="connsiteY52" fmla="*/ 6746 h 143659"/>
                <a:gd name="connsiteX53" fmla="*/ 12696 w 249842"/>
                <a:gd name="connsiteY53" fmla="*/ 21237 h 143659"/>
                <a:gd name="connsiteX54" fmla="*/ 15881 w 249842"/>
                <a:gd name="connsiteY54" fmla="*/ 25172 h 143659"/>
                <a:gd name="connsiteX55" fmla="*/ 16694 w 249842"/>
                <a:gd name="connsiteY55" fmla="*/ 31543 h 143659"/>
                <a:gd name="connsiteX56" fmla="*/ 14195 w 249842"/>
                <a:gd name="connsiteY56" fmla="*/ 39413 h 143659"/>
                <a:gd name="connsiteX57" fmla="*/ 14008 w 249842"/>
                <a:gd name="connsiteY57" fmla="*/ 48969 h 143659"/>
                <a:gd name="connsiteX58" fmla="*/ 18255 w 249842"/>
                <a:gd name="connsiteY58" fmla="*/ 79512 h 143659"/>
                <a:gd name="connsiteX59" fmla="*/ 19129 w 249842"/>
                <a:gd name="connsiteY59" fmla="*/ 81261 h 143659"/>
                <a:gd name="connsiteX60" fmla="*/ 18880 w 249842"/>
                <a:gd name="connsiteY60" fmla="*/ 86071 h 143659"/>
                <a:gd name="connsiteX61" fmla="*/ 14695 w 249842"/>
                <a:gd name="connsiteY61" fmla="*/ 83447 h 143659"/>
                <a:gd name="connsiteX62" fmla="*/ 14070 w 249842"/>
                <a:gd name="connsiteY62" fmla="*/ 82698 h 143659"/>
                <a:gd name="connsiteX63" fmla="*/ 20816 w 249842"/>
                <a:gd name="connsiteY63" fmla="*/ 86820 h 143659"/>
                <a:gd name="connsiteX64" fmla="*/ 28374 w 249842"/>
                <a:gd name="connsiteY64" fmla="*/ 93004 h 143659"/>
                <a:gd name="connsiteX65" fmla="*/ 41990 w 249842"/>
                <a:gd name="connsiteY65" fmla="*/ 105621 h 143659"/>
                <a:gd name="connsiteX66" fmla="*/ 25875 w 249842"/>
                <a:gd name="connsiteY66" fmla="*/ 89943 h 143659"/>
                <a:gd name="connsiteX67" fmla="*/ 25563 w 249842"/>
                <a:gd name="connsiteY67" fmla="*/ 85134 h 143659"/>
                <a:gd name="connsiteX68" fmla="*/ 30747 w 249842"/>
                <a:gd name="connsiteY68" fmla="*/ 86071 h 143659"/>
                <a:gd name="connsiteX69" fmla="*/ 36868 w 249842"/>
                <a:gd name="connsiteY69" fmla="*/ 90693 h 143659"/>
                <a:gd name="connsiteX70" fmla="*/ 39054 w 249842"/>
                <a:gd name="connsiteY70" fmla="*/ 93441 h 143659"/>
                <a:gd name="connsiteX71" fmla="*/ 45738 w 249842"/>
                <a:gd name="connsiteY71" fmla="*/ 99562 h 143659"/>
                <a:gd name="connsiteX72" fmla="*/ 60041 w 249842"/>
                <a:gd name="connsiteY72" fmla="*/ 106558 h 143659"/>
                <a:gd name="connsiteX73" fmla="*/ 71784 w 249842"/>
                <a:gd name="connsiteY73" fmla="*/ 114678 h 143659"/>
                <a:gd name="connsiteX74" fmla="*/ 75406 w 249842"/>
                <a:gd name="connsiteY74" fmla="*/ 115865 h 143659"/>
                <a:gd name="connsiteX75" fmla="*/ 79217 w 249842"/>
                <a:gd name="connsiteY75" fmla="*/ 120049 h 143659"/>
                <a:gd name="connsiteX76" fmla="*/ 79029 w 249842"/>
                <a:gd name="connsiteY76" fmla="*/ 124484 h 143659"/>
                <a:gd name="connsiteX77" fmla="*/ 79779 w 249842"/>
                <a:gd name="connsiteY77" fmla="*/ 127982 h 143659"/>
                <a:gd name="connsiteX78" fmla="*/ 66350 w 249842"/>
                <a:gd name="connsiteY78" fmla="*/ 123422 h 143659"/>
                <a:gd name="connsiteX79" fmla="*/ 90210 w 249842"/>
                <a:gd name="connsiteY79" fmla="*/ 130043 h 143659"/>
                <a:gd name="connsiteX80" fmla="*/ 94332 w 249842"/>
                <a:gd name="connsiteY80" fmla="*/ 130855 h 143659"/>
                <a:gd name="connsiteX81" fmla="*/ 126312 w 249842"/>
                <a:gd name="connsiteY81" fmla="*/ 134915 h 143659"/>
                <a:gd name="connsiteX82" fmla="*/ 127811 w 249842"/>
                <a:gd name="connsiteY82" fmla="*/ 134353 h 143659"/>
                <a:gd name="connsiteX83" fmla="*/ 134120 w 249842"/>
                <a:gd name="connsiteY83" fmla="*/ 134290 h 143659"/>
                <a:gd name="connsiteX84" fmla="*/ 135931 w 249842"/>
                <a:gd name="connsiteY84" fmla="*/ 135415 h 143659"/>
                <a:gd name="connsiteX85" fmla="*/ 135931 w 249842"/>
                <a:gd name="connsiteY85" fmla="*/ 135852 h 143659"/>
                <a:gd name="connsiteX86" fmla="*/ 135931 w 249842"/>
                <a:gd name="connsiteY86" fmla="*/ 136477 h 143659"/>
                <a:gd name="connsiteX87" fmla="*/ 172908 w 249842"/>
                <a:gd name="connsiteY87" fmla="*/ 130980 h 143659"/>
                <a:gd name="connsiteX88" fmla="*/ 184026 w 249842"/>
                <a:gd name="connsiteY88" fmla="*/ 127795 h 143659"/>
                <a:gd name="connsiteX89" fmla="*/ 188648 w 249842"/>
                <a:gd name="connsiteY89" fmla="*/ 124547 h 143659"/>
                <a:gd name="connsiteX90" fmla="*/ 199079 w 249842"/>
                <a:gd name="connsiteY90" fmla="*/ 118550 h 143659"/>
                <a:gd name="connsiteX91" fmla="*/ 215943 w 249842"/>
                <a:gd name="connsiteY91" fmla="*/ 112242 h 143659"/>
                <a:gd name="connsiteX92" fmla="*/ 247923 w 249842"/>
                <a:gd name="connsiteY92" fmla="*/ 93566 h 143659"/>
                <a:gd name="connsiteX93" fmla="*/ 254481 w 249842"/>
                <a:gd name="connsiteY93" fmla="*/ 87695 h 14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49842" h="143659">
                  <a:moveTo>
                    <a:pt x="254481" y="87695"/>
                  </a:moveTo>
                  <a:cubicBezTo>
                    <a:pt x="255231" y="90693"/>
                    <a:pt x="251296" y="91817"/>
                    <a:pt x="251296" y="94441"/>
                  </a:cubicBezTo>
                  <a:cubicBezTo>
                    <a:pt x="252857" y="99937"/>
                    <a:pt x="247423" y="100562"/>
                    <a:pt x="244238" y="102810"/>
                  </a:cubicBezTo>
                  <a:cubicBezTo>
                    <a:pt x="238679" y="104247"/>
                    <a:pt x="234306" y="107432"/>
                    <a:pt x="230184" y="110868"/>
                  </a:cubicBezTo>
                  <a:cubicBezTo>
                    <a:pt x="223001" y="114740"/>
                    <a:pt x="214881" y="116677"/>
                    <a:pt x="209260" y="119550"/>
                  </a:cubicBezTo>
                  <a:cubicBezTo>
                    <a:pt x="212070" y="118738"/>
                    <a:pt x="216318" y="116739"/>
                    <a:pt x="220628" y="114865"/>
                  </a:cubicBezTo>
                  <a:cubicBezTo>
                    <a:pt x="221564" y="114490"/>
                    <a:pt x="222689" y="113741"/>
                    <a:pt x="223376" y="114928"/>
                  </a:cubicBezTo>
                  <a:cubicBezTo>
                    <a:pt x="224000" y="115927"/>
                    <a:pt x="223064" y="116739"/>
                    <a:pt x="222252" y="117364"/>
                  </a:cubicBezTo>
                  <a:cubicBezTo>
                    <a:pt x="220815" y="118613"/>
                    <a:pt x="218629" y="118800"/>
                    <a:pt x="217380" y="120299"/>
                  </a:cubicBezTo>
                  <a:cubicBezTo>
                    <a:pt x="216193" y="121736"/>
                    <a:pt x="214257" y="122423"/>
                    <a:pt x="213195" y="124047"/>
                  </a:cubicBezTo>
                  <a:cubicBezTo>
                    <a:pt x="209572" y="127357"/>
                    <a:pt x="204513" y="127420"/>
                    <a:pt x="200016" y="128669"/>
                  </a:cubicBezTo>
                  <a:cubicBezTo>
                    <a:pt x="188210" y="131917"/>
                    <a:pt x="176843" y="136227"/>
                    <a:pt x="164788" y="138912"/>
                  </a:cubicBezTo>
                  <a:cubicBezTo>
                    <a:pt x="158292" y="140349"/>
                    <a:pt x="151359" y="139849"/>
                    <a:pt x="145300" y="142848"/>
                  </a:cubicBezTo>
                  <a:cubicBezTo>
                    <a:pt x="142926" y="143535"/>
                    <a:pt x="140615" y="144159"/>
                    <a:pt x="138304" y="144846"/>
                  </a:cubicBezTo>
                  <a:cubicBezTo>
                    <a:pt x="138179" y="144909"/>
                    <a:pt x="137930" y="144971"/>
                    <a:pt x="137867" y="145034"/>
                  </a:cubicBezTo>
                  <a:cubicBezTo>
                    <a:pt x="137742" y="145783"/>
                    <a:pt x="138429" y="145658"/>
                    <a:pt x="138867" y="145783"/>
                  </a:cubicBezTo>
                  <a:cubicBezTo>
                    <a:pt x="135868" y="147657"/>
                    <a:pt x="130809" y="147719"/>
                    <a:pt x="129497" y="146470"/>
                  </a:cubicBezTo>
                  <a:cubicBezTo>
                    <a:pt x="126187" y="143347"/>
                    <a:pt x="122689" y="145783"/>
                    <a:pt x="119566" y="144784"/>
                  </a:cubicBezTo>
                  <a:cubicBezTo>
                    <a:pt x="119379" y="142848"/>
                    <a:pt x="121065" y="143410"/>
                    <a:pt x="122065" y="143410"/>
                  </a:cubicBezTo>
                  <a:cubicBezTo>
                    <a:pt x="125250" y="143347"/>
                    <a:pt x="128498" y="143347"/>
                    <a:pt x="130497" y="143410"/>
                  </a:cubicBezTo>
                  <a:cubicBezTo>
                    <a:pt x="126999" y="144409"/>
                    <a:pt x="121815" y="141786"/>
                    <a:pt x="117380" y="144846"/>
                  </a:cubicBezTo>
                  <a:cubicBezTo>
                    <a:pt x="114882" y="144159"/>
                    <a:pt x="111446" y="146470"/>
                    <a:pt x="109885" y="142910"/>
                  </a:cubicBezTo>
                  <a:cubicBezTo>
                    <a:pt x="110447" y="141661"/>
                    <a:pt x="111696" y="141598"/>
                    <a:pt x="112945" y="141473"/>
                  </a:cubicBezTo>
                  <a:cubicBezTo>
                    <a:pt x="118629" y="140786"/>
                    <a:pt x="124313" y="141161"/>
                    <a:pt x="131059" y="140287"/>
                  </a:cubicBezTo>
                  <a:cubicBezTo>
                    <a:pt x="125562" y="140786"/>
                    <a:pt x="121128" y="140849"/>
                    <a:pt x="116693" y="141099"/>
                  </a:cubicBezTo>
                  <a:cubicBezTo>
                    <a:pt x="111072" y="141473"/>
                    <a:pt x="105513" y="142598"/>
                    <a:pt x="99891" y="141099"/>
                  </a:cubicBezTo>
                  <a:cubicBezTo>
                    <a:pt x="98330" y="140661"/>
                    <a:pt x="96331" y="140599"/>
                    <a:pt x="94894" y="141973"/>
                  </a:cubicBezTo>
                  <a:cubicBezTo>
                    <a:pt x="92021" y="142348"/>
                    <a:pt x="89210" y="139537"/>
                    <a:pt x="86337" y="141973"/>
                  </a:cubicBezTo>
                  <a:cubicBezTo>
                    <a:pt x="79154" y="140911"/>
                    <a:pt x="72346" y="138663"/>
                    <a:pt x="65663" y="136164"/>
                  </a:cubicBezTo>
                  <a:cubicBezTo>
                    <a:pt x="68161" y="135290"/>
                    <a:pt x="70285" y="138350"/>
                    <a:pt x="73470" y="136039"/>
                  </a:cubicBezTo>
                  <a:cubicBezTo>
                    <a:pt x="67786" y="134041"/>
                    <a:pt x="62602" y="132229"/>
                    <a:pt x="57480" y="130355"/>
                  </a:cubicBezTo>
                  <a:cubicBezTo>
                    <a:pt x="50859" y="127607"/>
                    <a:pt x="44551" y="124422"/>
                    <a:pt x="39304" y="119737"/>
                  </a:cubicBezTo>
                  <a:cubicBezTo>
                    <a:pt x="37243" y="118550"/>
                    <a:pt x="35619" y="116801"/>
                    <a:pt x="33433" y="115677"/>
                  </a:cubicBezTo>
                  <a:cubicBezTo>
                    <a:pt x="32496" y="115177"/>
                    <a:pt x="30997" y="114303"/>
                    <a:pt x="32059" y="113054"/>
                  </a:cubicBezTo>
                  <a:cubicBezTo>
                    <a:pt x="32871" y="111992"/>
                    <a:pt x="34370" y="112492"/>
                    <a:pt x="35494" y="112929"/>
                  </a:cubicBezTo>
                  <a:cubicBezTo>
                    <a:pt x="37618" y="113803"/>
                    <a:pt x="39554" y="114928"/>
                    <a:pt x="41241" y="116364"/>
                  </a:cubicBezTo>
                  <a:cubicBezTo>
                    <a:pt x="46487" y="120799"/>
                    <a:pt x="53233" y="123110"/>
                    <a:pt x="58917" y="126920"/>
                  </a:cubicBezTo>
                  <a:cubicBezTo>
                    <a:pt x="43801" y="116614"/>
                    <a:pt x="26750" y="108432"/>
                    <a:pt x="15070" y="94441"/>
                  </a:cubicBezTo>
                  <a:cubicBezTo>
                    <a:pt x="12696" y="91380"/>
                    <a:pt x="9698" y="88694"/>
                    <a:pt x="7512" y="85446"/>
                  </a:cubicBezTo>
                  <a:cubicBezTo>
                    <a:pt x="5700" y="82573"/>
                    <a:pt x="3140" y="80137"/>
                    <a:pt x="1516" y="77139"/>
                  </a:cubicBezTo>
                  <a:cubicBezTo>
                    <a:pt x="1141" y="75827"/>
                    <a:pt x="-483" y="74890"/>
                    <a:pt x="141" y="73329"/>
                  </a:cubicBezTo>
                  <a:cubicBezTo>
                    <a:pt x="516" y="72642"/>
                    <a:pt x="953" y="72142"/>
                    <a:pt x="1953" y="72392"/>
                  </a:cubicBezTo>
                  <a:lnTo>
                    <a:pt x="1953" y="72392"/>
                  </a:lnTo>
                  <a:cubicBezTo>
                    <a:pt x="4764" y="73017"/>
                    <a:pt x="4701" y="71330"/>
                    <a:pt x="4014" y="69956"/>
                  </a:cubicBezTo>
                  <a:cubicBezTo>
                    <a:pt x="391" y="62586"/>
                    <a:pt x="2203" y="54840"/>
                    <a:pt x="1953" y="47283"/>
                  </a:cubicBezTo>
                  <a:cubicBezTo>
                    <a:pt x="2140" y="44347"/>
                    <a:pt x="1953" y="41411"/>
                    <a:pt x="891" y="38601"/>
                  </a:cubicBezTo>
                  <a:cubicBezTo>
                    <a:pt x="516" y="38226"/>
                    <a:pt x="266" y="37726"/>
                    <a:pt x="266" y="37227"/>
                  </a:cubicBezTo>
                  <a:cubicBezTo>
                    <a:pt x="329" y="31355"/>
                    <a:pt x="454" y="25546"/>
                    <a:pt x="454" y="19675"/>
                  </a:cubicBezTo>
                  <a:cubicBezTo>
                    <a:pt x="704" y="17239"/>
                    <a:pt x="17" y="14803"/>
                    <a:pt x="641" y="12367"/>
                  </a:cubicBezTo>
                  <a:cubicBezTo>
                    <a:pt x="1266" y="11368"/>
                    <a:pt x="1765" y="10244"/>
                    <a:pt x="2577" y="9307"/>
                  </a:cubicBezTo>
                  <a:cubicBezTo>
                    <a:pt x="6637" y="7620"/>
                    <a:pt x="5576" y="3623"/>
                    <a:pt x="7262" y="874"/>
                  </a:cubicBezTo>
                  <a:cubicBezTo>
                    <a:pt x="7574" y="500"/>
                    <a:pt x="7887" y="187"/>
                    <a:pt x="8386" y="0"/>
                  </a:cubicBezTo>
                  <a:cubicBezTo>
                    <a:pt x="11572" y="1811"/>
                    <a:pt x="10073" y="4435"/>
                    <a:pt x="9635" y="6746"/>
                  </a:cubicBezTo>
                  <a:cubicBezTo>
                    <a:pt x="8636" y="11930"/>
                    <a:pt x="8136" y="16989"/>
                    <a:pt x="12696" y="21237"/>
                  </a:cubicBezTo>
                  <a:cubicBezTo>
                    <a:pt x="14195" y="22236"/>
                    <a:pt x="14570" y="24047"/>
                    <a:pt x="15881" y="25172"/>
                  </a:cubicBezTo>
                  <a:cubicBezTo>
                    <a:pt x="17131" y="27170"/>
                    <a:pt x="17755" y="29294"/>
                    <a:pt x="16694" y="31543"/>
                  </a:cubicBezTo>
                  <a:cubicBezTo>
                    <a:pt x="13695" y="33604"/>
                    <a:pt x="13758" y="36477"/>
                    <a:pt x="14195" y="39413"/>
                  </a:cubicBezTo>
                  <a:cubicBezTo>
                    <a:pt x="14695" y="42598"/>
                    <a:pt x="14070" y="45784"/>
                    <a:pt x="14008" y="48969"/>
                  </a:cubicBezTo>
                  <a:cubicBezTo>
                    <a:pt x="13820" y="59275"/>
                    <a:pt x="12321" y="69831"/>
                    <a:pt x="18255" y="79512"/>
                  </a:cubicBezTo>
                  <a:cubicBezTo>
                    <a:pt x="18567" y="80075"/>
                    <a:pt x="18880" y="80699"/>
                    <a:pt x="19129" y="81261"/>
                  </a:cubicBezTo>
                  <a:cubicBezTo>
                    <a:pt x="19754" y="82885"/>
                    <a:pt x="21003" y="84946"/>
                    <a:pt x="18880" y="86071"/>
                  </a:cubicBezTo>
                  <a:cubicBezTo>
                    <a:pt x="16256" y="87445"/>
                    <a:pt x="16069" y="84384"/>
                    <a:pt x="14695" y="83447"/>
                  </a:cubicBezTo>
                  <a:cubicBezTo>
                    <a:pt x="14445" y="83260"/>
                    <a:pt x="14258" y="82948"/>
                    <a:pt x="14070" y="82698"/>
                  </a:cubicBezTo>
                  <a:cubicBezTo>
                    <a:pt x="15757" y="84759"/>
                    <a:pt x="16756" y="87070"/>
                    <a:pt x="20816" y="86820"/>
                  </a:cubicBezTo>
                  <a:cubicBezTo>
                    <a:pt x="24688" y="86633"/>
                    <a:pt x="26063" y="90693"/>
                    <a:pt x="28374" y="93004"/>
                  </a:cubicBezTo>
                  <a:cubicBezTo>
                    <a:pt x="32683" y="97439"/>
                    <a:pt x="36806" y="101998"/>
                    <a:pt x="41990" y="105621"/>
                  </a:cubicBezTo>
                  <a:cubicBezTo>
                    <a:pt x="35744" y="101124"/>
                    <a:pt x="30685" y="95627"/>
                    <a:pt x="25875" y="89943"/>
                  </a:cubicBezTo>
                  <a:cubicBezTo>
                    <a:pt x="24688" y="88507"/>
                    <a:pt x="23814" y="86570"/>
                    <a:pt x="25563" y="85134"/>
                  </a:cubicBezTo>
                  <a:cubicBezTo>
                    <a:pt x="27437" y="83635"/>
                    <a:pt x="29373" y="84822"/>
                    <a:pt x="30747" y="86071"/>
                  </a:cubicBezTo>
                  <a:cubicBezTo>
                    <a:pt x="32621" y="87820"/>
                    <a:pt x="34620" y="89381"/>
                    <a:pt x="36868" y="90693"/>
                  </a:cubicBezTo>
                  <a:cubicBezTo>
                    <a:pt x="37930" y="91380"/>
                    <a:pt x="38742" y="92317"/>
                    <a:pt x="39054" y="93441"/>
                  </a:cubicBezTo>
                  <a:cubicBezTo>
                    <a:pt x="39367" y="97189"/>
                    <a:pt x="42865" y="98001"/>
                    <a:pt x="45738" y="99562"/>
                  </a:cubicBezTo>
                  <a:cubicBezTo>
                    <a:pt x="50422" y="102061"/>
                    <a:pt x="54982" y="104684"/>
                    <a:pt x="60041" y="106558"/>
                  </a:cubicBezTo>
                  <a:cubicBezTo>
                    <a:pt x="65101" y="107870"/>
                    <a:pt x="67599" y="112242"/>
                    <a:pt x="71784" y="114678"/>
                  </a:cubicBezTo>
                  <a:cubicBezTo>
                    <a:pt x="72846" y="115490"/>
                    <a:pt x="74157" y="115615"/>
                    <a:pt x="75406" y="115865"/>
                  </a:cubicBezTo>
                  <a:cubicBezTo>
                    <a:pt x="77280" y="116864"/>
                    <a:pt x="79591" y="117426"/>
                    <a:pt x="79217" y="120049"/>
                  </a:cubicBezTo>
                  <a:cubicBezTo>
                    <a:pt x="77593" y="121486"/>
                    <a:pt x="75719" y="122735"/>
                    <a:pt x="79029" y="124484"/>
                  </a:cubicBezTo>
                  <a:cubicBezTo>
                    <a:pt x="80278" y="125109"/>
                    <a:pt x="81215" y="126483"/>
                    <a:pt x="79779" y="127982"/>
                  </a:cubicBezTo>
                  <a:cubicBezTo>
                    <a:pt x="75032" y="127420"/>
                    <a:pt x="70972" y="124984"/>
                    <a:pt x="66350" y="123422"/>
                  </a:cubicBezTo>
                  <a:cubicBezTo>
                    <a:pt x="74095" y="126670"/>
                    <a:pt x="81778" y="129606"/>
                    <a:pt x="90210" y="130043"/>
                  </a:cubicBezTo>
                  <a:cubicBezTo>
                    <a:pt x="91646" y="130043"/>
                    <a:pt x="93020" y="130168"/>
                    <a:pt x="94332" y="130855"/>
                  </a:cubicBezTo>
                  <a:cubicBezTo>
                    <a:pt x="104388" y="136164"/>
                    <a:pt x="115256" y="136164"/>
                    <a:pt x="126312" y="134915"/>
                  </a:cubicBezTo>
                  <a:cubicBezTo>
                    <a:pt x="126812" y="134728"/>
                    <a:pt x="127311" y="134540"/>
                    <a:pt x="127811" y="134353"/>
                  </a:cubicBezTo>
                  <a:cubicBezTo>
                    <a:pt x="129935" y="133603"/>
                    <a:pt x="131996" y="133978"/>
                    <a:pt x="134120" y="134290"/>
                  </a:cubicBezTo>
                  <a:cubicBezTo>
                    <a:pt x="134869" y="134478"/>
                    <a:pt x="135494" y="134790"/>
                    <a:pt x="135931" y="135415"/>
                  </a:cubicBezTo>
                  <a:cubicBezTo>
                    <a:pt x="135931" y="135540"/>
                    <a:pt x="135993" y="135789"/>
                    <a:pt x="135931" y="135852"/>
                  </a:cubicBezTo>
                  <a:cubicBezTo>
                    <a:pt x="135619" y="136164"/>
                    <a:pt x="135556" y="136477"/>
                    <a:pt x="135931" y="136477"/>
                  </a:cubicBezTo>
                  <a:cubicBezTo>
                    <a:pt x="148610" y="136477"/>
                    <a:pt x="160790" y="134041"/>
                    <a:pt x="172908" y="130980"/>
                  </a:cubicBezTo>
                  <a:cubicBezTo>
                    <a:pt x="176655" y="130043"/>
                    <a:pt x="180340" y="128856"/>
                    <a:pt x="184026" y="127795"/>
                  </a:cubicBezTo>
                  <a:cubicBezTo>
                    <a:pt x="185837" y="127295"/>
                    <a:pt x="188460" y="127170"/>
                    <a:pt x="188648" y="124547"/>
                  </a:cubicBezTo>
                  <a:cubicBezTo>
                    <a:pt x="190896" y="120799"/>
                    <a:pt x="195393" y="120112"/>
                    <a:pt x="199079" y="118550"/>
                  </a:cubicBezTo>
                  <a:cubicBezTo>
                    <a:pt x="204575" y="116177"/>
                    <a:pt x="209697" y="112991"/>
                    <a:pt x="215943" y="112242"/>
                  </a:cubicBezTo>
                  <a:cubicBezTo>
                    <a:pt x="227748" y="107620"/>
                    <a:pt x="239428" y="102935"/>
                    <a:pt x="247923" y="93566"/>
                  </a:cubicBezTo>
                  <a:cubicBezTo>
                    <a:pt x="249797" y="91130"/>
                    <a:pt x="252295" y="89506"/>
                    <a:pt x="254481" y="87695"/>
                  </a:cubicBezTo>
                  <a:close/>
                </a:path>
              </a:pathLst>
            </a:custGeom>
            <a:grpFill/>
            <a:ln w="6246" cap="flat">
              <a:noFill/>
              <a:prstDash val="solid"/>
              <a:miter/>
            </a:ln>
          </p:spPr>
          <p:txBody>
            <a:bodyPr rtlCol="0" anchor="ctr"/>
            <a:lstStyle/>
            <a:p>
              <a:endParaRPr lang="fr-FR" sz="2400"/>
            </a:p>
          </p:txBody>
        </p:sp>
        <p:sp>
          <p:nvSpPr>
            <p:cNvPr id="355" name="Freeform: Shape 354">
              <a:extLst>
                <a:ext uri="{FF2B5EF4-FFF2-40B4-BE49-F238E27FC236}">
                  <a16:creationId xmlns:a16="http://schemas.microsoft.com/office/drawing/2014/main" id="{794539BC-1F7B-4EEC-8E86-3503C83E35B3}"/>
                </a:ext>
              </a:extLst>
            </p:cNvPr>
            <p:cNvSpPr/>
            <p:nvPr/>
          </p:nvSpPr>
          <p:spPr>
            <a:xfrm>
              <a:off x="1147081" y="636884"/>
              <a:ext cx="62461" cy="24984"/>
            </a:xfrm>
            <a:custGeom>
              <a:avLst/>
              <a:gdLst>
                <a:gd name="connsiteX0" fmla="*/ 288 w 62460"/>
                <a:gd name="connsiteY0" fmla="*/ 1900 h 24984"/>
                <a:gd name="connsiteX1" fmla="*/ 2225 w 62460"/>
                <a:gd name="connsiteY1" fmla="*/ 526 h 24984"/>
                <a:gd name="connsiteX2" fmla="*/ 11844 w 62460"/>
                <a:gd name="connsiteY2" fmla="*/ 6210 h 24984"/>
                <a:gd name="connsiteX3" fmla="*/ 17340 w 62460"/>
                <a:gd name="connsiteY3" fmla="*/ 8708 h 24984"/>
                <a:gd name="connsiteX4" fmla="*/ 44261 w 62460"/>
                <a:gd name="connsiteY4" fmla="*/ 20201 h 24984"/>
                <a:gd name="connsiteX5" fmla="*/ 67996 w 62460"/>
                <a:gd name="connsiteY5" fmla="*/ 26135 h 24984"/>
                <a:gd name="connsiteX6" fmla="*/ 61188 w 62460"/>
                <a:gd name="connsiteY6" fmla="*/ 26135 h 24984"/>
                <a:gd name="connsiteX7" fmla="*/ 10907 w 62460"/>
                <a:gd name="connsiteY7" fmla="*/ 8708 h 24984"/>
                <a:gd name="connsiteX8" fmla="*/ 288 w 62460"/>
                <a:gd name="connsiteY8" fmla="*/ 190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0" h="24984">
                  <a:moveTo>
                    <a:pt x="288" y="1900"/>
                  </a:moveTo>
                  <a:cubicBezTo>
                    <a:pt x="-586" y="-286"/>
                    <a:pt x="663" y="-349"/>
                    <a:pt x="2225" y="526"/>
                  </a:cubicBezTo>
                  <a:cubicBezTo>
                    <a:pt x="5473" y="2337"/>
                    <a:pt x="8721" y="4149"/>
                    <a:pt x="11844" y="6210"/>
                  </a:cubicBezTo>
                  <a:cubicBezTo>
                    <a:pt x="13593" y="7334"/>
                    <a:pt x="15154" y="8458"/>
                    <a:pt x="17340" y="8708"/>
                  </a:cubicBezTo>
                  <a:cubicBezTo>
                    <a:pt x="24960" y="15142"/>
                    <a:pt x="34829" y="17390"/>
                    <a:pt x="44261" y="20201"/>
                  </a:cubicBezTo>
                  <a:cubicBezTo>
                    <a:pt x="52006" y="22512"/>
                    <a:pt x="60126" y="23824"/>
                    <a:pt x="67996" y="26135"/>
                  </a:cubicBezTo>
                  <a:cubicBezTo>
                    <a:pt x="65747" y="26135"/>
                    <a:pt x="63499" y="26135"/>
                    <a:pt x="61188" y="26135"/>
                  </a:cubicBezTo>
                  <a:cubicBezTo>
                    <a:pt x="43386" y="22762"/>
                    <a:pt x="26147" y="18140"/>
                    <a:pt x="10907" y="8708"/>
                  </a:cubicBezTo>
                  <a:cubicBezTo>
                    <a:pt x="7159" y="6772"/>
                    <a:pt x="2662" y="5710"/>
                    <a:pt x="288" y="1900"/>
                  </a:cubicBezTo>
                  <a:close/>
                </a:path>
              </a:pathLst>
            </a:custGeom>
            <a:grpFill/>
            <a:ln w="6246" cap="flat">
              <a:noFill/>
              <a:prstDash val="solid"/>
              <a:miter/>
            </a:ln>
          </p:spPr>
          <p:txBody>
            <a:bodyPr rtlCol="0" anchor="ctr"/>
            <a:lstStyle/>
            <a:p>
              <a:endParaRPr lang="fr-FR" sz="2400"/>
            </a:p>
          </p:txBody>
        </p:sp>
        <p:sp>
          <p:nvSpPr>
            <p:cNvPr id="356" name="Freeform: Shape 355">
              <a:extLst>
                <a:ext uri="{FF2B5EF4-FFF2-40B4-BE49-F238E27FC236}">
                  <a16:creationId xmlns:a16="http://schemas.microsoft.com/office/drawing/2014/main" id="{BDF84445-2E2B-4FAA-8F8F-A263F4EE89B0}"/>
                </a:ext>
              </a:extLst>
            </p:cNvPr>
            <p:cNvSpPr/>
            <p:nvPr/>
          </p:nvSpPr>
          <p:spPr>
            <a:xfrm>
              <a:off x="1145184" y="638784"/>
              <a:ext cx="12492" cy="6246"/>
            </a:xfrm>
            <a:custGeom>
              <a:avLst/>
              <a:gdLst>
                <a:gd name="connsiteX0" fmla="*/ 2186 w 12492"/>
                <a:gd name="connsiteY0" fmla="*/ 0 h 6246"/>
                <a:gd name="connsiteX1" fmla="*/ 12867 w 12492"/>
                <a:gd name="connsiteY1" fmla="*/ 6746 h 6246"/>
                <a:gd name="connsiteX2" fmla="*/ 0 w 12492"/>
                <a:gd name="connsiteY2" fmla="*/ 2873 h 6246"/>
                <a:gd name="connsiteX3" fmla="*/ 0 w 12492"/>
                <a:gd name="connsiteY3" fmla="*/ 937 h 6246"/>
                <a:gd name="connsiteX4" fmla="*/ 2186 w 12492"/>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186" y="0"/>
                  </a:moveTo>
                  <a:cubicBezTo>
                    <a:pt x="5746" y="2249"/>
                    <a:pt x="9307" y="4497"/>
                    <a:pt x="12867" y="6746"/>
                  </a:cubicBezTo>
                  <a:cubicBezTo>
                    <a:pt x="8495" y="5684"/>
                    <a:pt x="3873" y="5434"/>
                    <a:pt x="0" y="2873"/>
                  </a:cubicBezTo>
                  <a:cubicBezTo>
                    <a:pt x="0" y="2249"/>
                    <a:pt x="0" y="1562"/>
                    <a:pt x="0" y="937"/>
                  </a:cubicBezTo>
                  <a:cubicBezTo>
                    <a:pt x="812" y="625"/>
                    <a:pt x="1499" y="312"/>
                    <a:pt x="2186" y="0"/>
                  </a:cubicBezTo>
                  <a:close/>
                </a:path>
              </a:pathLst>
            </a:custGeom>
            <a:grpFill/>
            <a:ln w="6246" cap="flat">
              <a:noFill/>
              <a:prstDash val="solid"/>
              <a:miter/>
            </a:ln>
          </p:spPr>
          <p:txBody>
            <a:bodyPr rtlCol="0" anchor="ctr"/>
            <a:lstStyle/>
            <a:p>
              <a:endParaRPr lang="fr-FR" sz="2400"/>
            </a:p>
          </p:txBody>
        </p:sp>
        <p:sp>
          <p:nvSpPr>
            <p:cNvPr id="357" name="Freeform: Shape 356">
              <a:extLst>
                <a:ext uri="{FF2B5EF4-FFF2-40B4-BE49-F238E27FC236}">
                  <a16:creationId xmlns:a16="http://schemas.microsoft.com/office/drawing/2014/main" id="{CFD4C44D-7CCA-4B8C-9795-79072B971D52}"/>
                </a:ext>
              </a:extLst>
            </p:cNvPr>
            <p:cNvSpPr/>
            <p:nvPr/>
          </p:nvSpPr>
          <p:spPr>
            <a:xfrm>
              <a:off x="1307831" y="636667"/>
              <a:ext cx="31230" cy="12492"/>
            </a:xfrm>
            <a:custGeom>
              <a:avLst/>
              <a:gdLst>
                <a:gd name="connsiteX0" fmla="*/ 27857 w 31230"/>
                <a:gd name="connsiteY0" fmla="*/ 181 h 12492"/>
                <a:gd name="connsiteX1" fmla="*/ 32105 w 31230"/>
                <a:gd name="connsiteY1" fmla="*/ 1118 h 12492"/>
                <a:gd name="connsiteX2" fmla="*/ 0 w 31230"/>
                <a:gd name="connsiteY2" fmla="*/ 13673 h 12492"/>
                <a:gd name="connsiteX3" fmla="*/ 3185 w 31230"/>
                <a:gd name="connsiteY3" fmla="*/ 10800 h 12492"/>
                <a:gd name="connsiteX4" fmla="*/ 18363 w 31230"/>
                <a:gd name="connsiteY4" fmla="*/ 3492 h 12492"/>
                <a:gd name="connsiteX5" fmla="*/ 27857 w 31230"/>
                <a:gd name="connsiteY5" fmla="*/ 1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27857" y="181"/>
                  </a:moveTo>
                  <a:cubicBezTo>
                    <a:pt x="28857" y="1993"/>
                    <a:pt x="31105" y="-693"/>
                    <a:pt x="32105" y="1118"/>
                  </a:cubicBezTo>
                  <a:cubicBezTo>
                    <a:pt x="21986" y="6552"/>
                    <a:pt x="11555" y="11299"/>
                    <a:pt x="0" y="13673"/>
                  </a:cubicBezTo>
                  <a:cubicBezTo>
                    <a:pt x="1062" y="12736"/>
                    <a:pt x="2124" y="11736"/>
                    <a:pt x="3185" y="10800"/>
                  </a:cubicBezTo>
                  <a:cubicBezTo>
                    <a:pt x="7308" y="6802"/>
                    <a:pt x="13242" y="5865"/>
                    <a:pt x="18363" y="3492"/>
                  </a:cubicBezTo>
                  <a:cubicBezTo>
                    <a:pt x="21362" y="2180"/>
                    <a:pt x="23860" y="-756"/>
                    <a:pt x="27857" y="181"/>
                  </a:cubicBezTo>
                  <a:close/>
                </a:path>
              </a:pathLst>
            </a:custGeom>
            <a:grpFill/>
            <a:ln w="6246" cap="flat">
              <a:noFill/>
              <a:prstDash val="solid"/>
              <a:miter/>
            </a:ln>
          </p:spPr>
          <p:txBody>
            <a:bodyPr rtlCol="0" anchor="ctr"/>
            <a:lstStyle/>
            <a:p>
              <a:endParaRPr lang="fr-FR" sz="2400"/>
            </a:p>
          </p:txBody>
        </p:sp>
        <p:sp>
          <p:nvSpPr>
            <p:cNvPr id="358" name="Freeform: Shape 357">
              <a:extLst>
                <a:ext uri="{FF2B5EF4-FFF2-40B4-BE49-F238E27FC236}">
                  <a16:creationId xmlns:a16="http://schemas.microsoft.com/office/drawing/2014/main" id="{20A4FAE3-3C08-43F1-BDB5-A2EB0E20957F}"/>
                </a:ext>
              </a:extLst>
            </p:cNvPr>
            <p:cNvSpPr/>
            <p:nvPr/>
          </p:nvSpPr>
          <p:spPr>
            <a:xfrm>
              <a:off x="1207086" y="654221"/>
              <a:ext cx="31230" cy="6246"/>
            </a:xfrm>
            <a:custGeom>
              <a:avLst/>
              <a:gdLst>
                <a:gd name="connsiteX0" fmla="*/ 246 w 31230"/>
                <a:gd name="connsiteY0" fmla="*/ 1990 h 0"/>
                <a:gd name="connsiteX1" fmla="*/ 1932 w 31230"/>
                <a:gd name="connsiteY1" fmla="*/ 53 h 0"/>
                <a:gd name="connsiteX2" fmla="*/ 37473 w 31230"/>
                <a:gd name="connsiteY2" fmla="*/ 366 h 0"/>
                <a:gd name="connsiteX3" fmla="*/ 21420 w 31230"/>
                <a:gd name="connsiteY3" fmla="*/ 1927 h 0"/>
                <a:gd name="connsiteX4" fmla="*/ 15174 w 31230"/>
                <a:gd name="connsiteY4" fmla="*/ 2864 h 0"/>
                <a:gd name="connsiteX5" fmla="*/ 246 w 31230"/>
                <a:gd name="connsiteY5" fmla="*/ 19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a:moveTo>
                    <a:pt x="246" y="1990"/>
                  </a:moveTo>
                  <a:cubicBezTo>
                    <a:pt x="-441" y="428"/>
                    <a:pt x="371" y="-196"/>
                    <a:pt x="1932" y="53"/>
                  </a:cubicBezTo>
                  <a:cubicBezTo>
                    <a:pt x="13738" y="2302"/>
                    <a:pt x="25605" y="-821"/>
                    <a:pt x="37473" y="366"/>
                  </a:cubicBezTo>
                  <a:cubicBezTo>
                    <a:pt x="32163" y="1303"/>
                    <a:pt x="26917" y="2302"/>
                    <a:pt x="21420" y="1927"/>
                  </a:cubicBezTo>
                  <a:cubicBezTo>
                    <a:pt x="19297" y="1802"/>
                    <a:pt x="17110" y="1802"/>
                    <a:pt x="15174" y="2864"/>
                  </a:cubicBezTo>
                  <a:cubicBezTo>
                    <a:pt x="10240" y="2614"/>
                    <a:pt x="5243" y="2302"/>
                    <a:pt x="246" y="1990"/>
                  </a:cubicBezTo>
                  <a:close/>
                </a:path>
              </a:pathLst>
            </a:custGeom>
            <a:grpFill/>
            <a:ln w="6246" cap="flat">
              <a:noFill/>
              <a:prstDash val="solid"/>
              <a:miter/>
            </a:ln>
          </p:spPr>
          <p:txBody>
            <a:bodyPr rtlCol="0" anchor="ctr"/>
            <a:lstStyle/>
            <a:p>
              <a:endParaRPr lang="fr-FR" sz="2400"/>
            </a:p>
          </p:txBody>
        </p:sp>
        <p:sp>
          <p:nvSpPr>
            <p:cNvPr id="359" name="Freeform: Shape 358">
              <a:extLst>
                <a:ext uri="{FF2B5EF4-FFF2-40B4-BE49-F238E27FC236}">
                  <a16:creationId xmlns:a16="http://schemas.microsoft.com/office/drawing/2014/main" id="{D7B1ABC1-A44E-49CA-8108-1D82F2805683}"/>
                </a:ext>
              </a:extLst>
            </p:cNvPr>
            <p:cNvSpPr/>
            <p:nvPr/>
          </p:nvSpPr>
          <p:spPr>
            <a:xfrm>
              <a:off x="1229818" y="657148"/>
              <a:ext cx="12492" cy="6246"/>
            </a:xfrm>
            <a:custGeom>
              <a:avLst/>
              <a:gdLst>
                <a:gd name="connsiteX0" fmla="*/ 0 w 12492"/>
                <a:gd name="connsiteY0" fmla="*/ 1936 h 0"/>
                <a:gd name="connsiteX1" fmla="*/ 3123 w 12492"/>
                <a:gd name="connsiteY1" fmla="*/ 0 h 0"/>
                <a:gd name="connsiteX2" fmla="*/ 15803 w 12492"/>
                <a:gd name="connsiteY2" fmla="*/ 250 h 0"/>
                <a:gd name="connsiteX3" fmla="*/ 2124 w 12492"/>
                <a:gd name="connsiteY3" fmla="*/ 1874 h 0"/>
                <a:gd name="connsiteX4" fmla="*/ 0 w 12492"/>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0" y="1936"/>
                  </a:moveTo>
                  <a:cubicBezTo>
                    <a:pt x="250" y="250"/>
                    <a:pt x="1562" y="0"/>
                    <a:pt x="3123" y="0"/>
                  </a:cubicBezTo>
                  <a:cubicBezTo>
                    <a:pt x="7370" y="0"/>
                    <a:pt x="11555" y="0"/>
                    <a:pt x="15803" y="250"/>
                  </a:cubicBezTo>
                  <a:cubicBezTo>
                    <a:pt x="11368" y="1936"/>
                    <a:pt x="6433" y="-437"/>
                    <a:pt x="2124" y="1874"/>
                  </a:cubicBezTo>
                  <a:cubicBezTo>
                    <a:pt x="1374" y="1936"/>
                    <a:pt x="687" y="1936"/>
                    <a:pt x="0" y="1936"/>
                  </a:cubicBezTo>
                  <a:close/>
                </a:path>
              </a:pathLst>
            </a:custGeom>
            <a:grpFill/>
            <a:ln w="6246" cap="flat">
              <a:noFill/>
              <a:prstDash val="solid"/>
              <a:miter/>
            </a:ln>
          </p:spPr>
          <p:txBody>
            <a:bodyPr rtlCol="0" anchor="ctr"/>
            <a:lstStyle/>
            <a:p>
              <a:endParaRPr lang="fr-FR" sz="2400"/>
            </a:p>
          </p:txBody>
        </p:sp>
        <p:sp>
          <p:nvSpPr>
            <p:cNvPr id="360" name="Freeform: Shape 359">
              <a:extLst>
                <a:ext uri="{FF2B5EF4-FFF2-40B4-BE49-F238E27FC236}">
                  <a16:creationId xmlns:a16="http://schemas.microsoft.com/office/drawing/2014/main" id="{DF9D14AF-B51D-4E83-A52B-B01E417C5273}"/>
                </a:ext>
              </a:extLst>
            </p:cNvPr>
            <p:cNvSpPr/>
            <p:nvPr/>
          </p:nvSpPr>
          <p:spPr>
            <a:xfrm>
              <a:off x="1257613" y="624624"/>
              <a:ext cx="93691" cy="31230"/>
            </a:xfrm>
            <a:custGeom>
              <a:avLst/>
              <a:gdLst>
                <a:gd name="connsiteX0" fmla="*/ 0 w 93690"/>
                <a:gd name="connsiteY0" fmla="*/ 32524 h 31230"/>
                <a:gd name="connsiteX1" fmla="*/ 7870 w 93690"/>
                <a:gd name="connsiteY1" fmla="*/ 29338 h 31230"/>
                <a:gd name="connsiteX2" fmla="*/ 53904 w 93690"/>
                <a:gd name="connsiteY2" fmla="*/ 17034 h 31230"/>
                <a:gd name="connsiteX3" fmla="*/ 67395 w 93690"/>
                <a:gd name="connsiteY3" fmla="*/ 12224 h 31230"/>
                <a:gd name="connsiteX4" fmla="*/ 93004 w 93690"/>
                <a:gd name="connsiteY4" fmla="*/ 44 h 31230"/>
                <a:gd name="connsiteX5" fmla="*/ 95253 w 93690"/>
                <a:gd name="connsiteY5" fmla="*/ 606 h 31230"/>
                <a:gd name="connsiteX6" fmla="*/ 96314 w 93690"/>
                <a:gd name="connsiteY6" fmla="*/ 1543 h 31230"/>
                <a:gd name="connsiteX7" fmla="*/ 85634 w 93690"/>
                <a:gd name="connsiteY7" fmla="*/ 7914 h 31230"/>
                <a:gd name="connsiteX8" fmla="*/ 57027 w 93690"/>
                <a:gd name="connsiteY8" fmla="*/ 20781 h 31230"/>
                <a:gd name="connsiteX9" fmla="*/ 51405 w 93690"/>
                <a:gd name="connsiteY9" fmla="*/ 21843 h 31230"/>
                <a:gd name="connsiteX10" fmla="*/ 49281 w 93690"/>
                <a:gd name="connsiteY10" fmla="*/ 21843 h 31230"/>
                <a:gd name="connsiteX11" fmla="*/ 28357 w 93690"/>
                <a:gd name="connsiteY11" fmla="*/ 28276 h 31230"/>
                <a:gd name="connsiteX12" fmla="*/ 15053 w 93690"/>
                <a:gd name="connsiteY12" fmla="*/ 30525 h 31230"/>
                <a:gd name="connsiteX13" fmla="*/ 0 w 93690"/>
                <a:gd name="connsiteY13" fmla="*/ 3252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90" h="31230">
                  <a:moveTo>
                    <a:pt x="0" y="32524"/>
                  </a:moveTo>
                  <a:cubicBezTo>
                    <a:pt x="1749" y="29651"/>
                    <a:pt x="4934" y="29776"/>
                    <a:pt x="7870" y="29338"/>
                  </a:cubicBezTo>
                  <a:cubicBezTo>
                    <a:pt x="23860" y="27090"/>
                    <a:pt x="38788" y="21718"/>
                    <a:pt x="53904" y="17034"/>
                  </a:cubicBezTo>
                  <a:cubicBezTo>
                    <a:pt x="58463" y="15597"/>
                    <a:pt x="64022" y="16409"/>
                    <a:pt x="67395" y="12224"/>
                  </a:cubicBezTo>
                  <a:cubicBezTo>
                    <a:pt x="75827" y="7977"/>
                    <a:pt x="84384" y="3979"/>
                    <a:pt x="93004" y="44"/>
                  </a:cubicBezTo>
                  <a:cubicBezTo>
                    <a:pt x="93816" y="-81"/>
                    <a:pt x="94628" y="44"/>
                    <a:pt x="95253" y="606"/>
                  </a:cubicBezTo>
                  <a:cubicBezTo>
                    <a:pt x="95627" y="919"/>
                    <a:pt x="95939" y="1231"/>
                    <a:pt x="96314" y="1543"/>
                  </a:cubicBezTo>
                  <a:cubicBezTo>
                    <a:pt x="93691" y="4979"/>
                    <a:pt x="89194" y="5791"/>
                    <a:pt x="85634" y="7914"/>
                  </a:cubicBezTo>
                  <a:cubicBezTo>
                    <a:pt x="76140" y="12287"/>
                    <a:pt x="66895" y="17096"/>
                    <a:pt x="57027" y="20781"/>
                  </a:cubicBezTo>
                  <a:cubicBezTo>
                    <a:pt x="55153" y="21468"/>
                    <a:pt x="53404" y="21968"/>
                    <a:pt x="51405" y="21843"/>
                  </a:cubicBezTo>
                  <a:cubicBezTo>
                    <a:pt x="50718" y="21843"/>
                    <a:pt x="49969" y="21843"/>
                    <a:pt x="49281" y="21843"/>
                  </a:cubicBezTo>
                  <a:cubicBezTo>
                    <a:pt x="41973" y="23217"/>
                    <a:pt x="35540" y="26777"/>
                    <a:pt x="28357" y="28276"/>
                  </a:cubicBezTo>
                  <a:cubicBezTo>
                    <a:pt x="23985" y="29213"/>
                    <a:pt x="19613" y="30463"/>
                    <a:pt x="15053" y="30525"/>
                  </a:cubicBezTo>
                  <a:cubicBezTo>
                    <a:pt x="9994" y="31275"/>
                    <a:pt x="4997" y="31899"/>
                    <a:pt x="0" y="32524"/>
                  </a:cubicBezTo>
                  <a:close/>
                </a:path>
              </a:pathLst>
            </a:custGeom>
            <a:grpFill/>
            <a:ln w="6246" cap="flat">
              <a:noFill/>
              <a:prstDash val="solid"/>
              <a:miter/>
            </a:ln>
          </p:spPr>
          <p:txBody>
            <a:bodyPr rtlCol="0" anchor="ctr"/>
            <a:lstStyle/>
            <a:p>
              <a:endParaRPr lang="fr-FR" sz="2400"/>
            </a:p>
          </p:txBody>
        </p:sp>
        <p:sp>
          <p:nvSpPr>
            <p:cNvPr id="361" name="Freeform: Shape 360">
              <a:extLst>
                <a:ext uri="{FF2B5EF4-FFF2-40B4-BE49-F238E27FC236}">
                  <a16:creationId xmlns:a16="http://schemas.microsoft.com/office/drawing/2014/main" id="{9C60A376-4504-49C6-B4C6-ED653B7636D6}"/>
                </a:ext>
              </a:extLst>
            </p:cNvPr>
            <p:cNvSpPr/>
            <p:nvPr/>
          </p:nvSpPr>
          <p:spPr>
            <a:xfrm>
              <a:off x="1272603" y="646221"/>
              <a:ext cx="31230" cy="6246"/>
            </a:xfrm>
            <a:custGeom>
              <a:avLst/>
              <a:gdLst>
                <a:gd name="connsiteX0" fmla="*/ 0 w 31230"/>
                <a:gd name="connsiteY0" fmla="*/ 8990 h 6246"/>
                <a:gd name="connsiteX1" fmla="*/ 31730 w 31230"/>
                <a:gd name="connsiteY1" fmla="*/ 58 h 6246"/>
                <a:gd name="connsiteX2" fmla="*/ 34291 w 31230"/>
                <a:gd name="connsiteY2" fmla="*/ 308 h 6246"/>
                <a:gd name="connsiteX3" fmla="*/ 3248 w 31230"/>
                <a:gd name="connsiteY3" fmla="*/ 10927 h 6246"/>
                <a:gd name="connsiteX4" fmla="*/ 0 w 31230"/>
                <a:gd name="connsiteY4" fmla="*/ 899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0" y="8990"/>
                  </a:moveTo>
                  <a:cubicBezTo>
                    <a:pt x="10556" y="5992"/>
                    <a:pt x="21112" y="2994"/>
                    <a:pt x="31730" y="58"/>
                  </a:cubicBezTo>
                  <a:cubicBezTo>
                    <a:pt x="32480" y="-129"/>
                    <a:pt x="33416" y="183"/>
                    <a:pt x="34291" y="308"/>
                  </a:cubicBezTo>
                  <a:cubicBezTo>
                    <a:pt x="24235" y="4618"/>
                    <a:pt x="14491" y="9490"/>
                    <a:pt x="3248" y="10927"/>
                  </a:cubicBezTo>
                  <a:cubicBezTo>
                    <a:pt x="2623" y="9552"/>
                    <a:pt x="1811" y="8616"/>
                    <a:pt x="0" y="8990"/>
                  </a:cubicBezTo>
                  <a:close/>
                </a:path>
              </a:pathLst>
            </a:custGeom>
            <a:grpFill/>
            <a:ln w="6246" cap="flat">
              <a:noFill/>
              <a:prstDash val="solid"/>
              <a:miter/>
            </a:ln>
          </p:spPr>
          <p:txBody>
            <a:bodyPr rtlCol="0" anchor="ctr"/>
            <a:lstStyle/>
            <a:p>
              <a:endParaRPr lang="fr-FR" sz="2400"/>
            </a:p>
          </p:txBody>
        </p:sp>
        <p:sp>
          <p:nvSpPr>
            <p:cNvPr id="362" name="Freeform: Shape 361">
              <a:extLst>
                <a:ext uri="{FF2B5EF4-FFF2-40B4-BE49-F238E27FC236}">
                  <a16:creationId xmlns:a16="http://schemas.microsoft.com/office/drawing/2014/main" id="{3E510BA0-9FC6-4559-9050-FBB8AC0A7BF9}"/>
                </a:ext>
              </a:extLst>
            </p:cNvPr>
            <p:cNvSpPr/>
            <p:nvPr/>
          </p:nvSpPr>
          <p:spPr>
            <a:xfrm>
              <a:off x="1308956" y="631912"/>
              <a:ext cx="31230" cy="12492"/>
            </a:xfrm>
            <a:custGeom>
              <a:avLst/>
              <a:gdLst>
                <a:gd name="connsiteX0" fmla="*/ 0 w 31230"/>
                <a:gd name="connsiteY0" fmla="*/ 14618 h 12492"/>
                <a:gd name="connsiteX1" fmla="*/ 34228 w 31230"/>
                <a:gd name="connsiteY1" fmla="*/ 127 h 12492"/>
                <a:gd name="connsiteX2" fmla="*/ 35290 w 31230"/>
                <a:gd name="connsiteY2" fmla="*/ 1064 h 12492"/>
                <a:gd name="connsiteX3" fmla="*/ 26733 w 31230"/>
                <a:gd name="connsiteY3" fmla="*/ 4936 h 12492"/>
                <a:gd name="connsiteX4" fmla="*/ 2124 w 31230"/>
                <a:gd name="connsiteY4" fmla="*/ 15554 h 12492"/>
                <a:gd name="connsiteX5" fmla="*/ 0 w 31230"/>
                <a:gd name="connsiteY5" fmla="*/ 1461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230" h="12492">
                  <a:moveTo>
                    <a:pt x="0" y="14618"/>
                  </a:moveTo>
                  <a:cubicBezTo>
                    <a:pt x="11930" y="10745"/>
                    <a:pt x="22923" y="5123"/>
                    <a:pt x="34228" y="127"/>
                  </a:cubicBezTo>
                  <a:cubicBezTo>
                    <a:pt x="35353" y="-248"/>
                    <a:pt x="35540" y="252"/>
                    <a:pt x="35290" y="1064"/>
                  </a:cubicBezTo>
                  <a:cubicBezTo>
                    <a:pt x="32417" y="2375"/>
                    <a:pt x="29606" y="3624"/>
                    <a:pt x="26733" y="4936"/>
                  </a:cubicBezTo>
                  <a:cubicBezTo>
                    <a:pt x="18863" y="9059"/>
                    <a:pt x="10743" y="12806"/>
                    <a:pt x="2124" y="15554"/>
                  </a:cubicBezTo>
                  <a:cubicBezTo>
                    <a:pt x="1249" y="15554"/>
                    <a:pt x="500" y="15367"/>
                    <a:pt x="0" y="14618"/>
                  </a:cubicBezTo>
                  <a:close/>
                </a:path>
              </a:pathLst>
            </a:custGeom>
            <a:grpFill/>
            <a:ln w="6246" cap="flat">
              <a:noFill/>
              <a:prstDash val="solid"/>
              <a:miter/>
            </a:ln>
          </p:spPr>
          <p:txBody>
            <a:bodyPr rtlCol="0" anchor="ctr"/>
            <a:lstStyle/>
            <a:p>
              <a:endParaRPr lang="fr-FR" sz="2400"/>
            </a:p>
          </p:txBody>
        </p:sp>
        <p:sp>
          <p:nvSpPr>
            <p:cNvPr id="363" name="Freeform: Shape 362">
              <a:extLst>
                <a:ext uri="{FF2B5EF4-FFF2-40B4-BE49-F238E27FC236}">
                  <a16:creationId xmlns:a16="http://schemas.microsoft.com/office/drawing/2014/main" id="{993CF963-E5C8-4575-9089-06B27A1118EA}"/>
                </a:ext>
              </a:extLst>
            </p:cNvPr>
            <p:cNvSpPr/>
            <p:nvPr/>
          </p:nvSpPr>
          <p:spPr>
            <a:xfrm>
              <a:off x="1315110" y="596748"/>
              <a:ext cx="62461" cy="37476"/>
            </a:xfrm>
            <a:custGeom>
              <a:avLst/>
              <a:gdLst>
                <a:gd name="connsiteX0" fmla="*/ 37692 w 62460"/>
                <a:gd name="connsiteY0" fmla="*/ 28482 h 37476"/>
                <a:gd name="connsiteX1" fmla="*/ 35569 w 62460"/>
                <a:gd name="connsiteY1" fmla="*/ 28482 h 37476"/>
                <a:gd name="connsiteX2" fmla="*/ 17081 w 62460"/>
                <a:gd name="connsiteY2" fmla="*/ 37039 h 37476"/>
                <a:gd name="connsiteX3" fmla="*/ 14207 w 62460"/>
                <a:gd name="connsiteY3" fmla="*/ 37164 h 37476"/>
                <a:gd name="connsiteX4" fmla="*/ 20204 w 62460"/>
                <a:gd name="connsiteY4" fmla="*/ 32105 h 37476"/>
                <a:gd name="connsiteX5" fmla="*/ 6525 w 62460"/>
                <a:gd name="connsiteY5" fmla="*/ 38226 h 37476"/>
                <a:gd name="connsiteX6" fmla="*/ 3027 w 62460"/>
                <a:gd name="connsiteY6" fmla="*/ 39413 h 37476"/>
                <a:gd name="connsiteX7" fmla="*/ 29 w 62460"/>
                <a:gd name="connsiteY7" fmla="*/ 38726 h 37476"/>
                <a:gd name="connsiteX8" fmla="*/ 2215 w 62460"/>
                <a:gd name="connsiteY8" fmla="*/ 37102 h 37476"/>
                <a:gd name="connsiteX9" fmla="*/ 27012 w 62460"/>
                <a:gd name="connsiteY9" fmla="*/ 27483 h 37476"/>
                <a:gd name="connsiteX10" fmla="*/ 40940 w 62460"/>
                <a:gd name="connsiteY10" fmla="*/ 19738 h 37476"/>
                <a:gd name="connsiteX11" fmla="*/ 48436 w 62460"/>
                <a:gd name="connsiteY11" fmla="*/ 11992 h 37476"/>
                <a:gd name="connsiteX12" fmla="*/ 56993 w 62460"/>
                <a:gd name="connsiteY12" fmla="*/ 4247 h 37476"/>
                <a:gd name="connsiteX13" fmla="*/ 62614 w 62460"/>
                <a:gd name="connsiteY13" fmla="*/ 0 h 37476"/>
                <a:gd name="connsiteX14" fmla="*/ 63239 w 62460"/>
                <a:gd name="connsiteY14" fmla="*/ 437 h 37476"/>
                <a:gd name="connsiteX15" fmla="*/ 55869 w 62460"/>
                <a:gd name="connsiteY15" fmla="*/ 8432 h 37476"/>
                <a:gd name="connsiteX16" fmla="*/ 50622 w 62460"/>
                <a:gd name="connsiteY16" fmla="*/ 18738 h 37476"/>
                <a:gd name="connsiteX17" fmla="*/ 41003 w 62460"/>
                <a:gd name="connsiteY17" fmla="*/ 25484 h 37476"/>
                <a:gd name="connsiteX18" fmla="*/ 37692 w 62460"/>
                <a:gd name="connsiteY18" fmla="*/ 28482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60" h="37476">
                  <a:moveTo>
                    <a:pt x="37692" y="28482"/>
                  </a:moveTo>
                  <a:cubicBezTo>
                    <a:pt x="37005" y="28482"/>
                    <a:pt x="36256" y="28482"/>
                    <a:pt x="35569" y="28482"/>
                  </a:cubicBezTo>
                  <a:cubicBezTo>
                    <a:pt x="29573" y="31668"/>
                    <a:pt x="23202" y="34166"/>
                    <a:pt x="17081" y="37039"/>
                  </a:cubicBezTo>
                  <a:cubicBezTo>
                    <a:pt x="16143" y="37476"/>
                    <a:pt x="15207" y="38039"/>
                    <a:pt x="14207" y="37164"/>
                  </a:cubicBezTo>
                  <a:cubicBezTo>
                    <a:pt x="14832" y="34416"/>
                    <a:pt x="18829" y="35415"/>
                    <a:pt x="20204" y="32105"/>
                  </a:cubicBezTo>
                  <a:cubicBezTo>
                    <a:pt x="15144" y="34353"/>
                    <a:pt x="10834" y="36290"/>
                    <a:pt x="6525" y="38226"/>
                  </a:cubicBezTo>
                  <a:cubicBezTo>
                    <a:pt x="5400" y="38726"/>
                    <a:pt x="4214" y="39038"/>
                    <a:pt x="3027" y="39413"/>
                  </a:cubicBezTo>
                  <a:cubicBezTo>
                    <a:pt x="1840" y="39787"/>
                    <a:pt x="403" y="40412"/>
                    <a:pt x="29" y="38726"/>
                  </a:cubicBezTo>
                  <a:cubicBezTo>
                    <a:pt x="-221" y="37539"/>
                    <a:pt x="1215" y="37351"/>
                    <a:pt x="2215" y="37102"/>
                  </a:cubicBezTo>
                  <a:cubicBezTo>
                    <a:pt x="11084" y="35165"/>
                    <a:pt x="18954" y="31168"/>
                    <a:pt x="27012" y="27483"/>
                  </a:cubicBezTo>
                  <a:cubicBezTo>
                    <a:pt x="31384" y="24485"/>
                    <a:pt x="35756" y="21549"/>
                    <a:pt x="40940" y="19738"/>
                  </a:cubicBezTo>
                  <a:cubicBezTo>
                    <a:pt x="43751" y="17427"/>
                    <a:pt x="47811" y="16052"/>
                    <a:pt x="48436" y="11992"/>
                  </a:cubicBezTo>
                  <a:cubicBezTo>
                    <a:pt x="51746" y="9806"/>
                    <a:pt x="54557" y="7245"/>
                    <a:pt x="56993" y="4247"/>
                  </a:cubicBezTo>
                  <a:cubicBezTo>
                    <a:pt x="58867" y="2811"/>
                    <a:pt x="60740" y="1437"/>
                    <a:pt x="62614" y="0"/>
                  </a:cubicBezTo>
                  <a:cubicBezTo>
                    <a:pt x="62802" y="125"/>
                    <a:pt x="63051" y="312"/>
                    <a:pt x="63239" y="437"/>
                  </a:cubicBezTo>
                  <a:cubicBezTo>
                    <a:pt x="60803" y="3123"/>
                    <a:pt x="58867" y="6433"/>
                    <a:pt x="55869" y="8432"/>
                  </a:cubicBezTo>
                  <a:cubicBezTo>
                    <a:pt x="51746" y="11180"/>
                    <a:pt x="50684" y="14616"/>
                    <a:pt x="50622" y="18738"/>
                  </a:cubicBezTo>
                  <a:cubicBezTo>
                    <a:pt x="48998" y="22861"/>
                    <a:pt x="44251" y="23298"/>
                    <a:pt x="41003" y="25484"/>
                  </a:cubicBezTo>
                  <a:cubicBezTo>
                    <a:pt x="39879" y="26608"/>
                    <a:pt x="38817" y="27545"/>
                    <a:pt x="37692" y="28482"/>
                  </a:cubicBezTo>
                  <a:close/>
                </a:path>
              </a:pathLst>
            </a:custGeom>
            <a:grpFill/>
            <a:ln w="6246" cap="flat">
              <a:noFill/>
              <a:prstDash val="solid"/>
              <a:miter/>
            </a:ln>
          </p:spPr>
          <p:txBody>
            <a:bodyPr rtlCol="0" anchor="ctr"/>
            <a:lstStyle/>
            <a:p>
              <a:endParaRPr lang="fr-FR" sz="2400"/>
            </a:p>
          </p:txBody>
        </p:sp>
        <p:sp>
          <p:nvSpPr>
            <p:cNvPr id="364" name="Freeform: Shape 363">
              <a:extLst>
                <a:ext uri="{FF2B5EF4-FFF2-40B4-BE49-F238E27FC236}">
                  <a16:creationId xmlns:a16="http://schemas.microsoft.com/office/drawing/2014/main" id="{BFBB8646-9CC4-497A-B3FC-DEBDB41C9DC9}"/>
                </a:ext>
              </a:extLst>
            </p:cNvPr>
            <p:cNvSpPr/>
            <p:nvPr/>
          </p:nvSpPr>
          <p:spPr>
            <a:xfrm>
              <a:off x="1352553" y="604577"/>
              <a:ext cx="31230" cy="24984"/>
            </a:xfrm>
            <a:custGeom>
              <a:avLst/>
              <a:gdLst>
                <a:gd name="connsiteX0" fmla="*/ 30231 w 31230"/>
                <a:gd name="connsiteY0" fmla="*/ 354 h 24984"/>
                <a:gd name="connsiteX1" fmla="*/ 32355 w 31230"/>
                <a:gd name="connsiteY1" fmla="*/ 1291 h 24984"/>
                <a:gd name="connsiteX2" fmla="*/ 0 w 31230"/>
                <a:gd name="connsiteY2" fmla="*/ 28649 h 24984"/>
                <a:gd name="connsiteX3" fmla="*/ 5497 w 31230"/>
                <a:gd name="connsiteY3" fmla="*/ 23464 h 24984"/>
                <a:gd name="connsiteX4" fmla="*/ 12055 w 31230"/>
                <a:gd name="connsiteY4" fmla="*/ 15782 h 24984"/>
                <a:gd name="connsiteX5" fmla="*/ 19987 w 31230"/>
                <a:gd name="connsiteY5" fmla="*/ 9723 h 24984"/>
                <a:gd name="connsiteX6" fmla="*/ 23797 w 31230"/>
                <a:gd name="connsiteY6" fmla="*/ 7037 h 24984"/>
                <a:gd name="connsiteX7" fmla="*/ 30231 w 31230"/>
                <a:gd name="connsiteY7" fmla="*/ 35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30" h="24984">
                  <a:moveTo>
                    <a:pt x="30231" y="354"/>
                  </a:moveTo>
                  <a:cubicBezTo>
                    <a:pt x="31418" y="-146"/>
                    <a:pt x="32355" y="-333"/>
                    <a:pt x="32355" y="1291"/>
                  </a:cubicBezTo>
                  <a:cubicBezTo>
                    <a:pt x="23111" y="11597"/>
                    <a:pt x="13367" y="21403"/>
                    <a:pt x="0" y="28649"/>
                  </a:cubicBezTo>
                  <a:cubicBezTo>
                    <a:pt x="1687" y="25963"/>
                    <a:pt x="1874" y="26150"/>
                    <a:pt x="5497" y="23464"/>
                  </a:cubicBezTo>
                  <a:cubicBezTo>
                    <a:pt x="8245" y="21403"/>
                    <a:pt x="12492" y="20154"/>
                    <a:pt x="12055" y="15782"/>
                  </a:cubicBezTo>
                  <a:cubicBezTo>
                    <a:pt x="13304" y="12221"/>
                    <a:pt x="16802" y="11097"/>
                    <a:pt x="19987" y="9723"/>
                  </a:cubicBezTo>
                  <a:cubicBezTo>
                    <a:pt x="21424" y="9036"/>
                    <a:pt x="22361" y="7787"/>
                    <a:pt x="23797" y="7037"/>
                  </a:cubicBezTo>
                  <a:cubicBezTo>
                    <a:pt x="25984" y="4914"/>
                    <a:pt x="28107" y="2665"/>
                    <a:pt x="30231" y="354"/>
                  </a:cubicBezTo>
                  <a:close/>
                </a:path>
              </a:pathLst>
            </a:custGeom>
            <a:grpFill/>
            <a:ln w="6246" cap="flat">
              <a:noFill/>
              <a:prstDash val="solid"/>
              <a:miter/>
            </a:ln>
          </p:spPr>
          <p:txBody>
            <a:bodyPr rtlCol="0" anchor="ctr"/>
            <a:lstStyle/>
            <a:p>
              <a:endParaRPr lang="fr-FR" sz="2400"/>
            </a:p>
          </p:txBody>
        </p:sp>
        <p:sp>
          <p:nvSpPr>
            <p:cNvPr id="365" name="Freeform: Shape 364">
              <a:extLst>
                <a:ext uri="{FF2B5EF4-FFF2-40B4-BE49-F238E27FC236}">
                  <a16:creationId xmlns:a16="http://schemas.microsoft.com/office/drawing/2014/main" id="{62AC9C13-A0D5-43F5-9CB9-8D284E415158}"/>
                </a:ext>
              </a:extLst>
            </p:cNvPr>
            <p:cNvSpPr/>
            <p:nvPr/>
          </p:nvSpPr>
          <p:spPr>
            <a:xfrm>
              <a:off x="1356051" y="613203"/>
              <a:ext cx="12492" cy="6246"/>
            </a:xfrm>
            <a:custGeom>
              <a:avLst/>
              <a:gdLst>
                <a:gd name="connsiteX0" fmla="*/ 0 w 12492"/>
                <a:gd name="connsiteY0" fmla="*/ 9154 h 6246"/>
                <a:gd name="connsiteX1" fmla="*/ 9619 w 12492"/>
                <a:gd name="connsiteY1" fmla="*/ 2408 h 6246"/>
                <a:gd name="connsiteX2" fmla="*/ 16052 w 12492"/>
                <a:gd name="connsiteY2" fmla="*/ 472 h 6246"/>
                <a:gd name="connsiteX3" fmla="*/ 3248 w 12492"/>
                <a:gd name="connsiteY3" fmla="*/ 8217 h 6246"/>
                <a:gd name="connsiteX4" fmla="*/ 0 w 12492"/>
                <a:gd name="connsiteY4" fmla="*/ 915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9154"/>
                  </a:moveTo>
                  <a:cubicBezTo>
                    <a:pt x="2686" y="6281"/>
                    <a:pt x="6309" y="4532"/>
                    <a:pt x="9619" y="2408"/>
                  </a:cubicBezTo>
                  <a:cubicBezTo>
                    <a:pt x="11743" y="1659"/>
                    <a:pt x="13117" y="-1089"/>
                    <a:pt x="16052" y="472"/>
                  </a:cubicBezTo>
                  <a:cubicBezTo>
                    <a:pt x="12367" y="3845"/>
                    <a:pt x="8620" y="7093"/>
                    <a:pt x="3248" y="8217"/>
                  </a:cubicBezTo>
                  <a:cubicBezTo>
                    <a:pt x="2124" y="8530"/>
                    <a:pt x="1062" y="8842"/>
                    <a:pt x="0" y="9154"/>
                  </a:cubicBezTo>
                  <a:close/>
                </a:path>
              </a:pathLst>
            </a:custGeom>
            <a:grpFill/>
            <a:ln w="6246" cap="flat">
              <a:noFill/>
              <a:prstDash val="solid"/>
              <a:miter/>
            </a:ln>
          </p:spPr>
          <p:txBody>
            <a:bodyPr rtlCol="0" anchor="ctr"/>
            <a:lstStyle/>
            <a:p>
              <a:endParaRPr lang="fr-FR" sz="2400"/>
            </a:p>
          </p:txBody>
        </p:sp>
        <p:sp>
          <p:nvSpPr>
            <p:cNvPr id="366" name="Freeform: Shape 365">
              <a:extLst>
                <a:ext uri="{FF2B5EF4-FFF2-40B4-BE49-F238E27FC236}">
                  <a16:creationId xmlns:a16="http://schemas.microsoft.com/office/drawing/2014/main" id="{F6A697B6-297E-4CEF-8D14-43B4751B3724}"/>
                </a:ext>
              </a:extLst>
            </p:cNvPr>
            <p:cNvSpPr/>
            <p:nvPr/>
          </p:nvSpPr>
          <p:spPr>
            <a:xfrm>
              <a:off x="1359236" y="613675"/>
              <a:ext cx="12492" cy="6246"/>
            </a:xfrm>
            <a:custGeom>
              <a:avLst/>
              <a:gdLst>
                <a:gd name="connsiteX0" fmla="*/ 0 w 12492"/>
                <a:gd name="connsiteY0" fmla="*/ 7745 h 6246"/>
                <a:gd name="connsiteX1" fmla="*/ 12805 w 12492"/>
                <a:gd name="connsiteY1" fmla="*/ 0 h 6246"/>
                <a:gd name="connsiteX2" fmla="*/ 13866 w 12492"/>
                <a:gd name="connsiteY2" fmla="*/ 0 h 6246"/>
                <a:gd name="connsiteX3" fmla="*/ 14179 w 12492"/>
                <a:gd name="connsiteY3" fmla="*/ 625 h 6246"/>
                <a:gd name="connsiteX4" fmla="*/ 13866 w 12492"/>
                <a:gd name="connsiteY4" fmla="*/ 937 h 6246"/>
                <a:gd name="connsiteX5" fmla="*/ 5309 w 12492"/>
                <a:gd name="connsiteY5" fmla="*/ 6746 h 6246"/>
                <a:gd name="connsiteX6" fmla="*/ 0 w 12492"/>
                <a:gd name="connsiteY6" fmla="*/ 774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0" y="7745"/>
                  </a:moveTo>
                  <a:cubicBezTo>
                    <a:pt x="4247" y="5184"/>
                    <a:pt x="8557" y="2561"/>
                    <a:pt x="12805" y="0"/>
                  </a:cubicBezTo>
                  <a:cubicBezTo>
                    <a:pt x="13179" y="0"/>
                    <a:pt x="13492" y="0"/>
                    <a:pt x="13866" y="0"/>
                  </a:cubicBezTo>
                  <a:cubicBezTo>
                    <a:pt x="14179" y="187"/>
                    <a:pt x="14304" y="437"/>
                    <a:pt x="14179" y="625"/>
                  </a:cubicBezTo>
                  <a:cubicBezTo>
                    <a:pt x="14054" y="812"/>
                    <a:pt x="13929" y="937"/>
                    <a:pt x="13866" y="937"/>
                  </a:cubicBezTo>
                  <a:cubicBezTo>
                    <a:pt x="10993" y="2873"/>
                    <a:pt x="8182" y="4809"/>
                    <a:pt x="5309" y="6746"/>
                  </a:cubicBezTo>
                  <a:cubicBezTo>
                    <a:pt x="3560" y="6996"/>
                    <a:pt x="2249" y="9494"/>
                    <a:pt x="0" y="7745"/>
                  </a:cubicBezTo>
                  <a:close/>
                </a:path>
              </a:pathLst>
            </a:custGeom>
            <a:grpFill/>
            <a:ln w="6246" cap="flat">
              <a:noFill/>
              <a:prstDash val="solid"/>
              <a:miter/>
            </a:ln>
          </p:spPr>
          <p:txBody>
            <a:bodyPr rtlCol="0" anchor="ctr"/>
            <a:lstStyle/>
            <a:p>
              <a:endParaRPr lang="fr-FR" sz="2400"/>
            </a:p>
          </p:txBody>
        </p:sp>
        <p:sp>
          <p:nvSpPr>
            <p:cNvPr id="367" name="Freeform: Shape 366">
              <a:extLst>
                <a:ext uri="{FF2B5EF4-FFF2-40B4-BE49-F238E27FC236}">
                  <a16:creationId xmlns:a16="http://schemas.microsoft.com/office/drawing/2014/main" id="{C2EB7272-035C-4D15-9E20-EEFA12F1BBCB}"/>
                </a:ext>
              </a:extLst>
            </p:cNvPr>
            <p:cNvSpPr/>
            <p:nvPr/>
          </p:nvSpPr>
          <p:spPr>
            <a:xfrm>
              <a:off x="1343184" y="625657"/>
              <a:ext cx="12492" cy="6246"/>
            </a:xfrm>
            <a:custGeom>
              <a:avLst/>
              <a:gdLst>
                <a:gd name="connsiteX0" fmla="*/ 1062 w 12492"/>
                <a:gd name="connsiteY0" fmla="*/ 7319 h 6246"/>
                <a:gd name="connsiteX1" fmla="*/ 0 w 12492"/>
                <a:gd name="connsiteY1" fmla="*/ 6382 h 6246"/>
                <a:gd name="connsiteX2" fmla="*/ 10681 w 12492"/>
                <a:gd name="connsiteY2" fmla="*/ 573 h 6246"/>
                <a:gd name="connsiteX3" fmla="*/ 13179 w 12492"/>
                <a:gd name="connsiteY3" fmla="*/ 261 h 6246"/>
                <a:gd name="connsiteX4" fmla="*/ 1062 w 12492"/>
                <a:gd name="connsiteY4" fmla="*/ 731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1062" y="7319"/>
                  </a:moveTo>
                  <a:cubicBezTo>
                    <a:pt x="687" y="7006"/>
                    <a:pt x="375" y="6694"/>
                    <a:pt x="0" y="6382"/>
                  </a:cubicBezTo>
                  <a:cubicBezTo>
                    <a:pt x="3560" y="4445"/>
                    <a:pt x="7121" y="2509"/>
                    <a:pt x="10681" y="573"/>
                  </a:cubicBezTo>
                  <a:cubicBezTo>
                    <a:pt x="11430" y="448"/>
                    <a:pt x="12055" y="-426"/>
                    <a:pt x="13179" y="261"/>
                  </a:cubicBezTo>
                  <a:cubicBezTo>
                    <a:pt x="9744" y="3509"/>
                    <a:pt x="5497" y="5507"/>
                    <a:pt x="1062" y="7319"/>
                  </a:cubicBezTo>
                  <a:close/>
                </a:path>
              </a:pathLst>
            </a:custGeom>
            <a:grpFill/>
            <a:ln w="6246" cap="flat">
              <a:noFill/>
              <a:prstDash val="solid"/>
              <a:miter/>
            </a:ln>
          </p:spPr>
          <p:txBody>
            <a:bodyPr rtlCol="0" anchor="ctr"/>
            <a:lstStyle/>
            <a:p>
              <a:endParaRPr lang="fr-FR" sz="2400"/>
            </a:p>
          </p:txBody>
        </p:sp>
        <p:sp>
          <p:nvSpPr>
            <p:cNvPr id="368" name="Freeform: Shape 367">
              <a:extLst>
                <a:ext uri="{FF2B5EF4-FFF2-40B4-BE49-F238E27FC236}">
                  <a16:creationId xmlns:a16="http://schemas.microsoft.com/office/drawing/2014/main" id="{2AAA9DD5-62CF-4F47-BEAD-EB0899E24744}"/>
                </a:ext>
              </a:extLst>
            </p:cNvPr>
            <p:cNvSpPr/>
            <p:nvPr/>
          </p:nvSpPr>
          <p:spPr>
            <a:xfrm>
              <a:off x="1409489" y="566052"/>
              <a:ext cx="6246" cy="6246"/>
            </a:xfrm>
            <a:custGeom>
              <a:avLst/>
              <a:gdLst>
                <a:gd name="connsiteX0" fmla="*/ 1090 w 0"/>
                <a:gd name="connsiteY0" fmla="*/ 1214 h 0"/>
                <a:gd name="connsiteX1" fmla="*/ 2027 w 0"/>
                <a:gd name="connsiteY1" fmla="*/ 27 h 0"/>
                <a:gd name="connsiteX2" fmla="*/ 3276 w 0"/>
                <a:gd name="connsiteY2" fmla="*/ 2151 h 0"/>
                <a:gd name="connsiteX3" fmla="*/ 91 w 0"/>
                <a:gd name="connsiteY3" fmla="*/ 5024 h 0"/>
                <a:gd name="connsiteX4" fmla="*/ 91 w 0"/>
                <a:gd name="connsiteY4" fmla="*/ 5024 h 0"/>
                <a:gd name="connsiteX5" fmla="*/ 1090 w 0"/>
                <a:gd name="connsiteY5" fmla="*/ 121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090" y="1214"/>
                  </a:moveTo>
                  <a:cubicBezTo>
                    <a:pt x="1153" y="652"/>
                    <a:pt x="1215" y="-160"/>
                    <a:pt x="2027" y="27"/>
                  </a:cubicBezTo>
                  <a:cubicBezTo>
                    <a:pt x="3151" y="277"/>
                    <a:pt x="3151" y="1339"/>
                    <a:pt x="3276" y="2151"/>
                  </a:cubicBezTo>
                  <a:cubicBezTo>
                    <a:pt x="3151" y="3963"/>
                    <a:pt x="2090" y="4962"/>
                    <a:pt x="91" y="5024"/>
                  </a:cubicBezTo>
                  <a:lnTo>
                    <a:pt x="91" y="5024"/>
                  </a:lnTo>
                  <a:cubicBezTo>
                    <a:pt x="-284" y="3650"/>
                    <a:pt x="591" y="2463"/>
                    <a:pt x="1090" y="1214"/>
                  </a:cubicBezTo>
                  <a:close/>
                </a:path>
              </a:pathLst>
            </a:custGeom>
            <a:grpFill/>
            <a:ln w="6246" cap="flat">
              <a:noFill/>
              <a:prstDash val="solid"/>
              <a:miter/>
            </a:ln>
          </p:spPr>
          <p:txBody>
            <a:bodyPr rtlCol="0" anchor="ctr"/>
            <a:lstStyle/>
            <a:p>
              <a:endParaRPr lang="fr-FR" sz="2400"/>
            </a:p>
          </p:txBody>
        </p:sp>
        <p:sp>
          <p:nvSpPr>
            <p:cNvPr id="369" name="Freeform: Shape 368">
              <a:extLst>
                <a:ext uri="{FF2B5EF4-FFF2-40B4-BE49-F238E27FC236}">
                  <a16:creationId xmlns:a16="http://schemas.microsoft.com/office/drawing/2014/main" id="{87339B50-6AE7-4C3C-BAC1-5B4F0321F45B}"/>
                </a:ext>
              </a:extLst>
            </p:cNvPr>
            <p:cNvSpPr/>
            <p:nvPr/>
          </p:nvSpPr>
          <p:spPr>
            <a:xfrm>
              <a:off x="1165546" y="435662"/>
              <a:ext cx="6246" cy="6246"/>
            </a:xfrm>
            <a:custGeom>
              <a:avLst/>
              <a:gdLst>
                <a:gd name="connsiteX0" fmla="*/ 62 w 6246"/>
                <a:gd name="connsiteY0" fmla="*/ 5871 h 0"/>
                <a:gd name="connsiteX1" fmla="*/ 0 w 6246"/>
                <a:gd name="connsiteY1" fmla="*/ 4747 h 0"/>
                <a:gd name="connsiteX2" fmla="*/ 6496 w 6246"/>
                <a:gd name="connsiteY2" fmla="*/ 0 h 0"/>
                <a:gd name="connsiteX3" fmla="*/ 62 w 6246"/>
                <a:gd name="connsiteY3" fmla="*/ 5871 h 0"/>
              </a:gdLst>
              <a:ahLst/>
              <a:cxnLst>
                <a:cxn ang="0">
                  <a:pos x="connsiteX0" y="connsiteY0"/>
                </a:cxn>
                <a:cxn ang="0">
                  <a:pos x="connsiteX1" y="connsiteY1"/>
                </a:cxn>
                <a:cxn ang="0">
                  <a:pos x="connsiteX2" y="connsiteY2"/>
                </a:cxn>
                <a:cxn ang="0">
                  <a:pos x="connsiteX3" y="connsiteY3"/>
                </a:cxn>
              </a:cxnLst>
              <a:rect l="l" t="t" r="r" b="b"/>
              <a:pathLst>
                <a:path w="6246">
                  <a:moveTo>
                    <a:pt x="62" y="5871"/>
                  </a:moveTo>
                  <a:cubicBezTo>
                    <a:pt x="62" y="5497"/>
                    <a:pt x="0" y="5122"/>
                    <a:pt x="0" y="4747"/>
                  </a:cubicBezTo>
                  <a:cubicBezTo>
                    <a:pt x="1999" y="2998"/>
                    <a:pt x="3435" y="625"/>
                    <a:pt x="6496" y="0"/>
                  </a:cubicBezTo>
                  <a:cubicBezTo>
                    <a:pt x="6621" y="4060"/>
                    <a:pt x="1624" y="3498"/>
                    <a:pt x="62" y="5871"/>
                  </a:cubicBezTo>
                  <a:close/>
                </a:path>
              </a:pathLst>
            </a:custGeom>
            <a:grpFill/>
            <a:ln w="6246" cap="flat">
              <a:noFill/>
              <a:prstDash val="solid"/>
              <a:miter/>
            </a:ln>
          </p:spPr>
          <p:txBody>
            <a:bodyPr rtlCol="0" anchor="ctr"/>
            <a:lstStyle/>
            <a:p>
              <a:endParaRPr lang="fr-FR" sz="2400"/>
            </a:p>
          </p:txBody>
        </p:sp>
        <p:sp>
          <p:nvSpPr>
            <p:cNvPr id="370" name="Freeform: Shape 369">
              <a:extLst>
                <a:ext uri="{FF2B5EF4-FFF2-40B4-BE49-F238E27FC236}">
                  <a16:creationId xmlns:a16="http://schemas.microsoft.com/office/drawing/2014/main" id="{CD106284-1EBD-43C5-A1B7-7228EA550466}"/>
                </a:ext>
              </a:extLst>
            </p:cNvPr>
            <p:cNvSpPr/>
            <p:nvPr/>
          </p:nvSpPr>
          <p:spPr>
            <a:xfrm>
              <a:off x="1143125" y="434788"/>
              <a:ext cx="56215" cy="74953"/>
            </a:xfrm>
            <a:custGeom>
              <a:avLst/>
              <a:gdLst>
                <a:gd name="connsiteX0" fmla="*/ 55649 w 56214"/>
                <a:gd name="connsiteY0" fmla="*/ 0 h 74952"/>
                <a:gd name="connsiteX1" fmla="*/ 55649 w 56214"/>
                <a:gd name="connsiteY1" fmla="*/ 937 h 74952"/>
                <a:gd name="connsiteX2" fmla="*/ 56774 w 56214"/>
                <a:gd name="connsiteY2" fmla="*/ 3248 h 74952"/>
                <a:gd name="connsiteX3" fmla="*/ 56774 w 56214"/>
                <a:gd name="connsiteY3" fmla="*/ 4809 h 74952"/>
                <a:gd name="connsiteX4" fmla="*/ 43969 w 56214"/>
                <a:gd name="connsiteY4" fmla="*/ 13491 h 74952"/>
                <a:gd name="connsiteX5" fmla="*/ 25793 w 56214"/>
                <a:gd name="connsiteY5" fmla="*/ 33791 h 74952"/>
                <a:gd name="connsiteX6" fmla="*/ 19360 w 56214"/>
                <a:gd name="connsiteY6" fmla="*/ 40537 h 74952"/>
                <a:gd name="connsiteX7" fmla="*/ 19984 w 56214"/>
                <a:gd name="connsiteY7" fmla="*/ 36727 h 74952"/>
                <a:gd name="connsiteX8" fmla="*/ 19735 w 56214"/>
                <a:gd name="connsiteY8" fmla="*/ 36727 h 74952"/>
                <a:gd name="connsiteX9" fmla="*/ 14800 w 56214"/>
                <a:gd name="connsiteY9" fmla="*/ 46158 h 74952"/>
                <a:gd name="connsiteX10" fmla="*/ 4557 w 56214"/>
                <a:gd name="connsiteY10" fmla="*/ 69456 h 74952"/>
                <a:gd name="connsiteX11" fmla="*/ 122 w 56214"/>
                <a:gd name="connsiteY11" fmla="*/ 75328 h 74952"/>
                <a:gd name="connsiteX12" fmla="*/ 3308 w 56214"/>
                <a:gd name="connsiteY12" fmla="*/ 62773 h 74952"/>
                <a:gd name="connsiteX13" fmla="*/ 9928 w 56214"/>
                <a:gd name="connsiteY13" fmla="*/ 47283 h 74952"/>
                <a:gd name="connsiteX14" fmla="*/ 3308 w 56214"/>
                <a:gd name="connsiteY14" fmla="*/ 56964 h 74952"/>
                <a:gd name="connsiteX15" fmla="*/ 3308 w 56214"/>
                <a:gd name="connsiteY15" fmla="*/ 53092 h 74952"/>
                <a:gd name="connsiteX16" fmla="*/ 2933 w 56214"/>
                <a:gd name="connsiteY16" fmla="*/ 50843 h 74952"/>
                <a:gd name="connsiteX17" fmla="*/ 15362 w 56214"/>
                <a:gd name="connsiteY17" fmla="*/ 33229 h 74952"/>
                <a:gd name="connsiteX18" fmla="*/ 25793 w 56214"/>
                <a:gd name="connsiteY18" fmla="*/ 23110 h 74952"/>
                <a:gd name="connsiteX19" fmla="*/ 50528 w 56214"/>
                <a:gd name="connsiteY19" fmla="*/ 3123 h 74952"/>
                <a:gd name="connsiteX20" fmla="*/ 55649 w 56214"/>
                <a:gd name="connsiteY20" fmla="*/ 0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214" h="74952">
                  <a:moveTo>
                    <a:pt x="55649" y="0"/>
                  </a:moveTo>
                  <a:cubicBezTo>
                    <a:pt x="55649" y="312"/>
                    <a:pt x="55649" y="625"/>
                    <a:pt x="55649" y="937"/>
                  </a:cubicBezTo>
                  <a:cubicBezTo>
                    <a:pt x="55587" y="1811"/>
                    <a:pt x="51839" y="4122"/>
                    <a:pt x="56774" y="3248"/>
                  </a:cubicBezTo>
                  <a:cubicBezTo>
                    <a:pt x="57461" y="3123"/>
                    <a:pt x="56836" y="4247"/>
                    <a:pt x="56774" y="4809"/>
                  </a:cubicBezTo>
                  <a:cubicBezTo>
                    <a:pt x="51715" y="6808"/>
                    <a:pt x="48029" y="10431"/>
                    <a:pt x="43969" y="13491"/>
                  </a:cubicBezTo>
                  <a:cubicBezTo>
                    <a:pt x="36786" y="19488"/>
                    <a:pt x="30540" y="26046"/>
                    <a:pt x="25793" y="33791"/>
                  </a:cubicBezTo>
                  <a:cubicBezTo>
                    <a:pt x="22233" y="34978"/>
                    <a:pt x="22483" y="39100"/>
                    <a:pt x="19360" y="40537"/>
                  </a:cubicBezTo>
                  <a:cubicBezTo>
                    <a:pt x="17736" y="38975"/>
                    <a:pt x="19984" y="37976"/>
                    <a:pt x="19984" y="36727"/>
                  </a:cubicBezTo>
                  <a:cubicBezTo>
                    <a:pt x="20297" y="36102"/>
                    <a:pt x="19048" y="36727"/>
                    <a:pt x="19735" y="36727"/>
                  </a:cubicBezTo>
                  <a:cubicBezTo>
                    <a:pt x="18236" y="39912"/>
                    <a:pt x="16549" y="43098"/>
                    <a:pt x="14800" y="46158"/>
                  </a:cubicBezTo>
                  <a:cubicBezTo>
                    <a:pt x="11178" y="53841"/>
                    <a:pt x="7430" y="61524"/>
                    <a:pt x="4557" y="69456"/>
                  </a:cubicBezTo>
                  <a:cubicBezTo>
                    <a:pt x="3745" y="71705"/>
                    <a:pt x="3745" y="74703"/>
                    <a:pt x="122" y="75328"/>
                  </a:cubicBezTo>
                  <a:cubicBezTo>
                    <a:pt x="-565" y="70768"/>
                    <a:pt x="1808" y="66833"/>
                    <a:pt x="3308" y="62773"/>
                  </a:cubicBezTo>
                  <a:cubicBezTo>
                    <a:pt x="3682" y="56964"/>
                    <a:pt x="7742" y="52280"/>
                    <a:pt x="9928" y="47283"/>
                  </a:cubicBezTo>
                  <a:cubicBezTo>
                    <a:pt x="7867" y="50468"/>
                    <a:pt x="7242" y="54528"/>
                    <a:pt x="3308" y="56964"/>
                  </a:cubicBezTo>
                  <a:cubicBezTo>
                    <a:pt x="1496" y="55652"/>
                    <a:pt x="3620" y="54403"/>
                    <a:pt x="3308" y="53092"/>
                  </a:cubicBezTo>
                  <a:cubicBezTo>
                    <a:pt x="2683" y="52404"/>
                    <a:pt x="2495" y="51468"/>
                    <a:pt x="2933" y="50843"/>
                  </a:cubicBezTo>
                  <a:cubicBezTo>
                    <a:pt x="7118" y="44972"/>
                    <a:pt x="9179" y="37914"/>
                    <a:pt x="15362" y="33229"/>
                  </a:cubicBezTo>
                  <a:cubicBezTo>
                    <a:pt x="19860" y="30731"/>
                    <a:pt x="21359" y="25671"/>
                    <a:pt x="25793" y="23110"/>
                  </a:cubicBezTo>
                  <a:cubicBezTo>
                    <a:pt x="34038" y="16490"/>
                    <a:pt x="42345" y="9869"/>
                    <a:pt x="50528" y="3123"/>
                  </a:cubicBezTo>
                  <a:cubicBezTo>
                    <a:pt x="51964" y="1936"/>
                    <a:pt x="53651" y="812"/>
                    <a:pt x="55649" y="0"/>
                  </a:cubicBezTo>
                  <a:close/>
                </a:path>
              </a:pathLst>
            </a:custGeom>
            <a:grpFill/>
            <a:ln w="6246" cap="flat">
              <a:noFill/>
              <a:prstDash val="solid"/>
              <a:miter/>
            </a:ln>
          </p:spPr>
          <p:txBody>
            <a:bodyPr rtlCol="0" anchor="ctr"/>
            <a:lstStyle/>
            <a:p>
              <a:endParaRPr lang="fr-FR" sz="2400"/>
            </a:p>
          </p:txBody>
        </p:sp>
        <p:sp>
          <p:nvSpPr>
            <p:cNvPr id="371" name="Freeform: Shape 370">
              <a:extLst>
                <a:ext uri="{FF2B5EF4-FFF2-40B4-BE49-F238E27FC236}">
                  <a16:creationId xmlns:a16="http://schemas.microsoft.com/office/drawing/2014/main" id="{1FD35522-4229-458F-BDC8-B46F68E34A02}"/>
                </a:ext>
              </a:extLst>
            </p:cNvPr>
            <p:cNvSpPr/>
            <p:nvPr/>
          </p:nvSpPr>
          <p:spPr>
            <a:xfrm>
              <a:off x="1136114" y="480197"/>
              <a:ext cx="18738" cy="81199"/>
            </a:xfrm>
            <a:custGeom>
              <a:avLst/>
              <a:gdLst>
                <a:gd name="connsiteX0" fmla="*/ 7008 w 18738"/>
                <a:gd name="connsiteY0" fmla="*/ 29981 h 81198"/>
                <a:gd name="connsiteX1" fmla="*/ 18813 w 18738"/>
                <a:gd name="connsiteY1" fmla="*/ 3248 h 81198"/>
                <a:gd name="connsiteX2" fmla="*/ 20937 w 18738"/>
                <a:gd name="connsiteY2" fmla="*/ 0 h 81198"/>
                <a:gd name="connsiteX3" fmla="*/ 22436 w 18738"/>
                <a:gd name="connsiteY3" fmla="*/ 1249 h 81198"/>
                <a:gd name="connsiteX4" fmla="*/ 19875 w 18738"/>
                <a:gd name="connsiteY4" fmla="*/ 8745 h 81198"/>
                <a:gd name="connsiteX5" fmla="*/ 16689 w 18738"/>
                <a:gd name="connsiteY5" fmla="*/ 19363 h 81198"/>
                <a:gd name="connsiteX6" fmla="*/ 17002 w 18738"/>
                <a:gd name="connsiteY6" fmla="*/ 20737 h 81198"/>
                <a:gd name="connsiteX7" fmla="*/ 10318 w 18738"/>
                <a:gd name="connsiteY7" fmla="*/ 46158 h 81198"/>
                <a:gd name="connsiteX8" fmla="*/ 7820 w 18738"/>
                <a:gd name="connsiteY8" fmla="*/ 64147 h 81198"/>
                <a:gd name="connsiteX9" fmla="*/ 7633 w 18738"/>
                <a:gd name="connsiteY9" fmla="*/ 75702 h 81198"/>
                <a:gd name="connsiteX10" fmla="*/ 7383 w 18738"/>
                <a:gd name="connsiteY10" fmla="*/ 81011 h 81198"/>
                <a:gd name="connsiteX11" fmla="*/ 4635 w 18738"/>
                <a:gd name="connsiteY11" fmla="*/ 84135 h 81198"/>
                <a:gd name="connsiteX12" fmla="*/ 2386 w 18738"/>
                <a:gd name="connsiteY12" fmla="*/ 81324 h 81198"/>
                <a:gd name="connsiteX13" fmla="*/ 2324 w 18738"/>
                <a:gd name="connsiteY13" fmla="*/ 79387 h 81198"/>
                <a:gd name="connsiteX14" fmla="*/ 575 w 18738"/>
                <a:gd name="connsiteY14" fmla="*/ 70456 h 81198"/>
                <a:gd name="connsiteX15" fmla="*/ 387 w 18738"/>
                <a:gd name="connsiteY15" fmla="*/ 69519 h 81198"/>
                <a:gd name="connsiteX16" fmla="*/ 1074 w 18738"/>
                <a:gd name="connsiteY16" fmla="*/ 47345 h 81198"/>
                <a:gd name="connsiteX17" fmla="*/ 637 w 18738"/>
                <a:gd name="connsiteY17" fmla="*/ 45471 h 81198"/>
                <a:gd name="connsiteX18" fmla="*/ 5696 w 18738"/>
                <a:gd name="connsiteY18" fmla="*/ 33979 h 81198"/>
                <a:gd name="connsiteX19" fmla="*/ 7008 w 18738"/>
                <a:gd name="connsiteY19" fmla="*/ 2998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38" h="81198">
                  <a:moveTo>
                    <a:pt x="7008" y="29981"/>
                  </a:moveTo>
                  <a:cubicBezTo>
                    <a:pt x="10943" y="21049"/>
                    <a:pt x="14878" y="12180"/>
                    <a:pt x="18813" y="3248"/>
                  </a:cubicBezTo>
                  <a:cubicBezTo>
                    <a:pt x="19313" y="2061"/>
                    <a:pt x="19688" y="812"/>
                    <a:pt x="20937" y="0"/>
                  </a:cubicBezTo>
                  <a:cubicBezTo>
                    <a:pt x="21686" y="125"/>
                    <a:pt x="22248" y="562"/>
                    <a:pt x="22436" y="1249"/>
                  </a:cubicBezTo>
                  <a:cubicBezTo>
                    <a:pt x="22498" y="3997"/>
                    <a:pt x="18813" y="5684"/>
                    <a:pt x="19875" y="8745"/>
                  </a:cubicBezTo>
                  <a:cubicBezTo>
                    <a:pt x="20062" y="12617"/>
                    <a:pt x="16689" y="15553"/>
                    <a:pt x="16689" y="19363"/>
                  </a:cubicBezTo>
                  <a:cubicBezTo>
                    <a:pt x="16939" y="19800"/>
                    <a:pt x="17189" y="20300"/>
                    <a:pt x="17002" y="20737"/>
                  </a:cubicBezTo>
                  <a:cubicBezTo>
                    <a:pt x="13629" y="28982"/>
                    <a:pt x="13004" y="37789"/>
                    <a:pt x="10318" y="46158"/>
                  </a:cubicBezTo>
                  <a:cubicBezTo>
                    <a:pt x="7071" y="51842"/>
                    <a:pt x="8694" y="58151"/>
                    <a:pt x="7820" y="64147"/>
                  </a:cubicBezTo>
                  <a:cubicBezTo>
                    <a:pt x="7258" y="67957"/>
                    <a:pt x="7883" y="71830"/>
                    <a:pt x="7633" y="75702"/>
                  </a:cubicBezTo>
                  <a:cubicBezTo>
                    <a:pt x="7445" y="77451"/>
                    <a:pt x="7695" y="79263"/>
                    <a:pt x="7383" y="81011"/>
                  </a:cubicBezTo>
                  <a:cubicBezTo>
                    <a:pt x="7133" y="82448"/>
                    <a:pt x="6508" y="84010"/>
                    <a:pt x="4635" y="84135"/>
                  </a:cubicBezTo>
                  <a:cubicBezTo>
                    <a:pt x="2823" y="84197"/>
                    <a:pt x="2698" y="82573"/>
                    <a:pt x="2386" y="81324"/>
                  </a:cubicBezTo>
                  <a:cubicBezTo>
                    <a:pt x="2199" y="80699"/>
                    <a:pt x="2261" y="80075"/>
                    <a:pt x="2324" y="79387"/>
                  </a:cubicBezTo>
                  <a:cubicBezTo>
                    <a:pt x="2324" y="76327"/>
                    <a:pt x="4072" y="72954"/>
                    <a:pt x="575" y="70456"/>
                  </a:cubicBezTo>
                  <a:cubicBezTo>
                    <a:pt x="325" y="70268"/>
                    <a:pt x="325" y="69831"/>
                    <a:pt x="387" y="69519"/>
                  </a:cubicBezTo>
                  <a:cubicBezTo>
                    <a:pt x="2886" y="62211"/>
                    <a:pt x="-2049" y="54653"/>
                    <a:pt x="1074" y="47345"/>
                  </a:cubicBezTo>
                  <a:cubicBezTo>
                    <a:pt x="1324" y="46783"/>
                    <a:pt x="949" y="46096"/>
                    <a:pt x="637" y="45471"/>
                  </a:cubicBezTo>
                  <a:cubicBezTo>
                    <a:pt x="1824" y="41474"/>
                    <a:pt x="1761" y="37039"/>
                    <a:pt x="5696" y="33979"/>
                  </a:cubicBezTo>
                  <a:cubicBezTo>
                    <a:pt x="6883" y="33042"/>
                    <a:pt x="7071" y="31480"/>
                    <a:pt x="7008" y="29981"/>
                  </a:cubicBezTo>
                  <a:close/>
                </a:path>
              </a:pathLst>
            </a:custGeom>
            <a:grpFill/>
            <a:ln w="6246" cap="flat">
              <a:noFill/>
              <a:prstDash val="solid"/>
              <a:miter/>
            </a:ln>
          </p:spPr>
          <p:txBody>
            <a:bodyPr rtlCol="0" anchor="ctr"/>
            <a:lstStyle/>
            <a:p>
              <a:endParaRPr lang="fr-FR" sz="2400"/>
            </a:p>
          </p:txBody>
        </p:sp>
        <p:sp>
          <p:nvSpPr>
            <p:cNvPr id="372" name="Freeform: Shape 371">
              <a:extLst>
                <a:ext uri="{FF2B5EF4-FFF2-40B4-BE49-F238E27FC236}">
                  <a16:creationId xmlns:a16="http://schemas.microsoft.com/office/drawing/2014/main" id="{F7E40799-051C-4EA5-9AF7-2123F043D307}"/>
                </a:ext>
              </a:extLst>
            </p:cNvPr>
            <p:cNvSpPr/>
            <p:nvPr/>
          </p:nvSpPr>
          <p:spPr>
            <a:xfrm>
              <a:off x="1124941" y="492689"/>
              <a:ext cx="12492" cy="43722"/>
            </a:xfrm>
            <a:custGeom>
              <a:avLst/>
              <a:gdLst>
                <a:gd name="connsiteX0" fmla="*/ 2129 w 12492"/>
                <a:gd name="connsiteY0" fmla="*/ 46533 h 43722"/>
                <a:gd name="connsiteX1" fmla="*/ 6 w 12492"/>
                <a:gd name="connsiteY1" fmla="*/ 42661 h 43722"/>
                <a:gd name="connsiteX2" fmla="*/ 1068 w 12492"/>
                <a:gd name="connsiteY2" fmla="*/ 33979 h 43722"/>
                <a:gd name="connsiteX3" fmla="*/ 3191 w 12492"/>
                <a:gd name="connsiteY3" fmla="*/ 24297 h 43722"/>
                <a:gd name="connsiteX4" fmla="*/ 7626 w 12492"/>
                <a:gd name="connsiteY4" fmla="*/ 12180 h 43722"/>
                <a:gd name="connsiteX5" fmla="*/ 16308 w 12492"/>
                <a:gd name="connsiteY5" fmla="*/ 0 h 43722"/>
                <a:gd name="connsiteX6" fmla="*/ 13934 w 12492"/>
                <a:gd name="connsiteY6" fmla="*/ 8807 h 43722"/>
                <a:gd name="connsiteX7" fmla="*/ 11686 w 12492"/>
                <a:gd name="connsiteY7" fmla="*/ 17052 h 43722"/>
                <a:gd name="connsiteX8" fmla="*/ 5814 w 12492"/>
                <a:gd name="connsiteY8" fmla="*/ 34666 h 43722"/>
                <a:gd name="connsiteX9" fmla="*/ 4565 w 12492"/>
                <a:gd name="connsiteY9" fmla="*/ 39225 h 43722"/>
                <a:gd name="connsiteX10" fmla="*/ 3254 w 12492"/>
                <a:gd name="connsiteY10" fmla="*/ 44097 h 43722"/>
                <a:gd name="connsiteX11" fmla="*/ 2129 w 12492"/>
                <a:gd name="connsiteY11" fmla="*/ 4653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43722">
                  <a:moveTo>
                    <a:pt x="2129" y="46533"/>
                  </a:moveTo>
                  <a:cubicBezTo>
                    <a:pt x="-619" y="46158"/>
                    <a:pt x="131" y="44222"/>
                    <a:pt x="6" y="42661"/>
                  </a:cubicBezTo>
                  <a:cubicBezTo>
                    <a:pt x="318" y="39725"/>
                    <a:pt x="1567" y="36914"/>
                    <a:pt x="1068" y="33979"/>
                  </a:cubicBezTo>
                  <a:cubicBezTo>
                    <a:pt x="-119" y="30418"/>
                    <a:pt x="755" y="27233"/>
                    <a:pt x="3191" y="24297"/>
                  </a:cubicBezTo>
                  <a:cubicBezTo>
                    <a:pt x="4753" y="20237"/>
                    <a:pt x="7064" y="16302"/>
                    <a:pt x="7626" y="12180"/>
                  </a:cubicBezTo>
                  <a:cubicBezTo>
                    <a:pt x="8375" y="6746"/>
                    <a:pt x="12560" y="4060"/>
                    <a:pt x="16308" y="0"/>
                  </a:cubicBezTo>
                  <a:cubicBezTo>
                    <a:pt x="17557" y="3873"/>
                    <a:pt x="13934" y="5934"/>
                    <a:pt x="13934" y="8807"/>
                  </a:cubicBezTo>
                  <a:cubicBezTo>
                    <a:pt x="15496" y="12055"/>
                    <a:pt x="12123" y="14179"/>
                    <a:pt x="11686" y="17052"/>
                  </a:cubicBezTo>
                  <a:cubicBezTo>
                    <a:pt x="8875" y="22673"/>
                    <a:pt x="6564" y="28482"/>
                    <a:pt x="5814" y="34666"/>
                  </a:cubicBezTo>
                  <a:cubicBezTo>
                    <a:pt x="5627" y="36227"/>
                    <a:pt x="5315" y="37789"/>
                    <a:pt x="4565" y="39225"/>
                  </a:cubicBezTo>
                  <a:cubicBezTo>
                    <a:pt x="3566" y="40724"/>
                    <a:pt x="2816" y="42286"/>
                    <a:pt x="3254" y="44097"/>
                  </a:cubicBezTo>
                  <a:cubicBezTo>
                    <a:pt x="3191" y="45034"/>
                    <a:pt x="3004" y="45909"/>
                    <a:pt x="2129" y="46533"/>
                  </a:cubicBezTo>
                  <a:close/>
                </a:path>
              </a:pathLst>
            </a:custGeom>
            <a:grpFill/>
            <a:ln w="6246" cap="flat">
              <a:noFill/>
              <a:prstDash val="solid"/>
              <a:miter/>
            </a:ln>
          </p:spPr>
          <p:txBody>
            <a:bodyPr rtlCol="0" anchor="ctr"/>
            <a:lstStyle/>
            <a:p>
              <a:endParaRPr lang="fr-FR" sz="2400"/>
            </a:p>
          </p:txBody>
        </p:sp>
        <p:sp>
          <p:nvSpPr>
            <p:cNvPr id="373" name="Freeform: Shape 372">
              <a:extLst>
                <a:ext uri="{FF2B5EF4-FFF2-40B4-BE49-F238E27FC236}">
                  <a16:creationId xmlns:a16="http://schemas.microsoft.com/office/drawing/2014/main" id="{A0D1BB1A-6CB4-4128-8ADC-3E356E8F1344}"/>
                </a:ext>
              </a:extLst>
            </p:cNvPr>
            <p:cNvSpPr/>
            <p:nvPr/>
          </p:nvSpPr>
          <p:spPr>
            <a:xfrm>
              <a:off x="1127070" y="509178"/>
              <a:ext cx="6246" cy="37476"/>
            </a:xfrm>
            <a:custGeom>
              <a:avLst/>
              <a:gdLst>
                <a:gd name="connsiteX0" fmla="*/ 1062 w 6246"/>
                <a:gd name="connsiteY0" fmla="*/ 23235 h 37476"/>
                <a:gd name="connsiteX1" fmla="*/ 6121 w 6246"/>
                <a:gd name="connsiteY1" fmla="*/ 4185 h 37476"/>
                <a:gd name="connsiteX2" fmla="*/ 8557 w 6246"/>
                <a:gd name="connsiteY2" fmla="*/ 0 h 37476"/>
                <a:gd name="connsiteX3" fmla="*/ 10681 w 6246"/>
                <a:gd name="connsiteY3" fmla="*/ 3873 h 37476"/>
                <a:gd name="connsiteX4" fmla="*/ 6433 w 6246"/>
                <a:gd name="connsiteY4" fmla="*/ 15490 h 37476"/>
                <a:gd name="connsiteX5" fmla="*/ 6683 w 6246"/>
                <a:gd name="connsiteY5" fmla="*/ 23110 h 37476"/>
                <a:gd name="connsiteX6" fmla="*/ 6496 w 6246"/>
                <a:gd name="connsiteY6" fmla="*/ 31293 h 37476"/>
                <a:gd name="connsiteX7" fmla="*/ 2811 w 6246"/>
                <a:gd name="connsiteY7" fmla="*/ 40100 h 37476"/>
                <a:gd name="connsiteX8" fmla="*/ 1062 w 6246"/>
                <a:gd name="connsiteY8" fmla="*/ 36789 h 37476"/>
                <a:gd name="connsiteX9" fmla="*/ 0 w 6246"/>
                <a:gd name="connsiteY9" fmla="*/ 30044 h 37476"/>
                <a:gd name="connsiteX10" fmla="*/ 0 w 6246"/>
                <a:gd name="connsiteY10" fmla="*/ 27170 h 37476"/>
                <a:gd name="connsiteX11" fmla="*/ 1062 w 6246"/>
                <a:gd name="connsiteY11" fmla="*/ 23235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7476">
                  <a:moveTo>
                    <a:pt x="1062" y="23235"/>
                  </a:moveTo>
                  <a:cubicBezTo>
                    <a:pt x="2561" y="16864"/>
                    <a:pt x="2873" y="10244"/>
                    <a:pt x="6121" y="4185"/>
                  </a:cubicBezTo>
                  <a:cubicBezTo>
                    <a:pt x="6871" y="2748"/>
                    <a:pt x="7058" y="1062"/>
                    <a:pt x="8557" y="0"/>
                  </a:cubicBezTo>
                  <a:cubicBezTo>
                    <a:pt x="10119" y="874"/>
                    <a:pt x="8869" y="3061"/>
                    <a:pt x="10681" y="3873"/>
                  </a:cubicBezTo>
                  <a:cubicBezTo>
                    <a:pt x="10743" y="8182"/>
                    <a:pt x="7870" y="11618"/>
                    <a:pt x="6433" y="15490"/>
                  </a:cubicBezTo>
                  <a:cubicBezTo>
                    <a:pt x="7933" y="17989"/>
                    <a:pt x="8182" y="20487"/>
                    <a:pt x="6683" y="23110"/>
                  </a:cubicBezTo>
                  <a:cubicBezTo>
                    <a:pt x="5184" y="25796"/>
                    <a:pt x="5684" y="28545"/>
                    <a:pt x="6496" y="31293"/>
                  </a:cubicBezTo>
                  <a:cubicBezTo>
                    <a:pt x="7245" y="34916"/>
                    <a:pt x="4372" y="37289"/>
                    <a:pt x="2811" y="40100"/>
                  </a:cubicBezTo>
                  <a:cubicBezTo>
                    <a:pt x="62" y="39975"/>
                    <a:pt x="-62" y="38663"/>
                    <a:pt x="1062" y="36789"/>
                  </a:cubicBezTo>
                  <a:cubicBezTo>
                    <a:pt x="1374" y="34416"/>
                    <a:pt x="625" y="32230"/>
                    <a:pt x="0" y="30044"/>
                  </a:cubicBezTo>
                  <a:cubicBezTo>
                    <a:pt x="0" y="29107"/>
                    <a:pt x="0" y="28107"/>
                    <a:pt x="0" y="27170"/>
                  </a:cubicBezTo>
                  <a:cubicBezTo>
                    <a:pt x="687" y="25921"/>
                    <a:pt x="0" y="24422"/>
                    <a:pt x="1062" y="23235"/>
                  </a:cubicBezTo>
                  <a:close/>
                </a:path>
              </a:pathLst>
            </a:custGeom>
            <a:grpFill/>
            <a:ln w="6246" cap="flat">
              <a:noFill/>
              <a:prstDash val="solid"/>
              <a:miter/>
            </a:ln>
          </p:spPr>
          <p:txBody>
            <a:bodyPr rtlCol="0" anchor="ctr"/>
            <a:lstStyle/>
            <a:p>
              <a:endParaRPr lang="fr-FR" sz="2400"/>
            </a:p>
          </p:txBody>
        </p:sp>
        <p:sp>
          <p:nvSpPr>
            <p:cNvPr id="374" name="Freeform: Shape 373">
              <a:extLst>
                <a:ext uri="{FF2B5EF4-FFF2-40B4-BE49-F238E27FC236}">
                  <a16:creationId xmlns:a16="http://schemas.microsoft.com/office/drawing/2014/main" id="{0EAB10C3-FBE6-41CF-B265-FBA92D12C7C5}"/>
                </a:ext>
              </a:extLst>
            </p:cNvPr>
            <p:cNvSpPr/>
            <p:nvPr/>
          </p:nvSpPr>
          <p:spPr>
            <a:xfrm>
              <a:off x="1147432" y="445438"/>
              <a:ext cx="24984" cy="24984"/>
            </a:xfrm>
            <a:custGeom>
              <a:avLst/>
              <a:gdLst>
                <a:gd name="connsiteX0" fmla="*/ 21362 w 24984"/>
                <a:gd name="connsiteY0" fmla="*/ 12585 h 24984"/>
                <a:gd name="connsiteX1" fmla="*/ 11743 w 24984"/>
                <a:gd name="connsiteY1" fmla="*/ 23204 h 24984"/>
                <a:gd name="connsiteX2" fmla="*/ 9619 w 24984"/>
                <a:gd name="connsiteY2" fmla="*/ 20331 h 24984"/>
                <a:gd name="connsiteX3" fmla="*/ 9931 w 24984"/>
                <a:gd name="connsiteY3" fmla="*/ 17457 h 24984"/>
                <a:gd name="connsiteX4" fmla="*/ 1062 w 24984"/>
                <a:gd name="connsiteY4" fmla="*/ 25140 h 24984"/>
                <a:gd name="connsiteX5" fmla="*/ 0 w 24984"/>
                <a:gd name="connsiteY5" fmla="*/ 23204 h 24984"/>
                <a:gd name="connsiteX6" fmla="*/ 7495 w 24984"/>
                <a:gd name="connsiteY6" fmla="*/ 16458 h 24984"/>
                <a:gd name="connsiteX7" fmla="*/ 13429 w 24984"/>
                <a:gd name="connsiteY7" fmla="*/ 9150 h 24984"/>
                <a:gd name="connsiteX8" fmla="*/ 19550 w 24984"/>
                <a:gd name="connsiteY8" fmla="*/ 4840 h 24984"/>
                <a:gd name="connsiteX9" fmla="*/ 26796 w 24984"/>
                <a:gd name="connsiteY9" fmla="*/ 31 h 24984"/>
                <a:gd name="connsiteX10" fmla="*/ 27857 w 24984"/>
                <a:gd name="connsiteY10" fmla="*/ 968 h 24984"/>
                <a:gd name="connsiteX11" fmla="*/ 20862 w 24984"/>
                <a:gd name="connsiteY11" fmla="*/ 9712 h 24984"/>
                <a:gd name="connsiteX12" fmla="*/ 20362 w 24984"/>
                <a:gd name="connsiteY12" fmla="*/ 11586 h 24984"/>
                <a:gd name="connsiteX13" fmla="*/ 21362 w 24984"/>
                <a:gd name="connsiteY13" fmla="*/ 1258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24984">
                  <a:moveTo>
                    <a:pt x="21362" y="12585"/>
                  </a:moveTo>
                  <a:cubicBezTo>
                    <a:pt x="18863" y="16645"/>
                    <a:pt x="16677" y="20955"/>
                    <a:pt x="11743" y="23204"/>
                  </a:cubicBezTo>
                  <a:cubicBezTo>
                    <a:pt x="10681" y="22454"/>
                    <a:pt x="10806" y="20955"/>
                    <a:pt x="9619" y="20331"/>
                  </a:cubicBezTo>
                  <a:cubicBezTo>
                    <a:pt x="9681" y="19581"/>
                    <a:pt x="9806" y="18832"/>
                    <a:pt x="9931" y="17457"/>
                  </a:cubicBezTo>
                  <a:cubicBezTo>
                    <a:pt x="6621" y="20206"/>
                    <a:pt x="4435" y="23266"/>
                    <a:pt x="1062" y="25140"/>
                  </a:cubicBezTo>
                  <a:cubicBezTo>
                    <a:pt x="187" y="24703"/>
                    <a:pt x="625" y="23766"/>
                    <a:pt x="0" y="23204"/>
                  </a:cubicBezTo>
                  <a:cubicBezTo>
                    <a:pt x="937" y="19519"/>
                    <a:pt x="6434" y="20018"/>
                    <a:pt x="7495" y="16458"/>
                  </a:cubicBezTo>
                  <a:cubicBezTo>
                    <a:pt x="8557" y="13397"/>
                    <a:pt x="10431" y="10961"/>
                    <a:pt x="13429" y="9150"/>
                  </a:cubicBezTo>
                  <a:cubicBezTo>
                    <a:pt x="16302" y="8650"/>
                    <a:pt x="17801" y="6652"/>
                    <a:pt x="19550" y="4840"/>
                  </a:cubicBezTo>
                  <a:cubicBezTo>
                    <a:pt x="21549" y="2779"/>
                    <a:pt x="22798" y="-344"/>
                    <a:pt x="26796" y="31"/>
                  </a:cubicBezTo>
                  <a:cubicBezTo>
                    <a:pt x="27170" y="343"/>
                    <a:pt x="27483" y="655"/>
                    <a:pt x="27857" y="968"/>
                  </a:cubicBezTo>
                  <a:cubicBezTo>
                    <a:pt x="27483" y="5215"/>
                    <a:pt x="22798" y="6527"/>
                    <a:pt x="20862" y="9712"/>
                  </a:cubicBezTo>
                  <a:cubicBezTo>
                    <a:pt x="20612" y="10149"/>
                    <a:pt x="17989" y="10524"/>
                    <a:pt x="20362" y="11586"/>
                  </a:cubicBezTo>
                  <a:cubicBezTo>
                    <a:pt x="20675" y="11898"/>
                    <a:pt x="20987" y="12211"/>
                    <a:pt x="21362" y="12585"/>
                  </a:cubicBezTo>
                  <a:close/>
                </a:path>
              </a:pathLst>
            </a:custGeom>
            <a:grpFill/>
            <a:ln w="6246" cap="flat">
              <a:noFill/>
              <a:prstDash val="solid"/>
              <a:miter/>
            </a:ln>
          </p:spPr>
          <p:txBody>
            <a:bodyPr rtlCol="0" anchor="ctr"/>
            <a:lstStyle/>
            <a:p>
              <a:endParaRPr lang="fr-FR" sz="2400"/>
            </a:p>
          </p:txBody>
        </p:sp>
        <p:sp>
          <p:nvSpPr>
            <p:cNvPr id="375" name="Freeform: Shape 374">
              <a:extLst>
                <a:ext uri="{FF2B5EF4-FFF2-40B4-BE49-F238E27FC236}">
                  <a16:creationId xmlns:a16="http://schemas.microsoft.com/office/drawing/2014/main" id="{AC5BFD9D-5A6F-40C1-858F-60C6BB4BB31E}"/>
                </a:ext>
              </a:extLst>
            </p:cNvPr>
            <p:cNvSpPr/>
            <p:nvPr/>
          </p:nvSpPr>
          <p:spPr>
            <a:xfrm>
              <a:off x="1132679" y="525668"/>
              <a:ext cx="6246" cy="31230"/>
            </a:xfrm>
            <a:custGeom>
              <a:avLst/>
              <a:gdLst>
                <a:gd name="connsiteX0" fmla="*/ 4010 w 6246"/>
                <a:gd name="connsiteY0" fmla="*/ 0 h 31230"/>
                <a:gd name="connsiteX1" fmla="*/ 5509 w 6246"/>
                <a:gd name="connsiteY1" fmla="*/ 4435 h 31230"/>
                <a:gd name="connsiteX2" fmla="*/ 6758 w 6246"/>
                <a:gd name="connsiteY2" fmla="*/ 17801 h 31230"/>
                <a:gd name="connsiteX3" fmla="*/ 5634 w 6246"/>
                <a:gd name="connsiteY3" fmla="*/ 24734 h 31230"/>
                <a:gd name="connsiteX4" fmla="*/ 7320 w 6246"/>
                <a:gd name="connsiteY4" fmla="*/ 31480 h 31230"/>
                <a:gd name="connsiteX5" fmla="*/ 7258 w 6246"/>
                <a:gd name="connsiteY5" fmla="*/ 32917 h 31230"/>
                <a:gd name="connsiteX6" fmla="*/ 3885 w 6246"/>
                <a:gd name="connsiteY6" fmla="*/ 33042 h 31230"/>
                <a:gd name="connsiteX7" fmla="*/ 637 w 6246"/>
                <a:gd name="connsiteY7" fmla="*/ 28170 h 31230"/>
                <a:gd name="connsiteX8" fmla="*/ 2948 w 6246"/>
                <a:gd name="connsiteY8" fmla="*/ 999 h 31230"/>
                <a:gd name="connsiteX9" fmla="*/ 4010 w 6246"/>
                <a:gd name="connsiteY9" fmla="*/ 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6" h="31230">
                  <a:moveTo>
                    <a:pt x="4010" y="0"/>
                  </a:moveTo>
                  <a:cubicBezTo>
                    <a:pt x="6259" y="999"/>
                    <a:pt x="5759" y="2498"/>
                    <a:pt x="5509" y="4435"/>
                  </a:cubicBezTo>
                  <a:cubicBezTo>
                    <a:pt x="5009" y="8932"/>
                    <a:pt x="3260" y="13616"/>
                    <a:pt x="6758" y="17801"/>
                  </a:cubicBezTo>
                  <a:cubicBezTo>
                    <a:pt x="9132" y="20674"/>
                    <a:pt x="3385" y="23735"/>
                    <a:pt x="5634" y="24734"/>
                  </a:cubicBezTo>
                  <a:cubicBezTo>
                    <a:pt x="10131" y="26796"/>
                    <a:pt x="7633" y="29107"/>
                    <a:pt x="7320" y="31480"/>
                  </a:cubicBezTo>
                  <a:cubicBezTo>
                    <a:pt x="7258" y="31980"/>
                    <a:pt x="7258" y="32417"/>
                    <a:pt x="7258" y="32917"/>
                  </a:cubicBezTo>
                  <a:cubicBezTo>
                    <a:pt x="6196" y="34478"/>
                    <a:pt x="5009" y="34228"/>
                    <a:pt x="3885" y="33042"/>
                  </a:cubicBezTo>
                  <a:cubicBezTo>
                    <a:pt x="2511" y="31605"/>
                    <a:pt x="1386" y="29981"/>
                    <a:pt x="637" y="28170"/>
                  </a:cubicBezTo>
                  <a:cubicBezTo>
                    <a:pt x="-675" y="18988"/>
                    <a:pt x="12" y="9931"/>
                    <a:pt x="2948" y="999"/>
                  </a:cubicBezTo>
                  <a:cubicBezTo>
                    <a:pt x="3323" y="625"/>
                    <a:pt x="3635" y="312"/>
                    <a:pt x="4010" y="0"/>
                  </a:cubicBezTo>
                  <a:close/>
                </a:path>
              </a:pathLst>
            </a:custGeom>
            <a:grpFill/>
            <a:ln w="6246" cap="flat">
              <a:noFill/>
              <a:prstDash val="solid"/>
              <a:miter/>
            </a:ln>
          </p:spPr>
          <p:txBody>
            <a:bodyPr rtlCol="0" anchor="ctr"/>
            <a:lstStyle/>
            <a:p>
              <a:endParaRPr lang="fr-FR" sz="2400"/>
            </a:p>
          </p:txBody>
        </p:sp>
        <p:sp>
          <p:nvSpPr>
            <p:cNvPr id="376" name="Freeform: Shape 375">
              <a:extLst>
                <a:ext uri="{FF2B5EF4-FFF2-40B4-BE49-F238E27FC236}">
                  <a16:creationId xmlns:a16="http://schemas.microsoft.com/office/drawing/2014/main" id="{268DA752-ACC1-4A95-BA76-E7E40C458ADA}"/>
                </a:ext>
              </a:extLst>
            </p:cNvPr>
            <p:cNvSpPr/>
            <p:nvPr/>
          </p:nvSpPr>
          <p:spPr>
            <a:xfrm>
              <a:off x="1126074" y="524793"/>
              <a:ext cx="6246" cy="31230"/>
            </a:xfrm>
            <a:custGeom>
              <a:avLst/>
              <a:gdLst>
                <a:gd name="connsiteX0" fmla="*/ 9554 w 6246"/>
                <a:gd name="connsiteY0" fmla="*/ 1874 h 31230"/>
                <a:gd name="connsiteX1" fmla="*/ 7805 w 6246"/>
                <a:gd name="connsiteY1" fmla="*/ 16615 h 31230"/>
                <a:gd name="connsiteX2" fmla="*/ 8492 w 6246"/>
                <a:gd name="connsiteY2" fmla="*/ 29919 h 31230"/>
                <a:gd name="connsiteX3" fmla="*/ 7867 w 6246"/>
                <a:gd name="connsiteY3" fmla="*/ 31293 h 31230"/>
                <a:gd name="connsiteX4" fmla="*/ 3058 w 6246"/>
                <a:gd name="connsiteY4" fmla="*/ 35165 h 31230"/>
                <a:gd name="connsiteX5" fmla="*/ 934 w 6246"/>
                <a:gd name="connsiteY5" fmla="*/ 32792 h 31230"/>
                <a:gd name="connsiteX6" fmla="*/ 1746 w 6246"/>
                <a:gd name="connsiteY6" fmla="*/ 25859 h 31230"/>
                <a:gd name="connsiteX7" fmla="*/ 4182 w 6246"/>
                <a:gd name="connsiteY7" fmla="*/ 24110 h 31230"/>
                <a:gd name="connsiteX8" fmla="*/ 6306 w 6246"/>
                <a:gd name="connsiteY8" fmla="*/ 15428 h 31230"/>
                <a:gd name="connsiteX9" fmla="*/ 6306 w 6246"/>
                <a:gd name="connsiteY9" fmla="*/ 6746 h 31230"/>
                <a:gd name="connsiteX10" fmla="*/ 7368 w 6246"/>
                <a:gd name="connsiteY10" fmla="*/ 0 h 31230"/>
                <a:gd name="connsiteX11" fmla="*/ 9554 w 6246"/>
                <a:gd name="connsiteY11" fmla="*/ 187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6" h="31230">
                  <a:moveTo>
                    <a:pt x="9554" y="1874"/>
                  </a:moveTo>
                  <a:cubicBezTo>
                    <a:pt x="9866" y="6871"/>
                    <a:pt x="8804" y="11743"/>
                    <a:pt x="7805" y="16615"/>
                  </a:cubicBezTo>
                  <a:cubicBezTo>
                    <a:pt x="6868" y="21174"/>
                    <a:pt x="9429" y="25484"/>
                    <a:pt x="8492" y="29919"/>
                  </a:cubicBezTo>
                  <a:cubicBezTo>
                    <a:pt x="8367" y="30418"/>
                    <a:pt x="8117" y="30856"/>
                    <a:pt x="7867" y="31293"/>
                  </a:cubicBezTo>
                  <a:cubicBezTo>
                    <a:pt x="6680" y="33042"/>
                    <a:pt x="5806" y="35165"/>
                    <a:pt x="3058" y="35165"/>
                  </a:cubicBezTo>
                  <a:cubicBezTo>
                    <a:pt x="1621" y="35165"/>
                    <a:pt x="1309" y="33916"/>
                    <a:pt x="934" y="32792"/>
                  </a:cubicBezTo>
                  <a:cubicBezTo>
                    <a:pt x="184" y="30356"/>
                    <a:pt x="-1065" y="27920"/>
                    <a:pt x="1746" y="25859"/>
                  </a:cubicBezTo>
                  <a:cubicBezTo>
                    <a:pt x="2558" y="25234"/>
                    <a:pt x="3495" y="24859"/>
                    <a:pt x="4182" y="24110"/>
                  </a:cubicBezTo>
                  <a:cubicBezTo>
                    <a:pt x="2870" y="20799"/>
                    <a:pt x="7617" y="18738"/>
                    <a:pt x="6306" y="15428"/>
                  </a:cubicBezTo>
                  <a:cubicBezTo>
                    <a:pt x="5494" y="12555"/>
                    <a:pt x="5494" y="9619"/>
                    <a:pt x="6306" y="6746"/>
                  </a:cubicBezTo>
                  <a:cubicBezTo>
                    <a:pt x="8866" y="4747"/>
                    <a:pt x="5931" y="2124"/>
                    <a:pt x="7368" y="0"/>
                  </a:cubicBezTo>
                  <a:cubicBezTo>
                    <a:pt x="8742" y="0"/>
                    <a:pt x="9491" y="625"/>
                    <a:pt x="9554" y="1874"/>
                  </a:cubicBezTo>
                  <a:close/>
                </a:path>
              </a:pathLst>
            </a:custGeom>
            <a:grpFill/>
            <a:ln w="6246" cap="flat">
              <a:noFill/>
              <a:prstDash val="solid"/>
              <a:miter/>
            </a:ln>
          </p:spPr>
          <p:txBody>
            <a:bodyPr rtlCol="0" anchor="ctr"/>
            <a:lstStyle/>
            <a:p>
              <a:endParaRPr lang="fr-FR" sz="2400"/>
            </a:p>
          </p:txBody>
        </p:sp>
        <p:sp>
          <p:nvSpPr>
            <p:cNvPr id="377" name="Freeform: Shape 376">
              <a:extLst>
                <a:ext uri="{FF2B5EF4-FFF2-40B4-BE49-F238E27FC236}">
                  <a16:creationId xmlns:a16="http://schemas.microsoft.com/office/drawing/2014/main" id="{2A9D6615-0A53-4D7E-A52B-794088789129}"/>
                </a:ext>
              </a:extLst>
            </p:cNvPr>
            <p:cNvSpPr/>
            <p:nvPr/>
          </p:nvSpPr>
          <p:spPr>
            <a:xfrm>
              <a:off x="1112677" y="492279"/>
              <a:ext cx="12492" cy="31230"/>
            </a:xfrm>
            <a:custGeom>
              <a:avLst/>
              <a:gdLst>
                <a:gd name="connsiteX0" fmla="*/ 7960 w 12492"/>
                <a:gd name="connsiteY0" fmla="*/ 21771 h 31230"/>
                <a:gd name="connsiteX1" fmla="*/ 7960 w 12492"/>
                <a:gd name="connsiteY1" fmla="*/ 22708 h 31230"/>
                <a:gd name="connsiteX2" fmla="*/ 5336 w 12492"/>
                <a:gd name="connsiteY2" fmla="*/ 27018 h 31230"/>
                <a:gd name="connsiteX3" fmla="*/ 2651 w 12492"/>
                <a:gd name="connsiteY3" fmla="*/ 31390 h 31230"/>
                <a:gd name="connsiteX4" fmla="*/ 1589 w 12492"/>
                <a:gd name="connsiteY4" fmla="*/ 34263 h 31230"/>
                <a:gd name="connsiteX5" fmla="*/ 1089 w 12492"/>
                <a:gd name="connsiteY5" fmla="*/ 24082 h 31230"/>
                <a:gd name="connsiteX6" fmla="*/ 4337 w 12492"/>
                <a:gd name="connsiteY6" fmla="*/ 13214 h 31230"/>
                <a:gd name="connsiteX7" fmla="*/ 6898 w 12492"/>
                <a:gd name="connsiteY7" fmla="*/ 7468 h 31230"/>
                <a:gd name="connsiteX8" fmla="*/ 7772 w 12492"/>
                <a:gd name="connsiteY8" fmla="*/ 4407 h 31230"/>
                <a:gd name="connsiteX9" fmla="*/ 8459 w 12492"/>
                <a:gd name="connsiteY9" fmla="*/ 2658 h 31230"/>
                <a:gd name="connsiteX10" fmla="*/ 9459 w 12492"/>
                <a:gd name="connsiteY10" fmla="*/ 1846 h 31230"/>
                <a:gd name="connsiteX11" fmla="*/ 13394 w 12492"/>
                <a:gd name="connsiteY11" fmla="*/ 472 h 31230"/>
                <a:gd name="connsiteX12" fmla="*/ 10958 w 12492"/>
                <a:gd name="connsiteY12" fmla="*/ 10528 h 31230"/>
                <a:gd name="connsiteX13" fmla="*/ 7960 w 12492"/>
                <a:gd name="connsiteY13" fmla="*/ 2177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92" h="31230">
                  <a:moveTo>
                    <a:pt x="7960" y="21771"/>
                  </a:moveTo>
                  <a:cubicBezTo>
                    <a:pt x="7960" y="22083"/>
                    <a:pt x="7960" y="22396"/>
                    <a:pt x="7960" y="22708"/>
                  </a:cubicBezTo>
                  <a:cubicBezTo>
                    <a:pt x="6461" y="23832"/>
                    <a:pt x="5086" y="25019"/>
                    <a:pt x="5336" y="27018"/>
                  </a:cubicBezTo>
                  <a:cubicBezTo>
                    <a:pt x="5586" y="29016"/>
                    <a:pt x="3962" y="30141"/>
                    <a:pt x="2651" y="31390"/>
                  </a:cubicBezTo>
                  <a:cubicBezTo>
                    <a:pt x="2651" y="32452"/>
                    <a:pt x="2775" y="33576"/>
                    <a:pt x="1589" y="34263"/>
                  </a:cubicBezTo>
                  <a:cubicBezTo>
                    <a:pt x="-1347" y="30953"/>
                    <a:pt x="589" y="27517"/>
                    <a:pt x="1089" y="24082"/>
                  </a:cubicBezTo>
                  <a:cubicBezTo>
                    <a:pt x="1401" y="20272"/>
                    <a:pt x="3338" y="16837"/>
                    <a:pt x="4337" y="13214"/>
                  </a:cubicBezTo>
                  <a:cubicBezTo>
                    <a:pt x="5149" y="11278"/>
                    <a:pt x="6336" y="9529"/>
                    <a:pt x="6898" y="7468"/>
                  </a:cubicBezTo>
                  <a:cubicBezTo>
                    <a:pt x="7335" y="6468"/>
                    <a:pt x="7647" y="5469"/>
                    <a:pt x="7772" y="4407"/>
                  </a:cubicBezTo>
                  <a:cubicBezTo>
                    <a:pt x="7897" y="3782"/>
                    <a:pt x="8085" y="3220"/>
                    <a:pt x="8459" y="2658"/>
                  </a:cubicBezTo>
                  <a:cubicBezTo>
                    <a:pt x="8709" y="2346"/>
                    <a:pt x="9084" y="2033"/>
                    <a:pt x="9459" y="1846"/>
                  </a:cubicBezTo>
                  <a:cubicBezTo>
                    <a:pt x="10708" y="1284"/>
                    <a:pt x="11333" y="-965"/>
                    <a:pt x="13394" y="472"/>
                  </a:cubicBezTo>
                  <a:cubicBezTo>
                    <a:pt x="15518" y="4345"/>
                    <a:pt x="12582" y="7655"/>
                    <a:pt x="10958" y="10528"/>
                  </a:cubicBezTo>
                  <a:cubicBezTo>
                    <a:pt x="8709" y="14276"/>
                    <a:pt x="8210" y="17898"/>
                    <a:pt x="7960" y="21771"/>
                  </a:cubicBezTo>
                  <a:close/>
                </a:path>
              </a:pathLst>
            </a:custGeom>
            <a:grpFill/>
            <a:ln w="6246" cap="flat">
              <a:noFill/>
              <a:prstDash val="solid"/>
              <a:miter/>
            </a:ln>
          </p:spPr>
          <p:txBody>
            <a:bodyPr rtlCol="0" anchor="ctr"/>
            <a:lstStyle/>
            <a:p>
              <a:endParaRPr lang="fr-FR" sz="2400"/>
            </a:p>
          </p:txBody>
        </p:sp>
        <p:sp>
          <p:nvSpPr>
            <p:cNvPr id="378" name="Freeform: Shape 377">
              <a:extLst>
                <a:ext uri="{FF2B5EF4-FFF2-40B4-BE49-F238E27FC236}">
                  <a16:creationId xmlns:a16="http://schemas.microsoft.com/office/drawing/2014/main" id="{02FDF94B-9BB0-4E77-A76C-0590D1A36FDA}"/>
                </a:ext>
              </a:extLst>
            </p:cNvPr>
            <p:cNvSpPr/>
            <p:nvPr/>
          </p:nvSpPr>
          <p:spPr>
            <a:xfrm>
              <a:off x="1135261" y="447342"/>
              <a:ext cx="18738" cy="24984"/>
            </a:xfrm>
            <a:custGeom>
              <a:avLst/>
              <a:gdLst>
                <a:gd name="connsiteX0" fmla="*/ 17606 w 18738"/>
                <a:gd name="connsiteY0" fmla="*/ 3997 h 24984"/>
                <a:gd name="connsiteX1" fmla="*/ 23852 w 18738"/>
                <a:gd name="connsiteY1" fmla="*/ 0 h 24984"/>
                <a:gd name="connsiteX2" fmla="*/ 23477 w 18738"/>
                <a:gd name="connsiteY2" fmla="*/ 2748 h 24984"/>
                <a:gd name="connsiteX3" fmla="*/ 4114 w 18738"/>
                <a:gd name="connsiteY3" fmla="*/ 26733 h 24984"/>
                <a:gd name="connsiteX4" fmla="*/ 304 w 18738"/>
                <a:gd name="connsiteY4" fmla="*/ 29044 h 24984"/>
                <a:gd name="connsiteX5" fmla="*/ 554 w 18738"/>
                <a:gd name="connsiteY5" fmla="*/ 23235 h 24984"/>
                <a:gd name="connsiteX6" fmla="*/ 2053 w 18738"/>
                <a:gd name="connsiteY6" fmla="*/ 20987 h 24984"/>
                <a:gd name="connsiteX7" fmla="*/ 4364 w 18738"/>
                <a:gd name="connsiteY7" fmla="*/ 19363 h 24984"/>
                <a:gd name="connsiteX8" fmla="*/ 8986 w 18738"/>
                <a:gd name="connsiteY8" fmla="*/ 13991 h 24984"/>
                <a:gd name="connsiteX9" fmla="*/ 10922 w 18738"/>
                <a:gd name="connsiteY9" fmla="*/ 10493 h 24984"/>
                <a:gd name="connsiteX10" fmla="*/ 10860 w 18738"/>
                <a:gd name="connsiteY10" fmla="*/ 10493 h 24984"/>
                <a:gd name="connsiteX11" fmla="*/ 17606 w 18738"/>
                <a:gd name="connsiteY11" fmla="*/ 3997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24984">
                  <a:moveTo>
                    <a:pt x="17606" y="3997"/>
                  </a:moveTo>
                  <a:cubicBezTo>
                    <a:pt x="20416" y="3623"/>
                    <a:pt x="21166" y="500"/>
                    <a:pt x="23852" y="0"/>
                  </a:cubicBezTo>
                  <a:cubicBezTo>
                    <a:pt x="25351" y="1124"/>
                    <a:pt x="24352" y="1936"/>
                    <a:pt x="23477" y="2748"/>
                  </a:cubicBezTo>
                  <a:cubicBezTo>
                    <a:pt x="15919" y="9994"/>
                    <a:pt x="9548" y="18051"/>
                    <a:pt x="4114" y="26733"/>
                  </a:cubicBezTo>
                  <a:cubicBezTo>
                    <a:pt x="3427" y="27795"/>
                    <a:pt x="2990" y="30168"/>
                    <a:pt x="304" y="29044"/>
                  </a:cubicBezTo>
                  <a:cubicBezTo>
                    <a:pt x="-633" y="27108"/>
                    <a:pt x="929" y="25234"/>
                    <a:pt x="554" y="23235"/>
                  </a:cubicBezTo>
                  <a:cubicBezTo>
                    <a:pt x="741" y="22298"/>
                    <a:pt x="1179" y="21549"/>
                    <a:pt x="2053" y="20987"/>
                  </a:cubicBezTo>
                  <a:cubicBezTo>
                    <a:pt x="2927" y="20612"/>
                    <a:pt x="3427" y="19738"/>
                    <a:pt x="4364" y="19363"/>
                  </a:cubicBezTo>
                  <a:cubicBezTo>
                    <a:pt x="6863" y="18239"/>
                    <a:pt x="7924" y="16115"/>
                    <a:pt x="8986" y="13991"/>
                  </a:cubicBezTo>
                  <a:cubicBezTo>
                    <a:pt x="9611" y="12804"/>
                    <a:pt x="10423" y="11743"/>
                    <a:pt x="10922" y="10493"/>
                  </a:cubicBezTo>
                  <a:cubicBezTo>
                    <a:pt x="10922" y="10493"/>
                    <a:pt x="10860" y="10493"/>
                    <a:pt x="10860" y="10493"/>
                  </a:cubicBezTo>
                  <a:cubicBezTo>
                    <a:pt x="13858" y="8932"/>
                    <a:pt x="16856" y="7433"/>
                    <a:pt x="17606" y="3997"/>
                  </a:cubicBezTo>
                  <a:close/>
                </a:path>
              </a:pathLst>
            </a:custGeom>
            <a:grpFill/>
            <a:ln w="6246" cap="flat">
              <a:noFill/>
              <a:prstDash val="solid"/>
              <a:miter/>
            </a:ln>
          </p:spPr>
          <p:txBody>
            <a:bodyPr rtlCol="0" anchor="ctr"/>
            <a:lstStyle/>
            <a:p>
              <a:endParaRPr lang="fr-FR" sz="2400"/>
            </a:p>
          </p:txBody>
        </p:sp>
        <p:sp>
          <p:nvSpPr>
            <p:cNvPr id="379" name="Freeform: Shape 378">
              <a:extLst>
                <a:ext uri="{FF2B5EF4-FFF2-40B4-BE49-F238E27FC236}">
                  <a16:creationId xmlns:a16="http://schemas.microsoft.com/office/drawing/2014/main" id="{FED71540-F29F-4E1E-8BC3-007A5B635B0D}"/>
                </a:ext>
              </a:extLst>
            </p:cNvPr>
            <p:cNvSpPr/>
            <p:nvPr/>
          </p:nvSpPr>
          <p:spPr>
            <a:xfrm>
              <a:off x="1154413" y="427043"/>
              <a:ext cx="37476" cy="31230"/>
            </a:xfrm>
            <a:custGeom>
              <a:avLst/>
              <a:gdLst>
                <a:gd name="connsiteX0" fmla="*/ 6885 w 37476"/>
                <a:gd name="connsiteY0" fmla="*/ 28045 h 31230"/>
                <a:gd name="connsiteX1" fmla="*/ 452 w 37476"/>
                <a:gd name="connsiteY1" fmla="*/ 34791 h 31230"/>
                <a:gd name="connsiteX2" fmla="*/ 3200 w 37476"/>
                <a:gd name="connsiteY2" fmla="*/ 29044 h 31230"/>
                <a:gd name="connsiteX3" fmla="*/ 7947 w 37476"/>
                <a:gd name="connsiteY3" fmla="*/ 24172 h 31230"/>
                <a:gd name="connsiteX4" fmla="*/ 37928 w 37476"/>
                <a:gd name="connsiteY4" fmla="*/ 0 h 31230"/>
                <a:gd name="connsiteX5" fmla="*/ 37928 w 37476"/>
                <a:gd name="connsiteY5" fmla="*/ 999 h 31230"/>
                <a:gd name="connsiteX6" fmla="*/ 30870 w 37476"/>
                <a:gd name="connsiteY6" fmla="*/ 7995 h 31230"/>
                <a:gd name="connsiteX7" fmla="*/ 24437 w 37476"/>
                <a:gd name="connsiteY7" fmla="*/ 12929 h 31230"/>
                <a:gd name="connsiteX8" fmla="*/ 10446 w 37476"/>
                <a:gd name="connsiteY8" fmla="*/ 25859 h 31230"/>
                <a:gd name="connsiteX9" fmla="*/ 6885 w 37476"/>
                <a:gd name="connsiteY9" fmla="*/ 28045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31230">
                  <a:moveTo>
                    <a:pt x="6885" y="28045"/>
                  </a:moveTo>
                  <a:cubicBezTo>
                    <a:pt x="3825" y="29606"/>
                    <a:pt x="2763" y="32667"/>
                    <a:pt x="452" y="34791"/>
                  </a:cubicBezTo>
                  <a:cubicBezTo>
                    <a:pt x="-1172" y="31917"/>
                    <a:pt x="2013" y="30793"/>
                    <a:pt x="3200" y="29044"/>
                  </a:cubicBezTo>
                  <a:cubicBezTo>
                    <a:pt x="4449" y="27233"/>
                    <a:pt x="6323" y="25734"/>
                    <a:pt x="7947" y="24172"/>
                  </a:cubicBezTo>
                  <a:cubicBezTo>
                    <a:pt x="17254" y="15428"/>
                    <a:pt x="26748" y="6871"/>
                    <a:pt x="37928" y="0"/>
                  </a:cubicBezTo>
                  <a:cubicBezTo>
                    <a:pt x="37928" y="312"/>
                    <a:pt x="37928" y="625"/>
                    <a:pt x="37928" y="999"/>
                  </a:cubicBezTo>
                  <a:cubicBezTo>
                    <a:pt x="38116" y="5372"/>
                    <a:pt x="33244" y="5684"/>
                    <a:pt x="30870" y="7995"/>
                  </a:cubicBezTo>
                  <a:cubicBezTo>
                    <a:pt x="28996" y="9806"/>
                    <a:pt x="26498" y="11243"/>
                    <a:pt x="24437" y="12929"/>
                  </a:cubicBezTo>
                  <a:cubicBezTo>
                    <a:pt x="19565" y="17052"/>
                    <a:pt x="14755" y="21237"/>
                    <a:pt x="10446" y="25859"/>
                  </a:cubicBezTo>
                  <a:cubicBezTo>
                    <a:pt x="9509" y="26858"/>
                    <a:pt x="9009" y="28607"/>
                    <a:pt x="6885" y="28045"/>
                  </a:cubicBezTo>
                  <a:close/>
                </a:path>
              </a:pathLst>
            </a:custGeom>
            <a:grpFill/>
            <a:ln w="6246" cap="flat">
              <a:noFill/>
              <a:prstDash val="solid"/>
              <a:miter/>
            </a:ln>
          </p:spPr>
          <p:txBody>
            <a:bodyPr rtlCol="0" anchor="ctr"/>
            <a:lstStyle/>
            <a:p>
              <a:endParaRPr lang="fr-FR" sz="2400"/>
            </a:p>
          </p:txBody>
        </p:sp>
        <p:sp>
          <p:nvSpPr>
            <p:cNvPr id="380" name="Freeform: Shape 379">
              <a:extLst>
                <a:ext uri="{FF2B5EF4-FFF2-40B4-BE49-F238E27FC236}">
                  <a16:creationId xmlns:a16="http://schemas.microsoft.com/office/drawing/2014/main" id="{A3E23B6A-A98B-4C34-A2D1-E2AD80126759}"/>
                </a:ext>
              </a:extLst>
            </p:cNvPr>
            <p:cNvSpPr/>
            <p:nvPr/>
          </p:nvSpPr>
          <p:spPr>
            <a:xfrm>
              <a:off x="1145247" y="465171"/>
              <a:ext cx="12492" cy="18738"/>
            </a:xfrm>
            <a:custGeom>
              <a:avLst/>
              <a:gdLst>
                <a:gd name="connsiteX0" fmla="*/ 11804 w 12492"/>
                <a:gd name="connsiteY0" fmla="*/ 535 h 18738"/>
                <a:gd name="connsiteX1" fmla="*/ 13928 w 12492"/>
                <a:gd name="connsiteY1" fmla="*/ 3408 h 18738"/>
                <a:gd name="connsiteX2" fmla="*/ 1061 w 12492"/>
                <a:gd name="connsiteY2" fmla="*/ 22708 h 18738"/>
                <a:gd name="connsiteX3" fmla="*/ 1248 w 12492"/>
                <a:gd name="connsiteY3" fmla="*/ 17524 h 18738"/>
                <a:gd name="connsiteX4" fmla="*/ 11804 w 12492"/>
                <a:gd name="connsiteY4" fmla="*/ 535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1804" y="535"/>
                  </a:moveTo>
                  <a:cubicBezTo>
                    <a:pt x="17301" y="-1401"/>
                    <a:pt x="13303" y="2471"/>
                    <a:pt x="13928" y="3408"/>
                  </a:cubicBezTo>
                  <a:cubicBezTo>
                    <a:pt x="8681" y="9342"/>
                    <a:pt x="4246" y="15713"/>
                    <a:pt x="1061" y="22708"/>
                  </a:cubicBezTo>
                  <a:cubicBezTo>
                    <a:pt x="-1000" y="20897"/>
                    <a:pt x="436" y="19211"/>
                    <a:pt x="1248" y="17524"/>
                  </a:cubicBezTo>
                  <a:cubicBezTo>
                    <a:pt x="4184" y="11653"/>
                    <a:pt x="8056" y="6156"/>
                    <a:pt x="11804" y="535"/>
                  </a:cubicBezTo>
                  <a:close/>
                </a:path>
              </a:pathLst>
            </a:custGeom>
            <a:grpFill/>
            <a:ln w="6246" cap="flat">
              <a:noFill/>
              <a:prstDash val="solid"/>
              <a:miter/>
            </a:ln>
          </p:spPr>
          <p:txBody>
            <a:bodyPr rtlCol="0" anchor="ctr"/>
            <a:lstStyle/>
            <a:p>
              <a:endParaRPr lang="fr-FR" sz="2400"/>
            </a:p>
          </p:txBody>
        </p:sp>
        <p:sp>
          <p:nvSpPr>
            <p:cNvPr id="381" name="Freeform: Shape 380">
              <a:extLst>
                <a:ext uri="{FF2B5EF4-FFF2-40B4-BE49-F238E27FC236}">
                  <a16:creationId xmlns:a16="http://schemas.microsoft.com/office/drawing/2014/main" id="{113BD9FA-43F1-4373-8418-404C125668C9}"/>
                </a:ext>
              </a:extLst>
            </p:cNvPr>
            <p:cNvSpPr/>
            <p:nvPr/>
          </p:nvSpPr>
          <p:spPr>
            <a:xfrm>
              <a:off x="1127570" y="477323"/>
              <a:ext cx="12492" cy="18738"/>
            </a:xfrm>
            <a:custGeom>
              <a:avLst/>
              <a:gdLst>
                <a:gd name="connsiteX0" fmla="*/ 14491 w 12492"/>
                <a:gd name="connsiteY0" fmla="*/ 999 h 18738"/>
                <a:gd name="connsiteX1" fmla="*/ 14428 w 12492"/>
                <a:gd name="connsiteY1" fmla="*/ 4622 h 18738"/>
                <a:gd name="connsiteX2" fmla="*/ 2936 w 12492"/>
                <a:gd name="connsiteY2" fmla="*/ 19425 h 18738"/>
                <a:gd name="connsiteX3" fmla="*/ 0 w 12492"/>
                <a:gd name="connsiteY3" fmla="*/ 20612 h 18738"/>
                <a:gd name="connsiteX4" fmla="*/ 10868 w 12492"/>
                <a:gd name="connsiteY4" fmla="*/ 1187 h 18738"/>
                <a:gd name="connsiteX5" fmla="*/ 12367 w 12492"/>
                <a:gd name="connsiteY5" fmla="*/ 1936 h 18738"/>
                <a:gd name="connsiteX6" fmla="*/ 12117 w 12492"/>
                <a:gd name="connsiteY6" fmla="*/ 2249 h 18738"/>
                <a:gd name="connsiteX7" fmla="*/ 12367 w 12492"/>
                <a:gd name="connsiteY7" fmla="*/ 1936 h 18738"/>
                <a:gd name="connsiteX8" fmla="*/ 14491 w 12492"/>
                <a:gd name="connsiteY8" fmla="*/ 0 h 18738"/>
                <a:gd name="connsiteX9" fmla="*/ 14803 w 12492"/>
                <a:gd name="connsiteY9" fmla="*/ 625 h 18738"/>
                <a:gd name="connsiteX10" fmla="*/ 14491 w 12492"/>
                <a:gd name="connsiteY10"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4491" y="999"/>
                  </a:moveTo>
                  <a:cubicBezTo>
                    <a:pt x="14491" y="2249"/>
                    <a:pt x="14991" y="4310"/>
                    <a:pt x="14428" y="4622"/>
                  </a:cubicBezTo>
                  <a:cubicBezTo>
                    <a:pt x="8057" y="7995"/>
                    <a:pt x="6683" y="14428"/>
                    <a:pt x="2936" y="19425"/>
                  </a:cubicBezTo>
                  <a:cubicBezTo>
                    <a:pt x="2686" y="19738"/>
                    <a:pt x="2061" y="19800"/>
                    <a:pt x="0" y="20612"/>
                  </a:cubicBezTo>
                  <a:cubicBezTo>
                    <a:pt x="5372" y="13929"/>
                    <a:pt x="7121" y="7121"/>
                    <a:pt x="10868" y="1187"/>
                  </a:cubicBezTo>
                  <a:cubicBezTo>
                    <a:pt x="11618" y="62"/>
                    <a:pt x="12180" y="1124"/>
                    <a:pt x="12367" y="1936"/>
                  </a:cubicBezTo>
                  <a:cubicBezTo>
                    <a:pt x="12305" y="2061"/>
                    <a:pt x="12117" y="2124"/>
                    <a:pt x="12117" y="2249"/>
                  </a:cubicBezTo>
                  <a:cubicBezTo>
                    <a:pt x="12492" y="1686"/>
                    <a:pt x="11992" y="2498"/>
                    <a:pt x="12367" y="1936"/>
                  </a:cubicBezTo>
                  <a:cubicBezTo>
                    <a:pt x="13054" y="1312"/>
                    <a:pt x="13804" y="625"/>
                    <a:pt x="14491" y="0"/>
                  </a:cubicBezTo>
                  <a:cubicBezTo>
                    <a:pt x="14803" y="187"/>
                    <a:pt x="14928" y="437"/>
                    <a:pt x="14803" y="625"/>
                  </a:cubicBezTo>
                  <a:cubicBezTo>
                    <a:pt x="14678" y="812"/>
                    <a:pt x="14616" y="999"/>
                    <a:pt x="14491" y="999"/>
                  </a:cubicBezTo>
                  <a:close/>
                </a:path>
              </a:pathLst>
            </a:custGeom>
            <a:grpFill/>
            <a:ln w="6246" cap="flat">
              <a:noFill/>
              <a:prstDash val="solid"/>
              <a:miter/>
            </a:ln>
          </p:spPr>
          <p:txBody>
            <a:bodyPr rtlCol="0" anchor="ctr"/>
            <a:lstStyle/>
            <a:p>
              <a:endParaRPr lang="fr-FR" sz="2400"/>
            </a:p>
          </p:txBody>
        </p:sp>
        <p:sp>
          <p:nvSpPr>
            <p:cNvPr id="382" name="Freeform: Shape 381">
              <a:extLst>
                <a:ext uri="{FF2B5EF4-FFF2-40B4-BE49-F238E27FC236}">
                  <a16:creationId xmlns:a16="http://schemas.microsoft.com/office/drawing/2014/main" id="{B9B64793-6CF6-4CAD-8EC0-F6859CD8ACFF}"/>
                </a:ext>
              </a:extLst>
            </p:cNvPr>
            <p:cNvSpPr/>
            <p:nvPr/>
          </p:nvSpPr>
          <p:spPr>
            <a:xfrm>
              <a:off x="1128713" y="470291"/>
              <a:ext cx="6246" cy="6246"/>
            </a:xfrm>
            <a:custGeom>
              <a:avLst/>
              <a:gdLst>
                <a:gd name="connsiteX0" fmla="*/ 7852 w 6246"/>
                <a:gd name="connsiteY0" fmla="*/ 37 h 6246"/>
                <a:gd name="connsiteX1" fmla="*/ 6915 w 6246"/>
                <a:gd name="connsiteY1" fmla="*/ 6033 h 6246"/>
                <a:gd name="connsiteX2" fmla="*/ 4791 w 6246"/>
                <a:gd name="connsiteY2" fmla="*/ 9906 h 6246"/>
                <a:gd name="connsiteX3" fmla="*/ 2667 w 6246"/>
                <a:gd name="connsiteY3" fmla="*/ 12092 h 6246"/>
                <a:gd name="connsiteX4" fmla="*/ 1231 w 6246"/>
                <a:gd name="connsiteY4" fmla="*/ 12279 h 6246"/>
                <a:gd name="connsiteX5" fmla="*/ 231 w 6246"/>
                <a:gd name="connsiteY5" fmla="*/ 8656 h 6246"/>
                <a:gd name="connsiteX6" fmla="*/ 3979 w 6246"/>
                <a:gd name="connsiteY6" fmla="*/ 1911 h 6246"/>
                <a:gd name="connsiteX7" fmla="*/ 7852 w 6246"/>
                <a:gd name="connsiteY7" fmla="*/ 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7852" y="37"/>
                  </a:moveTo>
                  <a:cubicBezTo>
                    <a:pt x="9663" y="2348"/>
                    <a:pt x="7852" y="4159"/>
                    <a:pt x="6915" y="6033"/>
                  </a:cubicBezTo>
                  <a:cubicBezTo>
                    <a:pt x="6228" y="7345"/>
                    <a:pt x="5478" y="8594"/>
                    <a:pt x="4791" y="9906"/>
                  </a:cubicBezTo>
                  <a:cubicBezTo>
                    <a:pt x="3229" y="9968"/>
                    <a:pt x="3479" y="11405"/>
                    <a:pt x="2667" y="12092"/>
                  </a:cubicBezTo>
                  <a:cubicBezTo>
                    <a:pt x="2230" y="12279"/>
                    <a:pt x="1730" y="12342"/>
                    <a:pt x="1231" y="12279"/>
                  </a:cubicBezTo>
                  <a:cubicBezTo>
                    <a:pt x="-581" y="11405"/>
                    <a:pt x="106" y="9968"/>
                    <a:pt x="231" y="8656"/>
                  </a:cubicBezTo>
                  <a:cubicBezTo>
                    <a:pt x="918" y="6158"/>
                    <a:pt x="2730" y="4159"/>
                    <a:pt x="3979" y="1911"/>
                  </a:cubicBezTo>
                  <a:cubicBezTo>
                    <a:pt x="4978" y="849"/>
                    <a:pt x="6040" y="-213"/>
                    <a:pt x="7852" y="37"/>
                  </a:cubicBezTo>
                  <a:close/>
                </a:path>
              </a:pathLst>
            </a:custGeom>
            <a:grpFill/>
            <a:ln w="6246" cap="flat">
              <a:noFill/>
              <a:prstDash val="solid"/>
              <a:miter/>
            </a:ln>
          </p:spPr>
          <p:txBody>
            <a:bodyPr rtlCol="0" anchor="ctr"/>
            <a:lstStyle/>
            <a:p>
              <a:endParaRPr lang="fr-FR" sz="2400"/>
            </a:p>
          </p:txBody>
        </p:sp>
        <p:sp>
          <p:nvSpPr>
            <p:cNvPr id="383" name="Freeform: Shape 382">
              <a:extLst>
                <a:ext uri="{FF2B5EF4-FFF2-40B4-BE49-F238E27FC236}">
                  <a16:creationId xmlns:a16="http://schemas.microsoft.com/office/drawing/2014/main" id="{F63F07FE-819C-4AD1-9AEC-2A8FBA32EFA5}"/>
                </a:ext>
              </a:extLst>
            </p:cNvPr>
            <p:cNvSpPr/>
            <p:nvPr/>
          </p:nvSpPr>
          <p:spPr>
            <a:xfrm>
              <a:off x="1134707" y="501409"/>
              <a:ext cx="6246" cy="6246"/>
            </a:xfrm>
            <a:custGeom>
              <a:avLst/>
              <a:gdLst>
                <a:gd name="connsiteX0" fmla="*/ 3044 w 6246"/>
                <a:gd name="connsiteY0" fmla="*/ 11705 h 6246"/>
                <a:gd name="connsiteX1" fmla="*/ 920 w 6246"/>
                <a:gd name="connsiteY1" fmla="*/ 7832 h 6246"/>
                <a:gd name="connsiteX2" fmla="*/ 4106 w 6246"/>
                <a:gd name="connsiteY2" fmla="*/ 87 h 6246"/>
                <a:gd name="connsiteX3" fmla="*/ 5605 w 6246"/>
                <a:gd name="connsiteY3" fmla="*/ 2898 h 6246"/>
                <a:gd name="connsiteX4" fmla="*/ 3044 w 6246"/>
                <a:gd name="connsiteY4" fmla="*/ 1170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044" y="11705"/>
                  </a:moveTo>
                  <a:cubicBezTo>
                    <a:pt x="-3577" y="13079"/>
                    <a:pt x="2981" y="8519"/>
                    <a:pt x="920" y="7832"/>
                  </a:cubicBezTo>
                  <a:cubicBezTo>
                    <a:pt x="1982" y="5271"/>
                    <a:pt x="3044" y="2648"/>
                    <a:pt x="4106" y="87"/>
                  </a:cubicBezTo>
                  <a:cubicBezTo>
                    <a:pt x="7916" y="-475"/>
                    <a:pt x="6167" y="1836"/>
                    <a:pt x="5605" y="2898"/>
                  </a:cubicBezTo>
                  <a:cubicBezTo>
                    <a:pt x="4293" y="5771"/>
                    <a:pt x="3481" y="8644"/>
                    <a:pt x="3044" y="11705"/>
                  </a:cubicBezTo>
                  <a:close/>
                </a:path>
              </a:pathLst>
            </a:custGeom>
            <a:grpFill/>
            <a:ln w="6246" cap="flat">
              <a:noFill/>
              <a:prstDash val="solid"/>
              <a:miter/>
            </a:ln>
          </p:spPr>
          <p:txBody>
            <a:bodyPr rtlCol="0" anchor="ctr"/>
            <a:lstStyle/>
            <a:p>
              <a:endParaRPr lang="fr-FR" sz="2400"/>
            </a:p>
          </p:txBody>
        </p:sp>
        <p:sp>
          <p:nvSpPr>
            <p:cNvPr id="384" name="Freeform: Shape 383">
              <a:extLst>
                <a:ext uri="{FF2B5EF4-FFF2-40B4-BE49-F238E27FC236}">
                  <a16:creationId xmlns:a16="http://schemas.microsoft.com/office/drawing/2014/main" id="{A3456394-5DFD-425F-A6B2-F074FD0EF7E4}"/>
                </a:ext>
              </a:extLst>
            </p:cNvPr>
            <p:cNvSpPr/>
            <p:nvPr/>
          </p:nvSpPr>
          <p:spPr>
            <a:xfrm>
              <a:off x="1122062" y="482820"/>
              <a:ext cx="6246" cy="6246"/>
            </a:xfrm>
            <a:custGeom>
              <a:avLst/>
              <a:gdLst>
                <a:gd name="connsiteX0" fmla="*/ 3946 w 6246"/>
                <a:gd name="connsiteY0" fmla="*/ 9994 h 6246"/>
                <a:gd name="connsiteX1" fmla="*/ 761 w 6246"/>
                <a:gd name="connsiteY1" fmla="*/ 11992 h 6246"/>
                <a:gd name="connsiteX2" fmla="*/ 3634 w 6246"/>
                <a:gd name="connsiteY2" fmla="*/ 1874 h 6246"/>
                <a:gd name="connsiteX3" fmla="*/ 6882 w 6246"/>
                <a:gd name="connsiteY3" fmla="*/ 0 h 6246"/>
                <a:gd name="connsiteX4" fmla="*/ 8256 w 6246"/>
                <a:gd name="connsiteY4" fmla="*/ 2311 h 6246"/>
                <a:gd name="connsiteX5" fmla="*/ 3946 w 6246"/>
                <a:gd name="connsiteY5" fmla="*/ 99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946" y="9994"/>
                  </a:moveTo>
                  <a:cubicBezTo>
                    <a:pt x="1885" y="9369"/>
                    <a:pt x="2572" y="12305"/>
                    <a:pt x="761" y="11992"/>
                  </a:cubicBezTo>
                  <a:cubicBezTo>
                    <a:pt x="-1613" y="7870"/>
                    <a:pt x="2197" y="5122"/>
                    <a:pt x="3634" y="1874"/>
                  </a:cubicBezTo>
                  <a:cubicBezTo>
                    <a:pt x="4508" y="999"/>
                    <a:pt x="5445" y="62"/>
                    <a:pt x="6882" y="0"/>
                  </a:cubicBezTo>
                  <a:cubicBezTo>
                    <a:pt x="8068" y="437"/>
                    <a:pt x="8193" y="1374"/>
                    <a:pt x="8256" y="2311"/>
                  </a:cubicBezTo>
                  <a:cubicBezTo>
                    <a:pt x="6819" y="4872"/>
                    <a:pt x="5383" y="7433"/>
                    <a:pt x="3946" y="9994"/>
                  </a:cubicBezTo>
                  <a:close/>
                </a:path>
              </a:pathLst>
            </a:custGeom>
            <a:grpFill/>
            <a:ln w="6246" cap="flat">
              <a:noFill/>
              <a:prstDash val="solid"/>
              <a:miter/>
            </a:ln>
          </p:spPr>
          <p:txBody>
            <a:bodyPr rtlCol="0" anchor="ctr"/>
            <a:lstStyle/>
            <a:p>
              <a:endParaRPr lang="fr-FR" sz="2400"/>
            </a:p>
          </p:txBody>
        </p:sp>
        <p:sp>
          <p:nvSpPr>
            <p:cNvPr id="385" name="Freeform: Shape 384">
              <a:extLst>
                <a:ext uri="{FF2B5EF4-FFF2-40B4-BE49-F238E27FC236}">
                  <a16:creationId xmlns:a16="http://schemas.microsoft.com/office/drawing/2014/main" id="{746456C2-997D-49BA-BFE8-18A2CC218649}"/>
                </a:ext>
              </a:extLst>
            </p:cNvPr>
            <p:cNvSpPr/>
            <p:nvPr/>
          </p:nvSpPr>
          <p:spPr>
            <a:xfrm>
              <a:off x="1145709" y="482070"/>
              <a:ext cx="6246" cy="12492"/>
            </a:xfrm>
            <a:custGeom>
              <a:avLst/>
              <a:gdLst>
                <a:gd name="connsiteX0" fmla="*/ 599 w 6246"/>
                <a:gd name="connsiteY0" fmla="*/ 9744 h 12492"/>
                <a:gd name="connsiteX1" fmla="*/ 7844 w 6246"/>
                <a:gd name="connsiteY1" fmla="*/ 0 h 12492"/>
                <a:gd name="connsiteX2" fmla="*/ 599 w 6246"/>
                <a:gd name="connsiteY2" fmla="*/ 15490 h 12492"/>
                <a:gd name="connsiteX3" fmla="*/ 599 w 6246"/>
                <a:gd name="connsiteY3" fmla="*/ 9744 h 12492"/>
              </a:gdLst>
              <a:ahLst/>
              <a:cxnLst>
                <a:cxn ang="0">
                  <a:pos x="connsiteX0" y="connsiteY0"/>
                </a:cxn>
                <a:cxn ang="0">
                  <a:pos x="connsiteX1" y="connsiteY1"/>
                </a:cxn>
                <a:cxn ang="0">
                  <a:pos x="connsiteX2" y="connsiteY2"/>
                </a:cxn>
                <a:cxn ang="0">
                  <a:pos x="connsiteX3" y="connsiteY3"/>
                </a:cxn>
              </a:cxnLst>
              <a:rect l="l" t="t" r="r" b="b"/>
              <a:pathLst>
                <a:path w="6246" h="12492">
                  <a:moveTo>
                    <a:pt x="599" y="9744"/>
                  </a:moveTo>
                  <a:cubicBezTo>
                    <a:pt x="3347" y="6746"/>
                    <a:pt x="4096" y="2561"/>
                    <a:pt x="7844" y="0"/>
                  </a:cubicBezTo>
                  <a:cubicBezTo>
                    <a:pt x="5408" y="5184"/>
                    <a:pt x="3035" y="10368"/>
                    <a:pt x="599" y="15490"/>
                  </a:cubicBezTo>
                  <a:cubicBezTo>
                    <a:pt x="-1088" y="13616"/>
                    <a:pt x="1411" y="11680"/>
                    <a:pt x="599" y="9744"/>
                  </a:cubicBezTo>
                  <a:close/>
                </a:path>
              </a:pathLst>
            </a:custGeom>
            <a:grpFill/>
            <a:ln w="6246" cap="flat">
              <a:noFill/>
              <a:prstDash val="solid"/>
              <a:miter/>
            </a:ln>
          </p:spPr>
          <p:txBody>
            <a:bodyPr rtlCol="0" anchor="ctr"/>
            <a:lstStyle/>
            <a:p>
              <a:endParaRPr lang="fr-FR" sz="2400"/>
            </a:p>
          </p:txBody>
        </p:sp>
        <p:sp>
          <p:nvSpPr>
            <p:cNvPr id="386" name="Freeform: Shape 385">
              <a:extLst>
                <a:ext uri="{FF2B5EF4-FFF2-40B4-BE49-F238E27FC236}">
                  <a16:creationId xmlns:a16="http://schemas.microsoft.com/office/drawing/2014/main" id="{32B2EC00-A910-4410-B8B3-A2D4E376A04B}"/>
                </a:ext>
              </a:extLst>
            </p:cNvPr>
            <p:cNvSpPr/>
            <p:nvPr/>
          </p:nvSpPr>
          <p:spPr>
            <a:xfrm>
              <a:off x="1142061" y="468641"/>
              <a:ext cx="6246" cy="6246"/>
            </a:xfrm>
            <a:custGeom>
              <a:avLst/>
              <a:gdLst>
                <a:gd name="connsiteX0" fmla="*/ 0 w 6246"/>
                <a:gd name="connsiteY0" fmla="*/ 9681 h 6246"/>
                <a:gd name="connsiteX1" fmla="*/ 0 w 6246"/>
                <a:gd name="connsiteY1" fmla="*/ 8682 h 6246"/>
                <a:gd name="connsiteX2" fmla="*/ 5372 w 6246"/>
                <a:gd name="connsiteY2" fmla="*/ 0 h 6246"/>
                <a:gd name="connsiteX3" fmla="*/ 6433 w 6246"/>
                <a:gd name="connsiteY3" fmla="*/ 1936 h 6246"/>
                <a:gd name="connsiteX4" fmla="*/ 0 w 6246"/>
                <a:gd name="connsiteY4" fmla="*/ 9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0" y="9681"/>
                  </a:moveTo>
                  <a:cubicBezTo>
                    <a:pt x="0" y="9369"/>
                    <a:pt x="0" y="9057"/>
                    <a:pt x="0" y="8682"/>
                  </a:cubicBezTo>
                  <a:cubicBezTo>
                    <a:pt x="1811" y="5809"/>
                    <a:pt x="3560" y="2873"/>
                    <a:pt x="5372" y="0"/>
                  </a:cubicBezTo>
                  <a:cubicBezTo>
                    <a:pt x="6184" y="437"/>
                    <a:pt x="6433" y="1124"/>
                    <a:pt x="6433" y="1936"/>
                  </a:cubicBezTo>
                  <a:cubicBezTo>
                    <a:pt x="3498" y="3997"/>
                    <a:pt x="3185" y="7808"/>
                    <a:pt x="0" y="9681"/>
                  </a:cubicBezTo>
                  <a:close/>
                </a:path>
              </a:pathLst>
            </a:custGeom>
            <a:grpFill/>
            <a:ln w="6246" cap="flat">
              <a:noFill/>
              <a:prstDash val="solid"/>
              <a:miter/>
            </a:ln>
          </p:spPr>
          <p:txBody>
            <a:bodyPr rtlCol="0" anchor="ctr"/>
            <a:lstStyle/>
            <a:p>
              <a:endParaRPr lang="fr-FR" sz="2400"/>
            </a:p>
          </p:txBody>
        </p:sp>
        <p:sp>
          <p:nvSpPr>
            <p:cNvPr id="387" name="Freeform: Shape 386">
              <a:extLst>
                <a:ext uri="{FF2B5EF4-FFF2-40B4-BE49-F238E27FC236}">
                  <a16:creationId xmlns:a16="http://schemas.microsoft.com/office/drawing/2014/main" id="{D8101484-AA2B-498F-948A-EB49F3A51DF0}"/>
                </a:ext>
              </a:extLst>
            </p:cNvPr>
            <p:cNvSpPr/>
            <p:nvPr/>
          </p:nvSpPr>
          <p:spPr>
            <a:xfrm>
              <a:off x="1124885" y="515914"/>
              <a:ext cx="6246" cy="6246"/>
            </a:xfrm>
            <a:custGeom>
              <a:avLst/>
              <a:gdLst>
                <a:gd name="connsiteX0" fmla="*/ 3247 w 0"/>
                <a:gd name="connsiteY0" fmla="*/ 1072 h 6246"/>
                <a:gd name="connsiteX1" fmla="*/ 1123 w 0"/>
                <a:gd name="connsiteY1" fmla="*/ 10753 h 6246"/>
                <a:gd name="connsiteX2" fmla="*/ 1498 w 0"/>
                <a:gd name="connsiteY2" fmla="*/ 197 h 6246"/>
                <a:gd name="connsiteX3" fmla="*/ 3247 w 0"/>
                <a:gd name="connsiteY3" fmla="*/ 1072 h 6246"/>
              </a:gdLst>
              <a:ahLst/>
              <a:cxnLst>
                <a:cxn ang="0">
                  <a:pos x="connsiteX0" y="connsiteY0"/>
                </a:cxn>
                <a:cxn ang="0">
                  <a:pos x="connsiteX1" y="connsiteY1"/>
                </a:cxn>
                <a:cxn ang="0">
                  <a:pos x="connsiteX2" y="connsiteY2"/>
                </a:cxn>
                <a:cxn ang="0">
                  <a:pos x="connsiteX3" y="connsiteY3"/>
                </a:cxn>
              </a:cxnLst>
              <a:rect l="l" t="t" r="r" b="b"/>
              <a:pathLst>
                <a:path h="6246">
                  <a:moveTo>
                    <a:pt x="3247" y="1072"/>
                  </a:moveTo>
                  <a:cubicBezTo>
                    <a:pt x="1685" y="4132"/>
                    <a:pt x="1061" y="7380"/>
                    <a:pt x="1123" y="10753"/>
                  </a:cubicBezTo>
                  <a:cubicBezTo>
                    <a:pt x="-1687" y="7193"/>
                    <a:pt x="1685" y="3757"/>
                    <a:pt x="1498" y="197"/>
                  </a:cubicBezTo>
                  <a:cubicBezTo>
                    <a:pt x="1436" y="-365"/>
                    <a:pt x="2810" y="385"/>
                    <a:pt x="3247" y="1072"/>
                  </a:cubicBezTo>
                  <a:close/>
                </a:path>
              </a:pathLst>
            </a:custGeom>
            <a:grpFill/>
            <a:ln w="6246" cap="flat">
              <a:noFill/>
              <a:prstDash val="solid"/>
              <a:miter/>
            </a:ln>
          </p:spPr>
          <p:txBody>
            <a:bodyPr rtlCol="0" anchor="ctr"/>
            <a:lstStyle/>
            <a:p>
              <a:endParaRPr lang="fr-FR" sz="2400"/>
            </a:p>
          </p:txBody>
        </p:sp>
        <p:sp>
          <p:nvSpPr>
            <p:cNvPr id="388" name="Freeform: Shape 387">
              <a:extLst>
                <a:ext uri="{FF2B5EF4-FFF2-40B4-BE49-F238E27FC236}">
                  <a16:creationId xmlns:a16="http://schemas.microsoft.com/office/drawing/2014/main" id="{5E06C529-BEA6-4A27-B461-C376738D7E92}"/>
                </a:ext>
              </a:extLst>
            </p:cNvPr>
            <p:cNvSpPr/>
            <p:nvPr/>
          </p:nvSpPr>
          <p:spPr>
            <a:xfrm>
              <a:off x="1131046" y="479135"/>
              <a:ext cx="6246" cy="6246"/>
            </a:xfrm>
            <a:custGeom>
              <a:avLst/>
              <a:gdLst>
                <a:gd name="connsiteX0" fmla="*/ 272 w 0"/>
                <a:gd name="connsiteY0" fmla="*/ 2998 h 0"/>
                <a:gd name="connsiteX1" fmla="*/ 1833 w 0"/>
                <a:gd name="connsiteY1" fmla="*/ 0 h 0"/>
                <a:gd name="connsiteX2" fmla="*/ 2458 w 0"/>
                <a:gd name="connsiteY2" fmla="*/ 1062 h 0"/>
                <a:gd name="connsiteX3" fmla="*/ 334 w 0"/>
                <a:gd name="connsiteY3" fmla="*/ 3997 h 0"/>
                <a:gd name="connsiteX4" fmla="*/ 22 w 0"/>
                <a:gd name="connsiteY4" fmla="*/ 3310 h 0"/>
                <a:gd name="connsiteX5" fmla="*/ 272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72" y="2998"/>
                  </a:moveTo>
                  <a:cubicBezTo>
                    <a:pt x="397" y="1874"/>
                    <a:pt x="646" y="687"/>
                    <a:pt x="1833" y="0"/>
                  </a:cubicBezTo>
                  <a:cubicBezTo>
                    <a:pt x="2021" y="375"/>
                    <a:pt x="2208" y="750"/>
                    <a:pt x="2458" y="1062"/>
                  </a:cubicBezTo>
                  <a:cubicBezTo>
                    <a:pt x="1771" y="2061"/>
                    <a:pt x="1021" y="2998"/>
                    <a:pt x="334" y="3997"/>
                  </a:cubicBezTo>
                  <a:cubicBezTo>
                    <a:pt x="22" y="3748"/>
                    <a:pt x="-41" y="3560"/>
                    <a:pt x="22" y="3310"/>
                  </a:cubicBezTo>
                  <a:cubicBezTo>
                    <a:pt x="84" y="3123"/>
                    <a:pt x="209" y="2998"/>
                    <a:pt x="272" y="2998"/>
                  </a:cubicBezTo>
                  <a:close/>
                </a:path>
              </a:pathLst>
            </a:custGeom>
            <a:grpFill/>
            <a:ln w="6246" cap="flat">
              <a:noFill/>
              <a:prstDash val="solid"/>
              <a:miter/>
            </a:ln>
          </p:spPr>
          <p:txBody>
            <a:bodyPr rtlCol="0" anchor="ctr"/>
            <a:lstStyle/>
            <a:p>
              <a:endParaRPr lang="fr-FR" sz="2400"/>
            </a:p>
          </p:txBody>
        </p:sp>
        <p:sp>
          <p:nvSpPr>
            <p:cNvPr id="389" name="Freeform: Shape 388">
              <a:extLst>
                <a:ext uri="{FF2B5EF4-FFF2-40B4-BE49-F238E27FC236}">
                  <a16:creationId xmlns:a16="http://schemas.microsoft.com/office/drawing/2014/main" id="{AA81496B-7CE5-48CE-B260-66E640373B76}"/>
                </a:ext>
              </a:extLst>
            </p:cNvPr>
            <p:cNvSpPr/>
            <p:nvPr/>
          </p:nvSpPr>
          <p:spPr>
            <a:xfrm>
              <a:off x="1129194" y="482133"/>
              <a:ext cx="6246" cy="6246"/>
            </a:xfrm>
            <a:custGeom>
              <a:avLst/>
              <a:gdLst>
                <a:gd name="connsiteX0" fmla="*/ 2124 w 0"/>
                <a:gd name="connsiteY0" fmla="*/ 0 h 0"/>
                <a:gd name="connsiteX1" fmla="*/ 2124 w 0"/>
                <a:gd name="connsiteY1" fmla="*/ 999 h 0"/>
                <a:gd name="connsiteX2" fmla="*/ 1062 w 0"/>
                <a:gd name="connsiteY2" fmla="*/ 2936 h 0"/>
                <a:gd name="connsiteX3" fmla="*/ 0 w 0"/>
                <a:gd name="connsiteY3" fmla="*/ 937 h 0"/>
                <a:gd name="connsiteX4" fmla="*/ 1062 w 0"/>
                <a:gd name="connsiteY4" fmla="*/ 0 h 0"/>
                <a:gd name="connsiteX5" fmla="*/ 2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124" y="0"/>
                  </a:moveTo>
                  <a:cubicBezTo>
                    <a:pt x="2124" y="312"/>
                    <a:pt x="2124" y="687"/>
                    <a:pt x="2124" y="999"/>
                  </a:cubicBezTo>
                  <a:cubicBezTo>
                    <a:pt x="1749" y="1624"/>
                    <a:pt x="1437" y="2311"/>
                    <a:pt x="1062" y="2936"/>
                  </a:cubicBezTo>
                  <a:cubicBezTo>
                    <a:pt x="250" y="2498"/>
                    <a:pt x="0" y="1749"/>
                    <a:pt x="0" y="937"/>
                  </a:cubicBezTo>
                  <a:cubicBezTo>
                    <a:pt x="187" y="500"/>
                    <a:pt x="562" y="187"/>
                    <a:pt x="1062" y="0"/>
                  </a:cubicBezTo>
                  <a:cubicBezTo>
                    <a:pt x="1437" y="0"/>
                    <a:pt x="1811" y="0"/>
                    <a:pt x="2124" y="0"/>
                  </a:cubicBezTo>
                  <a:close/>
                </a:path>
              </a:pathLst>
            </a:custGeom>
            <a:grpFill/>
            <a:ln w="6246" cap="flat">
              <a:noFill/>
              <a:prstDash val="solid"/>
              <a:miter/>
            </a:ln>
          </p:spPr>
          <p:txBody>
            <a:bodyPr rtlCol="0" anchor="ctr"/>
            <a:lstStyle/>
            <a:p>
              <a:endParaRPr lang="fr-FR" sz="2400"/>
            </a:p>
          </p:txBody>
        </p:sp>
        <p:sp>
          <p:nvSpPr>
            <p:cNvPr id="390" name="Freeform: Shape 389">
              <a:extLst>
                <a:ext uri="{FF2B5EF4-FFF2-40B4-BE49-F238E27FC236}">
                  <a16:creationId xmlns:a16="http://schemas.microsoft.com/office/drawing/2014/main" id="{97A78D43-373C-4031-B126-F5F97BCDB034}"/>
                </a:ext>
              </a:extLst>
            </p:cNvPr>
            <p:cNvSpPr/>
            <p:nvPr/>
          </p:nvSpPr>
          <p:spPr>
            <a:xfrm>
              <a:off x="1117826" y="482195"/>
              <a:ext cx="6246" cy="6246"/>
            </a:xfrm>
            <a:custGeom>
              <a:avLst/>
              <a:gdLst>
                <a:gd name="connsiteX0" fmla="*/ 2811 w 0"/>
                <a:gd name="connsiteY0" fmla="*/ 0 h 6246"/>
                <a:gd name="connsiteX1" fmla="*/ 2811 w 0"/>
                <a:gd name="connsiteY1" fmla="*/ 4747 h 6246"/>
                <a:gd name="connsiteX2" fmla="*/ 3810 w 0"/>
                <a:gd name="connsiteY2" fmla="*/ 9681 h 6246"/>
                <a:gd name="connsiteX3" fmla="*/ 2811 w 0"/>
                <a:gd name="connsiteY3" fmla="*/ 10806 h 6246"/>
                <a:gd name="connsiteX4" fmla="*/ 0 w 0"/>
                <a:gd name="connsiteY4" fmla="*/ 7745 h 6246"/>
                <a:gd name="connsiteX5" fmla="*/ 687 w 0"/>
                <a:gd name="connsiteY5" fmla="*/ 5746 h 6246"/>
                <a:gd name="connsiteX6" fmla="*/ 2811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2811" y="0"/>
                  </a:moveTo>
                  <a:cubicBezTo>
                    <a:pt x="2811" y="1562"/>
                    <a:pt x="2811" y="3186"/>
                    <a:pt x="2811" y="4747"/>
                  </a:cubicBezTo>
                  <a:cubicBezTo>
                    <a:pt x="4310" y="6184"/>
                    <a:pt x="4435" y="7870"/>
                    <a:pt x="3810" y="9681"/>
                  </a:cubicBezTo>
                  <a:cubicBezTo>
                    <a:pt x="3623" y="10181"/>
                    <a:pt x="3248" y="10556"/>
                    <a:pt x="2811" y="10806"/>
                  </a:cubicBezTo>
                  <a:cubicBezTo>
                    <a:pt x="687" y="10681"/>
                    <a:pt x="437" y="9119"/>
                    <a:pt x="0" y="7745"/>
                  </a:cubicBezTo>
                  <a:cubicBezTo>
                    <a:pt x="0" y="6996"/>
                    <a:pt x="125" y="6309"/>
                    <a:pt x="687" y="5746"/>
                  </a:cubicBezTo>
                  <a:cubicBezTo>
                    <a:pt x="500" y="3560"/>
                    <a:pt x="749" y="1499"/>
                    <a:pt x="2811" y="0"/>
                  </a:cubicBezTo>
                  <a:close/>
                </a:path>
              </a:pathLst>
            </a:custGeom>
            <a:grpFill/>
            <a:ln w="6246" cap="flat">
              <a:noFill/>
              <a:prstDash val="solid"/>
              <a:miter/>
            </a:ln>
          </p:spPr>
          <p:txBody>
            <a:bodyPr rtlCol="0" anchor="ctr"/>
            <a:lstStyle/>
            <a:p>
              <a:endParaRPr lang="fr-FR" sz="2400"/>
            </a:p>
          </p:txBody>
        </p:sp>
        <p:sp>
          <p:nvSpPr>
            <p:cNvPr id="391" name="Freeform: Shape 390">
              <a:extLst>
                <a:ext uri="{FF2B5EF4-FFF2-40B4-BE49-F238E27FC236}">
                  <a16:creationId xmlns:a16="http://schemas.microsoft.com/office/drawing/2014/main" id="{5E4FC106-1C75-43BF-855C-DF9433CFC63B}"/>
                </a:ext>
              </a:extLst>
            </p:cNvPr>
            <p:cNvSpPr/>
            <p:nvPr/>
          </p:nvSpPr>
          <p:spPr>
            <a:xfrm>
              <a:off x="1115140" y="487942"/>
              <a:ext cx="6246" cy="6246"/>
            </a:xfrm>
            <a:custGeom>
              <a:avLst/>
              <a:gdLst>
                <a:gd name="connsiteX0" fmla="*/ 3373 w 0"/>
                <a:gd name="connsiteY0" fmla="*/ 0 h 6246"/>
                <a:gd name="connsiteX1" fmla="*/ 3498 w 0"/>
                <a:gd name="connsiteY1" fmla="*/ 2061 h 6246"/>
                <a:gd name="connsiteX2" fmla="*/ 3061 w 0"/>
                <a:gd name="connsiteY2" fmla="*/ 5122 h 6246"/>
                <a:gd name="connsiteX3" fmla="*/ 1312 w 0"/>
                <a:gd name="connsiteY3" fmla="*/ 7121 h 6246"/>
                <a:gd name="connsiteX4" fmla="*/ 0 w 0"/>
                <a:gd name="connsiteY4" fmla="*/ 6871 h 6246"/>
                <a:gd name="connsiteX5" fmla="*/ 1187 w 0"/>
                <a:gd name="connsiteY5" fmla="*/ 1999 h 6246"/>
                <a:gd name="connsiteX6" fmla="*/ 3373 w 0"/>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373" y="0"/>
                  </a:moveTo>
                  <a:cubicBezTo>
                    <a:pt x="3435" y="687"/>
                    <a:pt x="3435" y="1374"/>
                    <a:pt x="3498" y="2061"/>
                  </a:cubicBezTo>
                  <a:cubicBezTo>
                    <a:pt x="3810" y="3123"/>
                    <a:pt x="3373" y="4122"/>
                    <a:pt x="3061" y="5122"/>
                  </a:cubicBezTo>
                  <a:cubicBezTo>
                    <a:pt x="2686" y="5934"/>
                    <a:pt x="2186" y="6621"/>
                    <a:pt x="1312" y="7121"/>
                  </a:cubicBezTo>
                  <a:cubicBezTo>
                    <a:pt x="812" y="7245"/>
                    <a:pt x="375" y="7121"/>
                    <a:pt x="0" y="6871"/>
                  </a:cubicBezTo>
                  <a:cubicBezTo>
                    <a:pt x="375" y="5247"/>
                    <a:pt x="812" y="3623"/>
                    <a:pt x="1187" y="1999"/>
                  </a:cubicBezTo>
                  <a:cubicBezTo>
                    <a:pt x="1874" y="1312"/>
                    <a:pt x="2623" y="625"/>
                    <a:pt x="3373" y="0"/>
                  </a:cubicBezTo>
                  <a:close/>
                </a:path>
              </a:pathLst>
            </a:custGeom>
            <a:grpFill/>
            <a:ln w="6246" cap="flat">
              <a:noFill/>
              <a:prstDash val="solid"/>
              <a:miter/>
            </a:ln>
          </p:spPr>
          <p:txBody>
            <a:bodyPr rtlCol="0" anchor="ctr"/>
            <a:lstStyle/>
            <a:p>
              <a:endParaRPr lang="fr-FR" sz="2400"/>
            </a:p>
          </p:txBody>
        </p:sp>
        <p:sp>
          <p:nvSpPr>
            <p:cNvPr id="392" name="Freeform: Shape 391">
              <a:extLst>
                <a:ext uri="{FF2B5EF4-FFF2-40B4-BE49-F238E27FC236}">
                  <a16:creationId xmlns:a16="http://schemas.microsoft.com/office/drawing/2014/main" id="{EDBD0AD4-008C-419E-997F-9CC363A54365}"/>
                </a:ext>
              </a:extLst>
            </p:cNvPr>
            <p:cNvSpPr/>
            <p:nvPr/>
          </p:nvSpPr>
          <p:spPr>
            <a:xfrm>
              <a:off x="1120063" y="479135"/>
              <a:ext cx="6246" cy="12492"/>
            </a:xfrm>
            <a:custGeom>
              <a:avLst/>
              <a:gdLst>
                <a:gd name="connsiteX0" fmla="*/ 6758 w 6246"/>
                <a:gd name="connsiteY0" fmla="*/ 5871 h 12492"/>
                <a:gd name="connsiteX1" fmla="*/ 2698 w 6246"/>
                <a:gd name="connsiteY1" fmla="*/ 15678 h 12492"/>
                <a:gd name="connsiteX2" fmla="*/ 1761 w 6246"/>
                <a:gd name="connsiteY2" fmla="*/ 15865 h 12492"/>
                <a:gd name="connsiteX3" fmla="*/ 12 w 6246"/>
                <a:gd name="connsiteY3" fmla="*/ 14928 h 12492"/>
                <a:gd name="connsiteX4" fmla="*/ 449 w 6246"/>
                <a:gd name="connsiteY4" fmla="*/ 13679 h 12492"/>
                <a:gd name="connsiteX5" fmla="*/ 512 w 6246"/>
                <a:gd name="connsiteY5" fmla="*/ 13679 h 12492"/>
                <a:gd name="connsiteX6" fmla="*/ 1574 w 6246"/>
                <a:gd name="connsiteY6" fmla="*/ 7808 h 12492"/>
                <a:gd name="connsiteX7" fmla="*/ 4759 w 6246"/>
                <a:gd name="connsiteY7" fmla="*/ 125 h 12492"/>
                <a:gd name="connsiteX8" fmla="*/ 5508 w 6246"/>
                <a:gd name="connsiteY8" fmla="*/ 0 h 12492"/>
                <a:gd name="connsiteX9" fmla="*/ 7757 w 6246"/>
                <a:gd name="connsiteY9" fmla="*/ 3435 h 12492"/>
                <a:gd name="connsiteX10" fmla="*/ 6758 w 6246"/>
                <a:gd name="connsiteY10" fmla="*/ 587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2492">
                  <a:moveTo>
                    <a:pt x="6758" y="5871"/>
                  </a:moveTo>
                  <a:cubicBezTo>
                    <a:pt x="5259" y="9119"/>
                    <a:pt x="3010" y="12055"/>
                    <a:pt x="2698" y="15678"/>
                  </a:cubicBezTo>
                  <a:cubicBezTo>
                    <a:pt x="2385" y="15740"/>
                    <a:pt x="2073" y="15803"/>
                    <a:pt x="1761" y="15865"/>
                  </a:cubicBezTo>
                  <a:cubicBezTo>
                    <a:pt x="824" y="16052"/>
                    <a:pt x="387" y="15615"/>
                    <a:pt x="12" y="14928"/>
                  </a:cubicBezTo>
                  <a:cubicBezTo>
                    <a:pt x="-51" y="14428"/>
                    <a:pt x="137" y="14054"/>
                    <a:pt x="449" y="13679"/>
                  </a:cubicBezTo>
                  <a:lnTo>
                    <a:pt x="512" y="13679"/>
                  </a:lnTo>
                  <a:cubicBezTo>
                    <a:pt x="1886" y="11868"/>
                    <a:pt x="199" y="9619"/>
                    <a:pt x="1574" y="7808"/>
                  </a:cubicBezTo>
                  <a:cubicBezTo>
                    <a:pt x="3385" y="5497"/>
                    <a:pt x="3572" y="2623"/>
                    <a:pt x="4759" y="125"/>
                  </a:cubicBezTo>
                  <a:cubicBezTo>
                    <a:pt x="5009" y="62"/>
                    <a:pt x="5259" y="0"/>
                    <a:pt x="5508" y="0"/>
                  </a:cubicBezTo>
                  <a:cubicBezTo>
                    <a:pt x="7132" y="625"/>
                    <a:pt x="7757" y="1874"/>
                    <a:pt x="7757" y="3435"/>
                  </a:cubicBezTo>
                  <a:cubicBezTo>
                    <a:pt x="7507" y="4185"/>
                    <a:pt x="7820" y="5247"/>
                    <a:pt x="6758" y="5871"/>
                  </a:cubicBezTo>
                  <a:close/>
                </a:path>
              </a:pathLst>
            </a:custGeom>
            <a:grpFill/>
            <a:ln w="6246" cap="flat">
              <a:noFill/>
              <a:prstDash val="solid"/>
              <a:miter/>
            </a:ln>
          </p:spPr>
          <p:txBody>
            <a:bodyPr rtlCol="0" anchor="ctr"/>
            <a:lstStyle/>
            <a:p>
              <a:endParaRPr lang="fr-FR" sz="2400"/>
            </a:p>
          </p:txBody>
        </p:sp>
        <p:sp>
          <p:nvSpPr>
            <p:cNvPr id="393" name="Freeform: Shape 392">
              <a:extLst>
                <a:ext uri="{FF2B5EF4-FFF2-40B4-BE49-F238E27FC236}">
                  <a16:creationId xmlns:a16="http://schemas.microsoft.com/office/drawing/2014/main" id="{751A8E42-0355-4677-8B9A-7734381FF9E3}"/>
                </a:ext>
              </a:extLst>
            </p:cNvPr>
            <p:cNvSpPr/>
            <p:nvPr/>
          </p:nvSpPr>
          <p:spPr>
            <a:xfrm>
              <a:off x="1123947" y="474450"/>
              <a:ext cx="6246" cy="6246"/>
            </a:xfrm>
            <a:custGeom>
              <a:avLst/>
              <a:gdLst>
                <a:gd name="connsiteX0" fmla="*/ 0 w 0"/>
                <a:gd name="connsiteY0" fmla="*/ 2998 h 0"/>
                <a:gd name="connsiteX1" fmla="*/ 1936 w 0"/>
                <a:gd name="connsiteY1" fmla="*/ 0 h 0"/>
                <a:gd name="connsiteX2" fmla="*/ 3123 w 0"/>
                <a:gd name="connsiteY2" fmla="*/ 0 h 0"/>
                <a:gd name="connsiteX3" fmla="*/ 3997 w 0"/>
                <a:gd name="connsiteY3" fmla="*/ 1874 h 0"/>
                <a:gd name="connsiteX4" fmla="*/ 1062 w 0"/>
                <a:gd name="connsiteY4" fmla="*/ 4934 h 0"/>
                <a:gd name="connsiteX5" fmla="*/ 999 w 0"/>
                <a:gd name="connsiteY5" fmla="*/ 4872 h 0"/>
                <a:gd name="connsiteX6" fmla="*/ 0 w 0"/>
                <a:gd name="connsiteY6"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2998"/>
                  </a:moveTo>
                  <a:cubicBezTo>
                    <a:pt x="625" y="1999"/>
                    <a:pt x="1312" y="999"/>
                    <a:pt x="1936" y="0"/>
                  </a:cubicBezTo>
                  <a:cubicBezTo>
                    <a:pt x="2311" y="0"/>
                    <a:pt x="2748" y="0"/>
                    <a:pt x="3123" y="0"/>
                  </a:cubicBezTo>
                  <a:cubicBezTo>
                    <a:pt x="3810" y="500"/>
                    <a:pt x="3997" y="1124"/>
                    <a:pt x="3997" y="1874"/>
                  </a:cubicBezTo>
                  <a:cubicBezTo>
                    <a:pt x="3810" y="3498"/>
                    <a:pt x="2561" y="4310"/>
                    <a:pt x="1062" y="4934"/>
                  </a:cubicBezTo>
                  <a:lnTo>
                    <a:pt x="999" y="4872"/>
                  </a:lnTo>
                  <a:cubicBezTo>
                    <a:pt x="625" y="4185"/>
                    <a:pt x="312" y="3560"/>
                    <a:pt x="0" y="2998"/>
                  </a:cubicBezTo>
                  <a:close/>
                </a:path>
              </a:pathLst>
            </a:custGeom>
            <a:grpFill/>
            <a:ln w="6246" cap="flat">
              <a:noFill/>
              <a:prstDash val="solid"/>
              <a:miter/>
            </a:ln>
          </p:spPr>
          <p:txBody>
            <a:bodyPr rtlCol="0" anchor="ctr"/>
            <a:lstStyle/>
            <a:p>
              <a:endParaRPr lang="fr-FR" sz="2400"/>
            </a:p>
          </p:txBody>
        </p:sp>
        <p:sp>
          <p:nvSpPr>
            <p:cNvPr id="394" name="Freeform: Shape 393">
              <a:extLst>
                <a:ext uri="{FF2B5EF4-FFF2-40B4-BE49-F238E27FC236}">
                  <a16:creationId xmlns:a16="http://schemas.microsoft.com/office/drawing/2014/main" id="{E8855EDA-BC77-46E3-B1B4-966B1A2F4CA8}"/>
                </a:ext>
              </a:extLst>
            </p:cNvPr>
            <p:cNvSpPr/>
            <p:nvPr/>
          </p:nvSpPr>
          <p:spPr>
            <a:xfrm>
              <a:off x="1120637" y="486942"/>
              <a:ext cx="6246" cy="6246"/>
            </a:xfrm>
            <a:custGeom>
              <a:avLst/>
              <a:gdLst>
                <a:gd name="connsiteX0" fmla="*/ 1062 w 0"/>
                <a:gd name="connsiteY0" fmla="*/ 0 h 0"/>
                <a:gd name="connsiteX1" fmla="*/ 0 w 0"/>
                <a:gd name="connsiteY1" fmla="*/ 5871 h 0"/>
                <a:gd name="connsiteX2" fmla="*/ 0 w 0"/>
                <a:gd name="connsiteY2" fmla="*/ 0 h 0"/>
                <a:gd name="connsiteX3" fmla="*/ 1062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062" y="0"/>
                  </a:moveTo>
                  <a:cubicBezTo>
                    <a:pt x="749" y="1936"/>
                    <a:pt x="1874" y="4122"/>
                    <a:pt x="0" y="5871"/>
                  </a:cubicBezTo>
                  <a:cubicBezTo>
                    <a:pt x="0" y="3935"/>
                    <a:pt x="0" y="1999"/>
                    <a:pt x="0" y="0"/>
                  </a:cubicBezTo>
                  <a:cubicBezTo>
                    <a:pt x="375" y="0"/>
                    <a:pt x="687" y="0"/>
                    <a:pt x="1062" y="0"/>
                  </a:cubicBezTo>
                  <a:close/>
                </a:path>
              </a:pathLst>
            </a:custGeom>
            <a:grpFill/>
            <a:ln w="6246" cap="flat">
              <a:noFill/>
              <a:prstDash val="solid"/>
              <a:miter/>
            </a:ln>
          </p:spPr>
          <p:txBody>
            <a:bodyPr rtlCol="0" anchor="ctr"/>
            <a:lstStyle/>
            <a:p>
              <a:endParaRPr lang="fr-FR" sz="2400"/>
            </a:p>
          </p:txBody>
        </p:sp>
        <p:sp>
          <p:nvSpPr>
            <p:cNvPr id="395" name="Freeform: Shape 394">
              <a:extLst>
                <a:ext uri="{FF2B5EF4-FFF2-40B4-BE49-F238E27FC236}">
                  <a16:creationId xmlns:a16="http://schemas.microsoft.com/office/drawing/2014/main" id="{A534EC35-C2A2-45F9-8438-8EED42370A4B}"/>
                </a:ext>
              </a:extLst>
            </p:cNvPr>
            <p:cNvSpPr/>
            <p:nvPr/>
          </p:nvSpPr>
          <p:spPr>
            <a:xfrm>
              <a:off x="1127036" y="469578"/>
              <a:ext cx="6246" cy="6246"/>
            </a:xfrm>
            <a:custGeom>
              <a:avLst/>
              <a:gdLst>
                <a:gd name="connsiteX0" fmla="*/ 34 w 0"/>
                <a:gd name="connsiteY0" fmla="*/ 6808 h 6246"/>
                <a:gd name="connsiteX1" fmla="*/ 34 w 0"/>
                <a:gd name="connsiteY1" fmla="*/ 4872 h 6246"/>
                <a:gd name="connsiteX2" fmla="*/ 1096 w 0"/>
                <a:gd name="connsiteY2" fmla="*/ 62 h 6246"/>
                <a:gd name="connsiteX3" fmla="*/ 2033 w 0"/>
                <a:gd name="connsiteY3" fmla="*/ 0 h 6246"/>
                <a:gd name="connsiteX4" fmla="*/ 3220 w 0"/>
                <a:gd name="connsiteY4" fmla="*/ 62 h 6246"/>
                <a:gd name="connsiteX5" fmla="*/ 3719 w 0"/>
                <a:gd name="connsiteY5" fmla="*/ 1312 h 6246"/>
                <a:gd name="connsiteX6" fmla="*/ 2845 w 0"/>
                <a:gd name="connsiteY6" fmla="*/ 5497 h 6246"/>
                <a:gd name="connsiteX7" fmla="*/ 34 w 0"/>
                <a:gd name="connsiteY7"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34" y="6808"/>
                  </a:moveTo>
                  <a:cubicBezTo>
                    <a:pt x="34" y="6184"/>
                    <a:pt x="34" y="5497"/>
                    <a:pt x="34" y="4872"/>
                  </a:cubicBezTo>
                  <a:cubicBezTo>
                    <a:pt x="-91" y="3186"/>
                    <a:pt x="97" y="1562"/>
                    <a:pt x="1096" y="62"/>
                  </a:cubicBezTo>
                  <a:cubicBezTo>
                    <a:pt x="1408" y="62"/>
                    <a:pt x="1721" y="0"/>
                    <a:pt x="2033" y="0"/>
                  </a:cubicBezTo>
                  <a:cubicBezTo>
                    <a:pt x="2408" y="0"/>
                    <a:pt x="2845" y="0"/>
                    <a:pt x="3220" y="62"/>
                  </a:cubicBezTo>
                  <a:cubicBezTo>
                    <a:pt x="3595" y="437"/>
                    <a:pt x="3782" y="812"/>
                    <a:pt x="3719" y="1312"/>
                  </a:cubicBezTo>
                  <a:cubicBezTo>
                    <a:pt x="3470" y="2686"/>
                    <a:pt x="3095" y="4060"/>
                    <a:pt x="2845" y="5497"/>
                  </a:cubicBezTo>
                  <a:cubicBezTo>
                    <a:pt x="2658" y="6808"/>
                    <a:pt x="1846" y="7870"/>
                    <a:pt x="34" y="6808"/>
                  </a:cubicBezTo>
                  <a:close/>
                </a:path>
              </a:pathLst>
            </a:custGeom>
            <a:grpFill/>
            <a:ln w="6246" cap="flat">
              <a:noFill/>
              <a:prstDash val="solid"/>
              <a:miter/>
            </a:ln>
          </p:spPr>
          <p:txBody>
            <a:bodyPr rtlCol="0" anchor="ctr"/>
            <a:lstStyle/>
            <a:p>
              <a:endParaRPr lang="fr-FR" sz="2400"/>
            </a:p>
          </p:txBody>
        </p:sp>
        <p:sp>
          <p:nvSpPr>
            <p:cNvPr id="396" name="Freeform: Shape 395">
              <a:extLst>
                <a:ext uri="{FF2B5EF4-FFF2-40B4-BE49-F238E27FC236}">
                  <a16:creationId xmlns:a16="http://schemas.microsoft.com/office/drawing/2014/main" id="{4E9DA69E-DE5A-48E4-ADB5-FD872A1DF295}"/>
                </a:ext>
              </a:extLst>
            </p:cNvPr>
            <p:cNvSpPr/>
            <p:nvPr/>
          </p:nvSpPr>
          <p:spPr>
            <a:xfrm>
              <a:off x="1132707" y="465768"/>
              <a:ext cx="6246" cy="6246"/>
            </a:xfrm>
            <a:custGeom>
              <a:avLst/>
              <a:gdLst>
                <a:gd name="connsiteX0" fmla="*/ 3857 w 0"/>
                <a:gd name="connsiteY0" fmla="*/ 4560 h 6246"/>
                <a:gd name="connsiteX1" fmla="*/ 921 w 0"/>
                <a:gd name="connsiteY1" fmla="*/ 6996 h 6246"/>
                <a:gd name="connsiteX2" fmla="*/ 47 w 0"/>
                <a:gd name="connsiteY2" fmla="*/ 6059 h 6246"/>
                <a:gd name="connsiteX3" fmla="*/ 47 w 0"/>
                <a:gd name="connsiteY3" fmla="*/ 4809 h 6246"/>
                <a:gd name="connsiteX4" fmla="*/ 921 w 0"/>
                <a:gd name="connsiteY4" fmla="*/ 1874 h 6246"/>
                <a:gd name="connsiteX5" fmla="*/ 859 w 0"/>
                <a:gd name="connsiteY5" fmla="*/ 937 h 6246"/>
                <a:gd name="connsiteX6" fmla="*/ 2858 w 0"/>
                <a:gd name="connsiteY6" fmla="*/ 125 h 6246"/>
                <a:gd name="connsiteX7" fmla="*/ 3919 w 0"/>
                <a:gd name="connsiteY7" fmla="*/ 0 h 6246"/>
                <a:gd name="connsiteX8" fmla="*/ 4794 w 0"/>
                <a:gd name="connsiteY8" fmla="*/ 1811 h 6246"/>
                <a:gd name="connsiteX9" fmla="*/ 5356 w 0"/>
                <a:gd name="connsiteY9" fmla="*/ 2436 h 6246"/>
                <a:gd name="connsiteX10" fmla="*/ 5169 w 0"/>
                <a:gd name="connsiteY10" fmla="*/ 2873 h 6246"/>
                <a:gd name="connsiteX11" fmla="*/ 3857 w 0"/>
                <a:gd name="connsiteY11" fmla="*/ 456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h="6246">
                  <a:moveTo>
                    <a:pt x="3857" y="4560"/>
                  </a:moveTo>
                  <a:cubicBezTo>
                    <a:pt x="2858" y="5372"/>
                    <a:pt x="1921" y="6184"/>
                    <a:pt x="921" y="6996"/>
                  </a:cubicBezTo>
                  <a:cubicBezTo>
                    <a:pt x="484" y="6808"/>
                    <a:pt x="172" y="6496"/>
                    <a:pt x="47" y="6059"/>
                  </a:cubicBezTo>
                  <a:cubicBezTo>
                    <a:pt x="-16" y="5621"/>
                    <a:pt x="-16" y="5247"/>
                    <a:pt x="47" y="4809"/>
                  </a:cubicBezTo>
                  <a:cubicBezTo>
                    <a:pt x="297" y="3810"/>
                    <a:pt x="859" y="2873"/>
                    <a:pt x="921" y="1874"/>
                  </a:cubicBezTo>
                  <a:cubicBezTo>
                    <a:pt x="859" y="1562"/>
                    <a:pt x="859" y="1249"/>
                    <a:pt x="859" y="937"/>
                  </a:cubicBezTo>
                  <a:cubicBezTo>
                    <a:pt x="1546" y="687"/>
                    <a:pt x="2170" y="375"/>
                    <a:pt x="2858" y="125"/>
                  </a:cubicBezTo>
                  <a:cubicBezTo>
                    <a:pt x="3232" y="62"/>
                    <a:pt x="3607" y="62"/>
                    <a:pt x="3919" y="0"/>
                  </a:cubicBezTo>
                  <a:cubicBezTo>
                    <a:pt x="4232" y="625"/>
                    <a:pt x="4481" y="1187"/>
                    <a:pt x="4794" y="1811"/>
                  </a:cubicBezTo>
                  <a:cubicBezTo>
                    <a:pt x="5231" y="1936"/>
                    <a:pt x="5418" y="2124"/>
                    <a:pt x="5356" y="2436"/>
                  </a:cubicBezTo>
                  <a:cubicBezTo>
                    <a:pt x="5356" y="2748"/>
                    <a:pt x="5231" y="2873"/>
                    <a:pt x="5169" y="2873"/>
                  </a:cubicBezTo>
                  <a:cubicBezTo>
                    <a:pt x="4731" y="3435"/>
                    <a:pt x="4294" y="3997"/>
                    <a:pt x="3857" y="4560"/>
                  </a:cubicBezTo>
                  <a:close/>
                </a:path>
              </a:pathLst>
            </a:custGeom>
            <a:grpFill/>
            <a:ln w="6246" cap="flat">
              <a:noFill/>
              <a:prstDash val="solid"/>
              <a:miter/>
            </a:ln>
          </p:spPr>
          <p:txBody>
            <a:bodyPr rtlCol="0" anchor="ctr"/>
            <a:lstStyle/>
            <a:p>
              <a:endParaRPr lang="fr-FR" sz="2400"/>
            </a:p>
          </p:txBody>
        </p:sp>
        <p:sp>
          <p:nvSpPr>
            <p:cNvPr id="397" name="Freeform: Shape 396">
              <a:extLst>
                <a:ext uri="{FF2B5EF4-FFF2-40B4-BE49-F238E27FC236}">
                  <a16:creationId xmlns:a16="http://schemas.microsoft.com/office/drawing/2014/main" id="{45992490-1C80-430B-B7E2-1E386023789A}"/>
                </a:ext>
              </a:extLst>
            </p:cNvPr>
            <p:cNvSpPr/>
            <p:nvPr/>
          </p:nvSpPr>
          <p:spPr>
            <a:xfrm>
              <a:off x="1131380" y="463769"/>
              <a:ext cx="6246" cy="6246"/>
            </a:xfrm>
            <a:custGeom>
              <a:avLst/>
              <a:gdLst>
                <a:gd name="connsiteX0" fmla="*/ 0 w 0"/>
                <a:gd name="connsiteY0" fmla="*/ 1124 h 0"/>
                <a:gd name="connsiteX1" fmla="*/ 999 w 0"/>
                <a:gd name="connsiteY1" fmla="*/ 0 h 0"/>
                <a:gd name="connsiteX2" fmla="*/ 1999 w 0"/>
                <a:gd name="connsiteY2" fmla="*/ 2936 h 0"/>
                <a:gd name="connsiteX3" fmla="*/ 0 w 0"/>
                <a:gd name="connsiteY3" fmla="*/ 1124 h 0"/>
              </a:gdLst>
              <a:ahLst/>
              <a:cxnLst>
                <a:cxn ang="0">
                  <a:pos x="connsiteX0" y="connsiteY0"/>
                </a:cxn>
                <a:cxn ang="0">
                  <a:pos x="connsiteX1" y="connsiteY1"/>
                </a:cxn>
                <a:cxn ang="0">
                  <a:pos x="connsiteX2" y="connsiteY2"/>
                </a:cxn>
                <a:cxn ang="0">
                  <a:pos x="connsiteX3" y="connsiteY3"/>
                </a:cxn>
              </a:cxnLst>
              <a:rect l="l" t="t" r="r" b="b"/>
              <a:pathLst>
                <a:path>
                  <a:moveTo>
                    <a:pt x="0" y="1124"/>
                  </a:moveTo>
                  <a:cubicBezTo>
                    <a:pt x="312" y="750"/>
                    <a:pt x="687" y="375"/>
                    <a:pt x="999" y="0"/>
                  </a:cubicBezTo>
                  <a:cubicBezTo>
                    <a:pt x="2249" y="687"/>
                    <a:pt x="2061" y="1811"/>
                    <a:pt x="1999" y="2936"/>
                  </a:cubicBezTo>
                  <a:cubicBezTo>
                    <a:pt x="1374" y="2311"/>
                    <a:pt x="687" y="1749"/>
                    <a:pt x="0" y="1124"/>
                  </a:cubicBezTo>
                  <a:close/>
                </a:path>
              </a:pathLst>
            </a:custGeom>
            <a:grpFill/>
            <a:ln w="6246" cap="flat">
              <a:noFill/>
              <a:prstDash val="solid"/>
              <a:miter/>
            </a:ln>
          </p:spPr>
          <p:txBody>
            <a:bodyPr rtlCol="0" anchor="ctr"/>
            <a:lstStyle/>
            <a:p>
              <a:endParaRPr lang="fr-FR" sz="2400"/>
            </a:p>
          </p:txBody>
        </p:sp>
        <p:sp>
          <p:nvSpPr>
            <p:cNvPr id="398" name="Freeform: Shape 397">
              <a:extLst>
                <a:ext uri="{FF2B5EF4-FFF2-40B4-BE49-F238E27FC236}">
                  <a16:creationId xmlns:a16="http://schemas.microsoft.com/office/drawing/2014/main" id="{C9CF57CD-07CC-44F6-BC7B-D1A25FD06823}"/>
                </a:ext>
              </a:extLst>
            </p:cNvPr>
            <p:cNvSpPr/>
            <p:nvPr/>
          </p:nvSpPr>
          <p:spPr>
            <a:xfrm>
              <a:off x="1129918" y="467634"/>
              <a:ext cx="6246" cy="6246"/>
            </a:xfrm>
            <a:custGeom>
              <a:avLst/>
              <a:gdLst>
                <a:gd name="connsiteX0" fmla="*/ 3711 w 0"/>
                <a:gd name="connsiteY0" fmla="*/ 8 h 0"/>
                <a:gd name="connsiteX1" fmla="*/ 3586 w 0"/>
                <a:gd name="connsiteY1" fmla="*/ 2944 h 0"/>
                <a:gd name="connsiteX2" fmla="*/ 88 w 0"/>
                <a:gd name="connsiteY2" fmla="*/ 3943 h 0"/>
                <a:gd name="connsiteX3" fmla="*/ 338 w 0"/>
                <a:gd name="connsiteY3" fmla="*/ 2881 h 0"/>
                <a:gd name="connsiteX4" fmla="*/ 338 w 0"/>
                <a:gd name="connsiteY4" fmla="*/ 1944 h 0"/>
                <a:gd name="connsiteX5" fmla="*/ 3711 w 0"/>
                <a:gd name="connsiteY5" fmla="*/ 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711" y="8"/>
                  </a:moveTo>
                  <a:cubicBezTo>
                    <a:pt x="5772" y="1070"/>
                    <a:pt x="5460" y="2007"/>
                    <a:pt x="3586" y="2944"/>
                  </a:cubicBezTo>
                  <a:cubicBezTo>
                    <a:pt x="2462" y="3443"/>
                    <a:pt x="1650" y="4755"/>
                    <a:pt x="88" y="3943"/>
                  </a:cubicBezTo>
                  <a:cubicBezTo>
                    <a:pt x="-99" y="3506"/>
                    <a:pt x="26" y="3193"/>
                    <a:pt x="338" y="2881"/>
                  </a:cubicBezTo>
                  <a:cubicBezTo>
                    <a:pt x="338" y="2569"/>
                    <a:pt x="338" y="2257"/>
                    <a:pt x="338" y="1944"/>
                  </a:cubicBezTo>
                  <a:cubicBezTo>
                    <a:pt x="1462" y="1257"/>
                    <a:pt x="2024" y="-117"/>
                    <a:pt x="3711" y="8"/>
                  </a:cubicBezTo>
                  <a:close/>
                </a:path>
              </a:pathLst>
            </a:custGeom>
            <a:grpFill/>
            <a:ln w="6246" cap="flat">
              <a:noFill/>
              <a:prstDash val="solid"/>
              <a:miter/>
            </a:ln>
          </p:spPr>
          <p:txBody>
            <a:bodyPr rtlCol="0" anchor="ctr"/>
            <a:lstStyle/>
            <a:p>
              <a:endParaRPr lang="fr-FR" sz="2400"/>
            </a:p>
          </p:txBody>
        </p:sp>
        <p:sp>
          <p:nvSpPr>
            <p:cNvPr id="399" name="Freeform: Shape 398">
              <a:extLst>
                <a:ext uri="{FF2B5EF4-FFF2-40B4-BE49-F238E27FC236}">
                  <a16:creationId xmlns:a16="http://schemas.microsoft.com/office/drawing/2014/main" id="{9DE0B866-66E2-45B0-B83F-D36425D9292C}"/>
                </a:ext>
              </a:extLst>
            </p:cNvPr>
            <p:cNvSpPr/>
            <p:nvPr/>
          </p:nvSpPr>
          <p:spPr>
            <a:xfrm>
              <a:off x="1137501" y="457836"/>
              <a:ext cx="6246" cy="6246"/>
            </a:xfrm>
            <a:custGeom>
              <a:avLst/>
              <a:gdLst>
                <a:gd name="connsiteX0" fmla="*/ 375 w 6246"/>
                <a:gd name="connsiteY0" fmla="*/ 10806 h 6246"/>
                <a:gd name="connsiteX1" fmla="*/ 0 w 6246"/>
                <a:gd name="connsiteY1" fmla="*/ 9744 h 6246"/>
                <a:gd name="connsiteX2" fmla="*/ 8620 w 6246"/>
                <a:gd name="connsiteY2" fmla="*/ 0 h 6246"/>
                <a:gd name="connsiteX3" fmla="*/ 7683 w 6246"/>
                <a:gd name="connsiteY3" fmla="*/ 3997 h 6246"/>
                <a:gd name="connsiteX4" fmla="*/ 2311 w 6246"/>
                <a:gd name="connsiteY4" fmla="*/ 9806 h 6246"/>
                <a:gd name="connsiteX5" fmla="*/ 375 w 6246"/>
                <a:gd name="connsiteY5" fmla="*/ 108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75" y="10806"/>
                  </a:moveTo>
                  <a:cubicBezTo>
                    <a:pt x="250" y="10431"/>
                    <a:pt x="125" y="10119"/>
                    <a:pt x="0" y="9744"/>
                  </a:cubicBezTo>
                  <a:cubicBezTo>
                    <a:pt x="2873" y="6496"/>
                    <a:pt x="5746" y="3248"/>
                    <a:pt x="8620" y="0"/>
                  </a:cubicBezTo>
                  <a:cubicBezTo>
                    <a:pt x="8994" y="1437"/>
                    <a:pt x="8432" y="2748"/>
                    <a:pt x="7683" y="3997"/>
                  </a:cubicBezTo>
                  <a:cubicBezTo>
                    <a:pt x="5809" y="5871"/>
                    <a:pt x="4622" y="8245"/>
                    <a:pt x="2311" y="9806"/>
                  </a:cubicBezTo>
                  <a:cubicBezTo>
                    <a:pt x="1749" y="10181"/>
                    <a:pt x="1062" y="10493"/>
                    <a:pt x="375" y="10806"/>
                  </a:cubicBezTo>
                  <a:close/>
                </a:path>
              </a:pathLst>
            </a:custGeom>
            <a:grpFill/>
            <a:ln w="6246" cap="flat">
              <a:noFill/>
              <a:prstDash val="solid"/>
              <a:miter/>
            </a:ln>
          </p:spPr>
          <p:txBody>
            <a:bodyPr rtlCol="0" anchor="ctr"/>
            <a:lstStyle/>
            <a:p>
              <a:endParaRPr lang="fr-FR" sz="2400"/>
            </a:p>
          </p:txBody>
        </p:sp>
        <p:sp>
          <p:nvSpPr>
            <p:cNvPr id="400" name="Freeform: Shape 399">
              <a:extLst>
                <a:ext uri="{FF2B5EF4-FFF2-40B4-BE49-F238E27FC236}">
                  <a16:creationId xmlns:a16="http://schemas.microsoft.com/office/drawing/2014/main" id="{4983F06A-E76E-4514-9E86-0B01498AFF66}"/>
                </a:ext>
              </a:extLst>
            </p:cNvPr>
            <p:cNvSpPr/>
            <p:nvPr/>
          </p:nvSpPr>
          <p:spPr>
            <a:xfrm>
              <a:off x="1105646" y="516174"/>
              <a:ext cx="6246" cy="6246"/>
            </a:xfrm>
            <a:custGeom>
              <a:avLst/>
              <a:gdLst>
                <a:gd name="connsiteX0" fmla="*/ 1062 w 0"/>
                <a:gd name="connsiteY0" fmla="*/ 3685 h 6246"/>
                <a:gd name="connsiteX1" fmla="*/ 0 w 0"/>
                <a:gd name="connsiteY1" fmla="*/ 1749 h 6246"/>
                <a:gd name="connsiteX2" fmla="*/ 1562 w 0"/>
                <a:gd name="connsiteY2" fmla="*/ 0 h 6246"/>
                <a:gd name="connsiteX3" fmla="*/ 5122 w 0"/>
                <a:gd name="connsiteY3" fmla="*/ 6059 h 6246"/>
                <a:gd name="connsiteX4" fmla="*/ 3873 w 0"/>
                <a:gd name="connsiteY4" fmla="*/ 6996 h 6246"/>
                <a:gd name="connsiteX5" fmla="*/ 749 w 0"/>
                <a:gd name="connsiteY5" fmla="*/ 4997 h 6246"/>
                <a:gd name="connsiteX6" fmla="*/ 1062 w 0"/>
                <a:gd name="connsiteY6" fmla="*/ 368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062" y="3685"/>
                  </a:moveTo>
                  <a:cubicBezTo>
                    <a:pt x="687" y="3061"/>
                    <a:pt x="375" y="2373"/>
                    <a:pt x="0" y="1749"/>
                  </a:cubicBezTo>
                  <a:cubicBezTo>
                    <a:pt x="500" y="1124"/>
                    <a:pt x="812" y="437"/>
                    <a:pt x="1562" y="0"/>
                  </a:cubicBezTo>
                  <a:cubicBezTo>
                    <a:pt x="5746" y="0"/>
                    <a:pt x="6184" y="687"/>
                    <a:pt x="5122" y="6059"/>
                  </a:cubicBezTo>
                  <a:cubicBezTo>
                    <a:pt x="4872" y="6496"/>
                    <a:pt x="4435" y="6808"/>
                    <a:pt x="3873" y="6996"/>
                  </a:cubicBezTo>
                  <a:cubicBezTo>
                    <a:pt x="2373" y="6933"/>
                    <a:pt x="1562" y="5996"/>
                    <a:pt x="749" y="4997"/>
                  </a:cubicBezTo>
                  <a:cubicBezTo>
                    <a:pt x="562" y="4497"/>
                    <a:pt x="687" y="4060"/>
                    <a:pt x="1062" y="3685"/>
                  </a:cubicBezTo>
                  <a:close/>
                </a:path>
              </a:pathLst>
            </a:custGeom>
            <a:grpFill/>
            <a:ln w="6246" cap="flat">
              <a:noFill/>
              <a:prstDash val="solid"/>
              <a:miter/>
            </a:ln>
          </p:spPr>
          <p:txBody>
            <a:bodyPr rtlCol="0" anchor="ctr"/>
            <a:lstStyle/>
            <a:p>
              <a:endParaRPr lang="fr-FR" sz="2400"/>
            </a:p>
          </p:txBody>
        </p:sp>
        <p:sp>
          <p:nvSpPr>
            <p:cNvPr id="401" name="Freeform: Shape 400">
              <a:extLst>
                <a:ext uri="{FF2B5EF4-FFF2-40B4-BE49-F238E27FC236}">
                  <a16:creationId xmlns:a16="http://schemas.microsoft.com/office/drawing/2014/main" id="{87092720-7B56-449F-A87F-3D8A0D07E85B}"/>
                </a:ext>
              </a:extLst>
            </p:cNvPr>
            <p:cNvSpPr/>
            <p:nvPr/>
          </p:nvSpPr>
          <p:spPr>
            <a:xfrm>
              <a:off x="1105646" y="509678"/>
              <a:ext cx="6246" cy="6246"/>
            </a:xfrm>
            <a:custGeom>
              <a:avLst/>
              <a:gdLst>
                <a:gd name="connsiteX0" fmla="*/ 1124 w 0"/>
                <a:gd name="connsiteY0" fmla="*/ 7308 h 6246"/>
                <a:gd name="connsiteX1" fmla="*/ 0 w 0"/>
                <a:gd name="connsiteY1" fmla="*/ 8245 h 6246"/>
                <a:gd name="connsiteX2" fmla="*/ 62 w 0"/>
                <a:gd name="connsiteY2" fmla="*/ 3435 h 6246"/>
                <a:gd name="connsiteX3" fmla="*/ 2249 w 0"/>
                <a:gd name="connsiteY3" fmla="*/ 0 h 6246"/>
                <a:gd name="connsiteX4" fmla="*/ 3685 w 0"/>
                <a:gd name="connsiteY4" fmla="*/ 687 h 6246"/>
                <a:gd name="connsiteX5" fmla="*/ 1124 w 0"/>
                <a:gd name="connsiteY5" fmla="*/ 73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124" y="7308"/>
                  </a:moveTo>
                  <a:cubicBezTo>
                    <a:pt x="749" y="7620"/>
                    <a:pt x="375" y="7933"/>
                    <a:pt x="0" y="8245"/>
                  </a:cubicBezTo>
                  <a:cubicBezTo>
                    <a:pt x="0" y="6621"/>
                    <a:pt x="0" y="5059"/>
                    <a:pt x="62" y="3435"/>
                  </a:cubicBezTo>
                  <a:cubicBezTo>
                    <a:pt x="1124" y="2436"/>
                    <a:pt x="-187" y="250"/>
                    <a:pt x="2249" y="0"/>
                  </a:cubicBezTo>
                  <a:cubicBezTo>
                    <a:pt x="2811" y="62"/>
                    <a:pt x="3310" y="250"/>
                    <a:pt x="3685" y="687"/>
                  </a:cubicBezTo>
                  <a:cubicBezTo>
                    <a:pt x="4560" y="3435"/>
                    <a:pt x="3623" y="5621"/>
                    <a:pt x="1124" y="7308"/>
                  </a:cubicBezTo>
                  <a:close/>
                </a:path>
              </a:pathLst>
            </a:custGeom>
            <a:grpFill/>
            <a:ln w="6246" cap="flat">
              <a:noFill/>
              <a:prstDash val="solid"/>
              <a:miter/>
            </a:ln>
          </p:spPr>
          <p:txBody>
            <a:bodyPr rtlCol="0" anchor="ctr"/>
            <a:lstStyle/>
            <a:p>
              <a:endParaRPr lang="fr-FR" sz="2400"/>
            </a:p>
          </p:txBody>
        </p:sp>
        <p:sp>
          <p:nvSpPr>
            <p:cNvPr id="402" name="Freeform: Shape 401">
              <a:extLst>
                <a:ext uri="{FF2B5EF4-FFF2-40B4-BE49-F238E27FC236}">
                  <a16:creationId xmlns:a16="http://schemas.microsoft.com/office/drawing/2014/main" id="{367479BA-F37D-46B1-AB81-5397B5F1770A}"/>
                </a:ext>
              </a:extLst>
            </p:cNvPr>
            <p:cNvSpPr/>
            <p:nvPr/>
          </p:nvSpPr>
          <p:spPr>
            <a:xfrm>
              <a:off x="1102461" y="519527"/>
              <a:ext cx="6246" cy="6246"/>
            </a:xfrm>
            <a:custGeom>
              <a:avLst/>
              <a:gdLst>
                <a:gd name="connsiteX0" fmla="*/ 0 w 0"/>
                <a:gd name="connsiteY0" fmla="*/ 6141 h 6246"/>
                <a:gd name="connsiteX1" fmla="*/ 0 w 0"/>
                <a:gd name="connsiteY1" fmla="*/ 332 h 6246"/>
                <a:gd name="connsiteX2" fmla="*/ 2186 w 0"/>
                <a:gd name="connsiteY2" fmla="*/ 1331 h 6246"/>
                <a:gd name="connsiteX3" fmla="*/ 3248 w 0"/>
                <a:gd name="connsiteY3" fmla="*/ 3205 h 6246"/>
                <a:gd name="connsiteX4" fmla="*/ 2748 w 0"/>
                <a:gd name="connsiteY4" fmla="*/ 5266 h 6246"/>
                <a:gd name="connsiteX5" fmla="*/ 750 w 0"/>
                <a:gd name="connsiteY5" fmla="*/ 6391 h 6246"/>
                <a:gd name="connsiteX6" fmla="*/ 0 w 0"/>
                <a:gd name="connsiteY6" fmla="*/ 614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0" y="6141"/>
                  </a:moveTo>
                  <a:cubicBezTo>
                    <a:pt x="0" y="4205"/>
                    <a:pt x="0" y="2268"/>
                    <a:pt x="0" y="332"/>
                  </a:cubicBezTo>
                  <a:cubicBezTo>
                    <a:pt x="1187" y="-168"/>
                    <a:pt x="2186" y="-293"/>
                    <a:pt x="2186" y="1331"/>
                  </a:cubicBezTo>
                  <a:cubicBezTo>
                    <a:pt x="2811" y="1831"/>
                    <a:pt x="3123" y="2456"/>
                    <a:pt x="3248" y="3205"/>
                  </a:cubicBezTo>
                  <a:cubicBezTo>
                    <a:pt x="3310" y="3955"/>
                    <a:pt x="3123" y="4642"/>
                    <a:pt x="2748" y="5266"/>
                  </a:cubicBezTo>
                  <a:cubicBezTo>
                    <a:pt x="2249" y="5891"/>
                    <a:pt x="1624" y="6266"/>
                    <a:pt x="750" y="6391"/>
                  </a:cubicBezTo>
                  <a:cubicBezTo>
                    <a:pt x="500" y="6328"/>
                    <a:pt x="250" y="6266"/>
                    <a:pt x="0" y="6141"/>
                  </a:cubicBezTo>
                  <a:close/>
                </a:path>
              </a:pathLst>
            </a:custGeom>
            <a:grpFill/>
            <a:ln w="6246" cap="flat">
              <a:noFill/>
              <a:prstDash val="solid"/>
              <a:miter/>
            </a:ln>
          </p:spPr>
          <p:txBody>
            <a:bodyPr rtlCol="0" anchor="ctr"/>
            <a:lstStyle/>
            <a:p>
              <a:endParaRPr lang="fr-FR" sz="2400"/>
            </a:p>
          </p:txBody>
        </p:sp>
        <p:sp>
          <p:nvSpPr>
            <p:cNvPr id="403" name="Freeform: Shape 402">
              <a:extLst>
                <a:ext uri="{FF2B5EF4-FFF2-40B4-BE49-F238E27FC236}">
                  <a16:creationId xmlns:a16="http://schemas.microsoft.com/office/drawing/2014/main" id="{A1B4D28B-291F-4915-8933-E6BA8FAED472}"/>
                </a:ext>
              </a:extLst>
            </p:cNvPr>
            <p:cNvSpPr/>
            <p:nvPr/>
          </p:nvSpPr>
          <p:spPr>
            <a:xfrm>
              <a:off x="1105709" y="506305"/>
              <a:ext cx="6246" cy="6246"/>
            </a:xfrm>
            <a:custGeom>
              <a:avLst/>
              <a:gdLst>
                <a:gd name="connsiteX0" fmla="*/ 1999 w 0"/>
                <a:gd name="connsiteY0" fmla="*/ 3935 h 6246"/>
                <a:gd name="connsiteX1" fmla="*/ 0 w 0"/>
                <a:gd name="connsiteY1" fmla="*/ 6808 h 6246"/>
                <a:gd name="connsiteX2" fmla="*/ 0 w 0"/>
                <a:gd name="connsiteY2" fmla="*/ 2936 h 6246"/>
                <a:gd name="connsiteX3" fmla="*/ 1062 w 0"/>
                <a:gd name="connsiteY3" fmla="*/ 62 h 6246"/>
                <a:gd name="connsiteX4" fmla="*/ 1999 w 0"/>
                <a:gd name="connsiteY4" fmla="*/ 0 h 6246"/>
                <a:gd name="connsiteX5" fmla="*/ 1999 w 0"/>
                <a:gd name="connsiteY5" fmla="*/ 3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1999" y="3935"/>
                  </a:moveTo>
                  <a:cubicBezTo>
                    <a:pt x="1312" y="4872"/>
                    <a:pt x="687" y="5871"/>
                    <a:pt x="0" y="6808"/>
                  </a:cubicBezTo>
                  <a:cubicBezTo>
                    <a:pt x="0" y="5497"/>
                    <a:pt x="0" y="4247"/>
                    <a:pt x="0" y="2936"/>
                  </a:cubicBezTo>
                  <a:cubicBezTo>
                    <a:pt x="375" y="1999"/>
                    <a:pt x="687" y="999"/>
                    <a:pt x="1062" y="62"/>
                  </a:cubicBezTo>
                  <a:cubicBezTo>
                    <a:pt x="1374" y="62"/>
                    <a:pt x="1686" y="62"/>
                    <a:pt x="1999" y="0"/>
                  </a:cubicBezTo>
                  <a:cubicBezTo>
                    <a:pt x="2936" y="1312"/>
                    <a:pt x="2936" y="2623"/>
                    <a:pt x="1999" y="3935"/>
                  </a:cubicBezTo>
                  <a:close/>
                </a:path>
              </a:pathLst>
            </a:custGeom>
            <a:grpFill/>
            <a:ln w="6246" cap="flat">
              <a:noFill/>
              <a:prstDash val="solid"/>
              <a:miter/>
            </a:ln>
          </p:spPr>
          <p:txBody>
            <a:bodyPr rtlCol="0" anchor="ctr"/>
            <a:lstStyle/>
            <a:p>
              <a:endParaRPr lang="fr-FR" sz="2400"/>
            </a:p>
          </p:txBody>
        </p:sp>
        <p:sp>
          <p:nvSpPr>
            <p:cNvPr id="404" name="Freeform: Shape 403">
              <a:extLst>
                <a:ext uri="{FF2B5EF4-FFF2-40B4-BE49-F238E27FC236}">
                  <a16:creationId xmlns:a16="http://schemas.microsoft.com/office/drawing/2014/main" id="{CF152305-3242-46EF-B76D-EF217D1265E4}"/>
                </a:ext>
              </a:extLst>
            </p:cNvPr>
            <p:cNvSpPr/>
            <p:nvPr/>
          </p:nvSpPr>
          <p:spPr>
            <a:xfrm>
              <a:off x="1104647" y="519859"/>
              <a:ext cx="6246" cy="6246"/>
            </a:xfrm>
            <a:custGeom>
              <a:avLst/>
              <a:gdLst>
                <a:gd name="connsiteX0" fmla="*/ 0 w 0"/>
                <a:gd name="connsiteY0" fmla="*/ 2873 h 0"/>
                <a:gd name="connsiteX1" fmla="*/ 0 w 0"/>
                <a:gd name="connsiteY1" fmla="*/ 999 h 0"/>
                <a:gd name="connsiteX2" fmla="*/ 2061 w 0"/>
                <a:gd name="connsiteY2" fmla="*/ 0 h 0"/>
                <a:gd name="connsiteX3" fmla="*/ 2186 w 0"/>
                <a:gd name="connsiteY3" fmla="*/ 1062 h 0"/>
                <a:gd name="connsiteX4" fmla="*/ 2561 w 0"/>
                <a:gd name="connsiteY4" fmla="*/ 4560 h 0"/>
                <a:gd name="connsiteX5" fmla="*/ 0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873"/>
                  </a:moveTo>
                  <a:cubicBezTo>
                    <a:pt x="0" y="2249"/>
                    <a:pt x="0" y="1624"/>
                    <a:pt x="0" y="999"/>
                  </a:cubicBezTo>
                  <a:cubicBezTo>
                    <a:pt x="687" y="687"/>
                    <a:pt x="1374" y="375"/>
                    <a:pt x="2061" y="0"/>
                  </a:cubicBezTo>
                  <a:cubicBezTo>
                    <a:pt x="2124" y="375"/>
                    <a:pt x="2124" y="749"/>
                    <a:pt x="2186" y="1062"/>
                  </a:cubicBezTo>
                  <a:cubicBezTo>
                    <a:pt x="3185" y="2186"/>
                    <a:pt x="3373" y="3310"/>
                    <a:pt x="2561" y="4560"/>
                  </a:cubicBezTo>
                  <a:cubicBezTo>
                    <a:pt x="125" y="5871"/>
                    <a:pt x="874" y="3373"/>
                    <a:pt x="0" y="2873"/>
                  </a:cubicBezTo>
                  <a:close/>
                </a:path>
              </a:pathLst>
            </a:custGeom>
            <a:grpFill/>
            <a:ln w="6246" cap="flat">
              <a:noFill/>
              <a:prstDash val="solid"/>
              <a:miter/>
            </a:ln>
          </p:spPr>
          <p:txBody>
            <a:bodyPr rtlCol="0" anchor="ctr"/>
            <a:lstStyle/>
            <a:p>
              <a:endParaRPr lang="fr-FR" sz="2400"/>
            </a:p>
          </p:txBody>
        </p:sp>
        <p:sp>
          <p:nvSpPr>
            <p:cNvPr id="405" name="Freeform: Shape 404">
              <a:extLst>
                <a:ext uri="{FF2B5EF4-FFF2-40B4-BE49-F238E27FC236}">
                  <a16:creationId xmlns:a16="http://schemas.microsoft.com/office/drawing/2014/main" id="{BD0842A3-A405-410C-AF62-744E3FA44F97}"/>
                </a:ext>
              </a:extLst>
            </p:cNvPr>
            <p:cNvSpPr/>
            <p:nvPr/>
          </p:nvSpPr>
          <p:spPr>
            <a:xfrm>
              <a:off x="1099400" y="525467"/>
              <a:ext cx="6246" cy="6246"/>
            </a:xfrm>
            <a:custGeom>
              <a:avLst/>
              <a:gdLst>
                <a:gd name="connsiteX0" fmla="*/ 0 w 0"/>
                <a:gd name="connsiteY0" fmla="*/ 6009 h 6246"/>
                <a:gd name="connsiteX1" fmla="*/ 0 w 0"/>
                <a:gd name="connsiteY1" fmla="*/ 5072 h 6246"/>
                <a:gd name="connsiteX2" fmla="*/ 937 w 0"/>
                <a:gd name="connsiteY2" fmla="*/ 1637 h 6246"/>
                <a:gd name="connsiteX3" fmla="*/ 3061 w 0"/>
                <a:gd name="connsiteY3" fmla="*/ 263 h 6246"/>
                <a:gd name="connsiteX4" fmla="*/ 3061 w 0"/>
                <a:gd name="connsiteY4" fmla="*/ 263 h 6246"/>
                <a:gd name="connsiteX5" fmla="*/ 4435 w 0"/>
                <a:gd name="connsiteY5" fmla="*/ 2699 h 6246"/>
                <a:gd name="connsiteX6" fmla="*/ 4872 w 0"/>
                <a:gd name="connsiteY6" fmla="*/ 6821 h 6246"/>
                <a:gd name="connsiteX7" fmla="*/ 4685 w 0"/>
                <a:gd name="connsiteY7" fmla="*/ 8196 h 6246"/>
                <a:gd name="connsiteX8" fmla="*/ 2124 w 0"/>
                <a:gd name="connsiteY8" fmla="*/ 9882 h 6246"/>
                <a:gd name="connsiteX9" fmla="*/ 0 w 0"/>
                <a:gd name="connsiteY9" fmla="*/ 60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h="6246">
                  <a:moveTo>
                    <a:pt x="0" y="6009"/>
                  </a:moveTo>
                  <a:cubicBezTo>
                    <a:pt x="0" y="5697"/>
                    <a:pt x="0" y="5385"/>
                    <a:pt x="0" y="5072"/>
                  </a:cubicBezTo>
                  <a:cubicBezTo>
                    <a:pt x="1187" y="4136"/>
                    <a:pt x="937" y="2824"/>
                    <a:pt x="937" y="1637"/>
                  </a:cubicBezTo>
                  <a:cubicBezTo>
                    <a:pt x="937" y="138"/>
                    <a:pt x="1499" y="-362"/>
                    <a:pt x="3061" y="263"/>
                  </a:cubicBezTo>
                  <a:cubicBezTo>
                    <a:pt x="3061" y="263"/>
                    <a:pt x="3061" y="263"/>
                    <a:pt x="3061" y="263"/>
                  </a:cubicBezTo>
                  <a:cubicBezTo>
                    <a:pt x="3935" y="888"/>
                    <a:pt x="4310" y="1762"/>
                    <a:pt x="4435" y="2699"/>
                  </a:cubicBezTo>
                  <a:cubicBezTo>
                    <a:pt x="4560" y="4073"/>
                    <a:pt x="4560" y="5447"/>
                    <a:pt x="4872" y="6821"/>
                  </a:cubicBezTo>
                  <a:cubicBezTo>
                    <a:pt x="4872" y="7321"/>
                    <a:pt x="4809" y="7758"/>
                    <a:pt x="4685" y="8196"/>
                  </a:cubicBezTo>
                  <a:cubicBezTo>
                    <a:pt x="4122" y="9132"/>
                    <a:pt x="3623" y="10319"/>
                    <a:pt x="2124" y="9882"/>
                  </a:cubicBezTo>
                  <a:cubicBezTo>
                    <a:pt x="62" y="9257"/>
                    <a:pt x="749" y="7259"/>
                    <a:pt x="0" y="6009"/>
                  </a:cubicBezTo>
                  <a:close/>
                </a:path>
              </a:pathLst>
            </a:custGeom>
            <a:grpFill/>
            <a:ln w="6246" cap="flat">
              <a:noFill/>
              <a:prstDash val="solid"/>
              <a:miter/>
            </a:ln>
          </p:spPr>
          <p:txBody>
            <a:bodyPr rtlCol="0" anchor="ctr"/>
            <a:lstStyle/>
            <a:p>
              <a:endParaRPr lang="fr-FR" sz="2400"/>
            </a:p>
          </p:txBody>
        </p:sp>
        <p:sp>
          <p:nvSpPr>
            <p:cNvPr id="406" name="Freeform: Shape 405">
              <a:extLst>
                <a:ext uri="{FF2B5EF4-FFF2-40B4-BE49-F238E27FC236}">
                  <a16:creationId xmlns:a16="http://schemas.microsoft.com/office/drawing/2014/main" id="{24A18315-6806-4063-9D21-368B957E5D89}"/>
                </a:ext>
              </a:extLst>
            </p:cNvPr>
            <p:cNvSpPr/>
            <p:nvPr/>
          </p:nvSpPr>
          <p:spPr>
            <a:xfrm>
              <a:off x="1109698" y="496624"/>
              <a:ext cx="6246" cy="6246"/>
            </a:xfrm>
            <a:custGeom>
              <a:avLst/>
              <a:gdLst>
                <a:gd name="connsiteX0" fmla="*/ 195 w 0"/>
                <a:gd name="connsiteY0" fmla="*/ 3873 h 0"/>
                <a:gd name="connsiteX1" fmla="*/ 1257 w 0"/>
                <a:gd name="connsiteY1" fmla="*/ 999 h 0"/>
                <a:gd name="connsiteX2" fmla="*/ 2319 w 0"/>
                <a:gd name="connsiteY2" fmla="*/ 0 h 0"/>
                <a:gd name="connsiteX3" fmla="*/ 3506 w 0"/>
                <a:gd name="connsiteY3" fmla="*/ 1062 h 0"/>
                <a:gd name="connsiteX4" fmla="*/ 4380 w 0"/>
                <a:gd name="connsiteY4" fmla="*/ 2873 h 0"/>
                <a:gd name="connsiteX5" fmla="*/ 4068 w 0"/>
                <a:gd name="connsiteY5" fmla="*/ 4247 h 0"/>
                <a:gd name="connsiteX6" fmla="*/ 1195 w 0"/>
                <a:gd name="connsiteY6" fmla="*/ 6184 h 0"/>
                <a:gd name="connsiteX7" fmla="*/ 195 w 0"/>
                <a:gd name="connsiteY7"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a:moveTo>
                    <a:pt x="195" y="3873"/>
                  </a:moveTo>
                  <a:cubicBezTo>
                    <a:pt x="570" y="2936"/>
                    <a:pt x="882" y="1936"/>
                    <a:pt x="1257" y="999"/>
                  </a:cubicBezTo>
                  <a:cubicBezTo>
                    <a:pt x="1632" y="687"/>
                    <a:pt x="1944" y="312"/>
                    <a:pt x="2319" y="0"/>
                  </a:cubicBezTo>
                  <a:cubicBezTo>
                    <a:pt x="2694" y="375"/>
                    <a:pt x="3131" y="687"/>
                    <a:pt x="3506" y="1062"/>
                  </a:cubicBezTo>
                  <a:cubicBezTo>
                    <a:pt x="4068" y="1562"/>
                    <a:pt x="4380" y="2124"/>
                    <a:pt x="4380" y="2873"/>
                  </a:cubicBezTo>
                  <a:cubicBezTo>
                    <a:pt x="4380" y="3310"/>
                    <a:pt x="4255" y="3810"/>
                    <a:pt x="4068" y="4247"/>
                  </a:cubicBezTo>
                  <a:cubicBezTo>
                    <a:pt x="3443" y="5309"/>
                    <a:pt x="2819" y="6308"/>
                    <a:pt x="1195" y="6184"/>
                  </a:cubicBezTo>
                  <a:cubicBezTo>
                    <a:pt x="383" y="5559"/>
                    <a:pt x="-367" y="4997"/>
                    <a:pt x="195" y="3873"/>
                  </a:cubicBezTo>
                  <a:close/>
                </a:path>
              </a:pathLst>
            </a:custGeom>
            <a:grpFill/>
            <a:ln w="6246" cap="flat">
              <a:noFill/>
              <a:prstDash val="solid"/>
              <a:miter/>
            </a:ln>
          </p:spPr>
          <p:txBody>
            <a:bodyPr rtlCol="0" anchor="ctr"/>
            <a:lstStyle/>
            <a:p>
              <a:endParaRPr lang="fr-FR" sz="2400"/>
            </a:p>
          </p:txBody>
        </p:sp>
        <p:sp>
          <p:nvSpPr>
            <p:cNvPr id="407" name="Freeform: Shape 406">
              <a:extLst>
                <a:ext uri="{FF2B5EF4-FFF2-40B4-BE49-F238E27FC236}">
                  <a16:creationId xmlns:a16="http://schemas.microsoft.com/office/drawing/2014/main" id="{51D02D60-66BA-4C28-B0FD-B8CEEB395D53}"/>
                </a:ext>
              </a:extLst>
            </p:cNvPr>
            <p:cNvSpPr/>
            <p:nvPr/>
          </p:nvSpPr>
          <p:spPr>
            <a:xfrm>
              <a:off x="1113204" y="494625"/>
              <a:ext cx="6246" cy="6246"/>
            </a:xfrm>
            <a:custGeom>
              <a:avLst/>
              <a:gdLst>
                <a:gd name="connsiteX0" fmla="*/ 0 w 0"/>
                <a:gd name="connsiteY0" fmla="*/ 4934 h 0"/>
                <a:gd name="connsiteX1" fmla="*/ 0 w 0"/>
                <a:gd name="connsiteY1" fmla="*/ 2998 h 0"/>
                <a:gd name="connsiteX2" fmla="*/ 1936 w 0"/>
                <a:gd name="connsiteY2" fmla="*/ 62 h 0"/>
                <a:gd name="connsiteX3" fmla="*/ 3061 w 0"/>
                <a:gd name="connsiteY3" fmla="*/ 0 h 0"/>
                <a:gd name="connsiteX4" fmla="*/ 3935 w 0"/>
                <a:gd name="connsiteY4" fmla="*/ 1936 h 0"/>
                <a:gd name="connsiteX5" fmla="*/ 2249 w 0"/>
                <a:gd name="connsiteY5" fmla="*/ 5184 h 0"/>
                <a:gd name="connsiteX6" fmla="*/ 0 w 0"/>
                <a:gd name="connsiteY6" fmla="*/ 493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934"/>
                  </a:moveTo>
                  <a:cubicBezTo>
                    <a:pt x="0" y="4310"/>
                    <a:pt x="0" y="3623"/>
                    <a:pt x="0" y="2998"/>
                  </a:cubicBezTo>
                  <a:cubicBezTo>
                    <a:pt x="625" y="1999"/>
                    <a:pt x="1249" y="1062"/>
                    <a:pt x="1936" y="62"/>
                  </a:cubicBezTo>
                  <a:cubicBezTo>
                    <a:pt x="2311" y="62"/>
                    <a:pt x="2686" y="0"/>
                    <a:pt x="3061" y="0"/>
                  </a:cubicBezTo>
                  <a:cubicBezTo>
                    <a:pt x="3748" y="500"/>
                    <a:pt x="3935" y="1187"/>
                    <a:pt x="3935" y="1936"/>
                  </a:cubicBezTo>
                  <a:cubicBezTo>
                    <a:pt x="3748" y="3185"/>
                    <a:pt x="3310" y="4310"/>
                    <a:pt x="2249" y="5184"/>
                  </a:cubicBezTo>
                  <a:cubicBezTo>
                    <a:pt x="1437" y="5559"/>
                    <a:pt x="687" y="5497"/>
                    <a:pt x="0" y="4934"/>
                  </a:cubicBezTo>
                  <a:close/>
                </a:path>
              </a:pathLst>
            </a:custGeom>
            <a:grpFill/>
            <a:ln w="6246" cap="flat">
              <a:noFill/>
              <a:prstDash val="solid"/>
              <a:miter/>
            </a:ln>
          </p:spPr>
          <p:txBody>
            <a:bodyPr rtlCol="0" anchor="ctr"/>
            <a:lstStyle/>
            <a:p>
              <a:endParaRPr lang="fr-FR" sz="2400"/>
            </a:p>
          </p:txBody>
        </p:sp>
        <p:sp>
          <p:nvSpPr>
            <p:cNvPr id="408" name="Freeform: Shape 407">
              <a:extLst>
                <a:ext uri="{FF2B5EF4-FFF2-40B4-BE49-F238E27FC236}">
                  <a16:creationId xmlns:a16="http://schemas.microsoft.com/office/drawing/2014/main" id="{E9E1D0F3-DC73-4677-9C02-4565BA1D11F0}"/>
                </a:ext>
              </a:extLst>
            </p:cNvPr>
            <p:cNvSpPr/>
            <p:nvPr/>
          </p:nvSpPr>
          <p:spPr>
            <a:xfrm>
              <a:off x="1097276" y="531477"/>
              <a:ext cx="6246" cy="24984"/>
            </a:xfrm>
            <a:custGeom>
              <a:avLst/>
              <a:gdLst>
                <a:gd name="connsiteX0" fmla="*/ 2124 w 6246"/>
                <a:gd name="connsiteY0" fmla="*/ 0 h 24984"/>
                <a:gd name="connsiteX1" fmla="*/ 6246 w 6246"/>
                <a:gd name="connsiteY1" fmla="*/ 1936 h 24984"/>
                <a:gd name="connsiteX2" fmla="*/ 7370 w 6246"/>
                <a:gd name="connsiteY2" fmla="*/ 5309 h 24984"/>
                <a:gd name="connsiteX3" fmla="*/ 6246 w 6246"/>
                <a:gd name="connsiteY3" fmla="*/ 21174 h 24984"/>
                <a:gd name="connsiteX4" fmla="*/ 6309 w 6246"/>
                <a:gd name="connsiteY4" fmla="*/ 23298 h 24984"/>
                <a:gd name="connsiteX5" fmla="*/ 5184 w 6246"/>
                <a:gd name="connsiteY5" fmla="*/ 25172 h 24984"/>
                <a:gd name="connsiteX6" fmla="*/ 5184 w 6246"/>
                <a:gd name="connsiteY6" fmla="*/ 25172 h 24984"/>
                <a:gd name="connsiteX7" fmla="*/ 3061 w 6246"/>
                <a:gd name="connsiteY7" fmla="*/ 28295 h 24984"/>
                <a:gd name="connsiteX8" fmla="*/ 2748 w 6246"/>
                <a:gd name="connsiteY8" fmla="*/ 27545 h 24984"/>
                <a:gd name="connsiteX9" fmla="*/ 3061 w 6246"/>
                <a:gd name="connsiteY9" fmla="*/ 27170 h 24984"/>
                <a:gd name="connsiteX10" fmla="*/ 0 w 6246"/>
                <a:gd name="connsiteY10" fmla="*/ 14616 h 24984"/>
                <a:gd name="connsiteX11" fmla="*/ 63 w 6246"/>
                <a:gd name="connsiteY11" fmla="*/ 13616 h 24984"/>
                <a:gd name="connsiteX12" fmla="*/ 1062 w 6246"/>
                <a:gd name="connsiteY12" fmla="*/ 5871 h 24984"/>
                <a:gd name="connsiteX13" fmla="*/ 2124 w 6246"/>
                <a:gd name="connsiteY13"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6" h="24984">
                  <a:moveTo>
                    <a:pt x="2124" y="0"/>
                  </a:moveTo>
                  <a:cubicBezTo>
                    <a:pt x="3748" y="250"/>
                    <a:pt x="2998" y="4622"/>
                    <a:pt x="6246" y="1936"/>
                  </a:cubicBezTo>
                  <a:cubicBezTo>
                    <a:pt x="7558" y="2811"/>
                    <a:pt x="8057" y="4372"/>
                    <a:pt x="7370" y="5309"/>
                  </a:cubicBezTo>
                  <a:cubicBezTo>
                    <a:pt x="3623" y="10431"/>
                    <a:pt x="7558" y="15927"/>
                    <a:pt x="6246" y="21174"/>
                  </a:cubicBezTo>
                  <a:cubicBezTo>
                    <a:pt x="6371" y="21861"/>
                    <a:pt x="6433" y="22611"/>
                    <a:pt x="6309" y="23298"/>
                  </a:cubicBezTo>
                  <a:cubicBezTo>
                    <a:pt x="6184" y="24047"/>
                    <a:pt x="5746" y="24672"/>
                    <a:pt x="5184" y="25172"/>
                  </a:cubicBezTo>
                  <a:lnTo>
                    <a:pt x="5184" y="25172"/>
                  </a:lnTo>
                  <a:cubicBezTo>
                    <a:pt x="3997" y="25921"/>
                    <a:pt x="5622" y="28295"/>
                    <a:pt x="3061" y="28295"/>
                  </a:cubicBezTo>
                  <a:cubicBezTo>
                    <a:pt x="2748" y="28045"/>
                    <a:pt x="2623" y="27795"/>
                    <a:pt x="2748" y="27545"/>
                  </a:cubicBezTo>
                  <a:cubicBezTo>
                    <a:pt x="2873" y="27295"/>
                    <a:pt x="2936" y="27170"/>
                    <a:pt x="3061" y="27170"/>
                  </a:cubicBezTo>
                  <a:cubicBezTo>
                    <a:pt x="2686" y="22861"/>
                    <a:pt x="3935" y="18239"/>
                    <a:pt x="0" y="14616"/>
                  </a:cubicBezTo>
                  <a:cubicBezTo>
                    <a:pt x="0" y="14303"/>
                    <a:pt x="0" y="13929"/>
                    <a:pt x="63" y="13616"/>
                  </a:cubicBezTo>
                  <a:cubicBezTo>
                    <a:pt x="2124" y="11243"/>
                    <a:pt x="1749" y="8557"/>
                    <a:pt x="1062" y="5871"/>
                  </a:cubicBezTo>
                  <a:cubicBezTo>
                    <a:pt x="500" y="3748"/>
                    <a:pt x="1437" y="1874"/>
                    <a:pt x="2124" y="0"/>
                  </a:cubicBezTo>
                  <a:close/>
                </a:path>
              </a:pathLst>
            </a:custGeom>
            <a:grpFill/>
            <a:ln w="6246" cap="flat">
              <a:noFill/>
              <a:prstDash val="solid"/>
              <a:miter/>
            </a:ln>
          </p:spPr>
          <p:txBody>
            <a:bodyPr rtlCol="0" anchor="ctr"/>
            <a:lstStyle/>
            <a:p>
              <a:endParaRPr lang="fr-FR" sz="2400"/>
            </a:p>
          </p:txBody>
        </p:sp>
        <p:sp>
          <p:nvSpPr>
            <p:cNvPr id="409" name="Freeform: Shape 408">
              <a:extLst>
                <a:ext uri="{FF2B5EF4-FFF2-40B4-BE49-F238E27FC236}">
                  <a16:creationId xmlns:a16="http://schemas.microsoft.com/office/drawing/2014/main" id="{EB20FFBA-B989-45EA-9D48-C4296833D432}"/>
                </a:ext>
              </a:extLst>
            </p:cNvPr>
            <p:cNvSpPr/>
            <p:nvPr/>
          </p:nvSpPr>
          <p:spPr>
            <a:xfrm>
              <a:off x="1097214" y="537286"/>
              <a:ext cx="6246" cy="6246"/>
            </a:xfrm>
            <a:custGeom>
              <a:avLst/>
              <a:gdLst>
                <a:gd name="connsiteX0" fmla="*/ 999 w 0"/>
                <a:gd name="connsiteY0" fmla="*/ 0 h 6246"/>
                <a:gd name="connsiteX1" fmla="*/ 0 w 0"/>
                <a:gd name="connsiteY1" fmla="*/ 7745 h 6246"/>
                <a:gd name="connsiteX2" fmla="*/ 999 w 0"/>
                <a:gd name="connsiteY2" fmla="*/ 0 h 6246"/>
              </a:gdLst>
              <a:ahLst/>
              <a:cxnLst>
                <a:cxn ang="0">
                  <a:pos x="connsiteX0" y="connsiteY0"/>
                </a:cxn>
                <a:cxn ang="0">
                  <a:pos x="connsiteX1" y="connsiteY1"/>
                </a:cxn>
                <a:cxn ang="0">
                  <a:pos x="connsiteX2" y="connsiteY2"/>
                </a:cxn>
              </a:cxnLst>
              <a:rect l="l" t="t" r="r" b="b"/>
              <a:pathLst>
                <a:path h="6246">
                  <a:moveTo>
                    <a:pt x="999" y="0"/>
                  </a:moveTo>
                  <a:cubicBezTo>
                    <a:pt x="2124" y="2748"/>
                    <a:pt x="3685" y="5497"/>
                    <a:pt x="0" y="7745"/>
                  </a:cubicBezTo>
                  <a:cubicBezTo>
                    <a:pt x="749" y="5184"/>
                    <a:pt x="1187" y="2623"/>
                    <a:pt x="999" y="0"/>
                  </a:cubicBezTo>
                  <a:close/>
                </a:path>
              </a:pathLst>
            </a:custGeom>
            <a:grpFill/>
            <a:ln w="6246" cap="flat">
              <a:noFill/>
              <a:prstDash val="solid"/>
              <a:miter/>
            </a:ln>
          </p:spPr>
          <p:txBody>
            <a:bodyPr rtlCol="0" anchor="ctr"/>
            <a:lstStyle/>
            <a:p>
              <a:endParaRPr lang="fr-FR" sz="2400"/>
            </a:p>
          </p:txBody>
        </p:sp>
        <p:sp>
          <p:nvSpPr>
            <p:cNvPr id="410" name="Freeform: Shape 409">
              <a:extLst>
                <a:ext uri="{FF2B5EF4-FFF2-40B4-BE49-F238E27FC236}">
                  <a16:creationId xmlns:a16="http://schemas.microsoft.com/office/drawing/2014/main" id="{CC46B20A-2674-4287-B171-FF03C54946DF}"/>
                </a:ext>
              </a:extLst>
            </p:cNvPr>
            <p:cNvSpPr/>
            <p:nvPr/>
          </p:nvSpPr>
          <p:spPr>
            <a:xfrm>
              <a:off x="1107707" y="505431"/>
              <a:ext cx="6246" cy="6246"/>
            </a:xfrm>
            <a:custGeom>
              <a:avLst/>
              <a:gdLst>
                <a:gd name="connsiteX0" fmla="*/ 0 w 0"/>
                <a:gd name="connsiteY0" fmla="*/ 4809 h 0"/>
                <a:gd name="connsiteX1" fmla="*/ 0 w 0"/>
                <a:gd name="connsiteY1" fmla="*/ 874 h 0"/>
                <a:gd name="connsiteX2" fmla="*/ 187 w 0"/>
                <a:gd name="connsiteY2" fmla="*/ 0 h 0"/>
                <a:gd name="connsiteX3" fmla="*/ 1187 w 0"/>
                <a:gd name="connsiteY3" fmla="*/ 3810 h 0"/>
                <a:gd name="connsiteX4" fmla="*/ 1374 w 0"/>
                <a:gd name="connsiteY4" fmla="*/ 4435 h 0"/>
                <a:gd name="connsiteX5" fmla="*/ 1124 w 0"/>
                <a:gd name="connsiteY5" fmla="*/ 4685 h 0"/>
                <a:gd name="connsiteX6" fmla="*/ 0 w 0"/>
                <a:gd name="connsiteY6"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4809"/>
                  </a:moveTo>
                  <a:cubicBezTo>
                    <a:pt x="0" y="3498"/>
                    <a:pt x="0" y="2186"/>
                    <a:pt x="0" y="874"/>
                  </a:cubicBezTo>
                  <a:cubicBezTo>
                    <a:pt x="62" y="625"/>
                    <a:pt x="125" y="312"/>
                    <a:pt x="187" y="0"/>
                  </a:cubicBezTo>
                  <a:cubicBezTo>
                    <a:pt x="1624" y="999"/>
                    <a:pt x="999" y="2498"/>
                    <a:pt x="1187" y="3810"/>
                  </a:cubicBezTo>
                  <a:cubicBezTo>
                    <a:pt x="1437" y="3997"/>
                    <a:pt x="1499" y="4247"/>
                    <a:pt x="1374" y="4435"/>
                  </a:cubicBezTo>
                  <a:cubicBezTo>
                    <a:pt x="1249" y="4622"/>
                    <a:pt x="1187" y="4685"/>
                    <a:pt x="1124" y="4685"/>
                  </a:cubicBezTo>
                  <a:cubicBezTo>
                    <a:pt x="749" y="4747"/>
                    <a:pt x="375" y="4747"/>
                    <a:pt x="0" y="4809"/>
                  </a:cubicBezTo>
                  <a:close/>
                </a:path>
              </a:pathLst>
            </a:custGeom>
            <a:grpFill/>
            <a:ln w="6246" cap="flat">
              <a:noFill/>
              <a:prstDash val="solid"/>
              <a:miter/>
            </a:ln>
          </p:spPr>
          <p:txBody>
            <a:bodyPr rtlCol="0" anchor="ctr"/>
            <a:lstStyle/>
            <a:p>
              <a:endParaRPr lang="fr-FR" sz="2400"/>
            </a:p>
          </p:txBody>
        </p:sp>
        <p:sp>
          <p:nvSpPr>
            <p:cNvPr id="411" name="Freeform: Shape 410">
              <a:extLst>
                <a:ext uri="{FF2B5EF4-FFF2-40B4-BE49-F238E27FC236}">
                  <a16:creationId xmlns:a16="http://schemas.microsoft.com/office/drawing/2014/main" id="{A09EDAE8-C62F-47DF-81B0-EFD5E22A2FE0}"/>
                </a:ext>
              </a:extLst>
            </p:cNvPr>
            <p:cNvSpPr/>
            <p:nvPr/>
          </p:nvSpPr>
          <p:spPr>
            <a:xfrm>
              <a:off x="1106770" y="504244"/>
              <a:ext cx="6246" cy="18738"/>
            </a:xfrm>
            <a:custGeom>
              <a:avLst/>
              <a:gdLst>
                <a:gd name="connsiteX0" fmla="*/ 2061 w 6246"/>
                <a:gd name="connsiteY0" fmla="*/ 5871 h 18738"/>
                <a:gd name="connsiteX1" fmla="*/ 2124 w 6246"/>
                <a:gd name="connsiteY1" fmla="*/ 4997 h 18738"/>
                <a:gd name="connsiteX2" fmla="*/ 4185 w 6246"/>
                <a:gd name="connsiteY2" fmla="*/ 125 h 18738"/>
                <a:gd name="connsiteX3" fmla="*/ 4872 w 6246"/>
                <a:gd name="connsiteY3" fmla="*/ 0 h 18738"/>
                <a:gd name="connsiteX4" fmla="*/ 6184 w 6246"/>
                <a:gd name="connsiteY4" fmla="*/ 1437 h 18738"/>
                <a:gd name="connsiteX5" fmla="*/ 6371 w 6246"/>
                <a:gd name="connsiteY5" fmla="*/ 5809 h 18738"/>
                <a:gd name="connsiteX6" fmla="*/ 7121 w 6246"/>
                <a:gd name="connsiteY6" fmla="*/ 11056 h 18738"/>
                <a:gd name="connsiteX7" fmla="*/ 6121 w 6246"/>
                <a:gd name="connsiteY7" fmla="*/ 17114 h 18738"/>
                <a:gd name="connsiteX8" fmla="*/ 5559 w 6246"/>
                <a:gd name="connsiteY8" fmla="*/ 20175 h 18738"/>
                <a:gd name="connsiteX9" fmla="*/ 3310 w 6246"/>
                <a:gd name="connsiteY9" fmla="*/ 21362 h 18738"/>
                <a:gd name="connsiteX10" fmla="*/ 3123 w 6246"/>
                <a:gd name="connsiteY10" fmla="*/ 18613 h 18738"/>
                <a:gd name="connsiteX11" fmla="*/ 0 w 6246"/>
                <a:gd name="connsiteY11" fmla="*/ 12804 h 18738"/>
                <a:gd name="connsiteX12" fmla="*/ 2061 w 6246"/>
                <a:gd name="connsiteY12" fmla="*/ 587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46" h="18738">
                  <a:moveTo>
                    <a:pt x="2061" y="5871"/>
                  </a:moveTo>
                  <a:cubicBezTo>
                    <a:pt x="2061" y="5559"/>
                    <a:pt x="2124" y="5309"/>
                    <a:pt x="2124" y="4997"/>
                  </a:cubicBezTo>
                  <a:cubicBezTo>
                    <a:pt x="2811" y="3373"/>
                    <a:pt x="3498" y="1749"/>
                    <a:pt x="4185" y="125"/>
                  </a:cubicBezTo>
                  <a:cubicBezTo>
                    <a:pt x="4435" y="62"/>
                    <a:pt x="4622" y="0"/>
                    <a:pt x="4872" y="0"/>
                  </a:cubicBezTo>
                  <a:cubicBezTo>
                    <a:pt x="5622" y="250"/>
                    <a:pt x="5996" y="749"/>
                    <a:pt x="6184" y="1437"/>
                  </a:cubicBezTo>
                  <a:cubicBezTo>
                    <a:pt x="6558" y="2873"/>
                    <a:pt x="5871" y="4372"/>
                    <a:pt x="6371" y="5809"/>
                  </a:cubicBezTo>
                  <a:cubicBezTo>
                    <a:pt x="6746" y="7558"/>
                    <a:pt x="6746" y="9307"/>
                    <a:pt x="7121" y="11056"/>
                  </a:cubicBezTo>
                  <a:cubicBezTo>
                    <a:pt x="6996" y="13117"/>
                    <a:pt x="6371" y="15053"/>
                    <a:pt x="6121" y="17114"/>
                  </a:cubicBezTo>
                  <a:cubicBezTo>
                    <a:pt x="5309" y="18051"/>
                    <a:pt x="5934" y="19175"/>
                    <a:pt x="5559" y="20175"/>
                  </a:cubicBezTo>
                  <a:cubicBezTo>
                    <a:pt x="4997" y="20924"/>
                    <a:pt x="4435" y="21986"/>
                    <a:pt x="3310" y="21362"/>
                  </a:cubicBezTo>
                  <a:cubicBezTo>
                    <a:pt x="1999" y="20674"/>
                    <a:pt x="2374" y="19613"/>
                    <a:pt x="3123" y="18613"/>
                  </a:cubicBezTo>
                  <a:cubicBezTo>
                    <a:pt x="1811" y="16802"/>
                    <a:pt x="6371" y="12430"/>
                    <a:pt x="0" y="12804"/>
                  </a:cubicBezTo>
                  <a:cubicBezTo>
                    <a:pt x="687" y="10493"/>
                    <a:pt x="1374" y="8182"/>
                    <a:pt x="2061" y="5871"/>
                  </a:cubicBezTo>
                  <a:close/>
                </a:path>
              </a:pathLst>
            </a:custGeom>
            <a:grpFill/>
            <a:ln w="6246" cap="flat">
              <a:noFill/>
              <a:prstDash val="solid"/>
              <a:miter/>
            </a:ln>
          </p:spPr>
          <p:txBody>
            <a:bodyPr rtlCol="0" anchor="ctr"/>
            <a:lstStyle/>
            <a:p>
              <a:endParaRPr lang="fr-FR" sz="2400"/>
            </a:p>
          </p:txBody>
        </p:sp>
        <p:sp>
          <p:nvSpPr>
            <p:cNvPr id="412" name="Freeform: Shape 411">
              <a:extLst>
                <a:ext uri="{FF2B5EF4-FFF2-40B4-BE49-F238E27FC236}">
                  <a16:creationId xmlns:a16="http://schemas.microsoft.com/office/drawing/2014/main" id="{A3D7C78D-7BC4-473C-B921-5153BD7032C4}"/>
                </a:ext>
              </a:extLst>
            </p:cNvPr>
            <p:cNvSpPr/>
            <p:nvPr/>
          </p:nvSpPr>
          <p:spPr>
            <a:xfrm>
              <a:off x="1108769" y="500496"/>
              <a:ext cx="6246" cy="6246"/>
            </a:xfrm>
            <a:custGeom>
              <a:avLst/>
              <a:gdLst>
                <a:gd name="connsiteX0" fmla="*/ 1124 w 0"/>
                <a:gd name="connsiteY0" fmla="*/ 0 h 0"/>
                <a:gd name="connsiteX1" fmla="*/ 2249 w 0"/>
                <a:gd name="connsiteY1" fmla="*/ 2061 h 0"/>
                <a:gd name="connsiteX2" fmla="*/ 2249 w 0"/>
                <a:gd name="connsiteY2" fmla="*/ 3935 h 0"/>
                <a:gd name="connsiteX3" fmla="*/ 2124 w 0"/>
                <a:gd name="connsiteY3" fmla="*/ 3873 h 0"/>
                <a:gd name="connsiteX4" fmla="*/ 0 w 0"/>
                <a:gd name="connsiteY4" fmla="*/ 62 h 0"/>
                <a:gd name="connsiteX5" fmla="*/ 1124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124" y="0"/>
                  </a:moveTo>
                  <a:cubicBezTo>
                    <a:pt x="1499" y="687"/>
                    <a:pt x="1874" y="1374"/>
                    <a:pt x="2249" y="2061"/>
                  </a:cubicBezTo>
                  <a:cubicBezTo>
                    <a:pt x="2873" y="2686"/>
                    <a:pt x="2873" y="3310"/>
                    <a:pt x="2249" y="3935"/>
                  </a:cubicBezTo>
                  <a:lnTo>
                    <a:pt x="2124" y="3873"/>
                  </a:lnTo>
                  <a:cubicBezTo>
                    <a:pt x="-687" y="3560"/>
                    <a:pt x="187" y="1562"/>
                    <a:pt x="0" y="62"/>
                  </a:cubicBezTo>
                  <a:cubicBezTo>
                    <a:pt x="437" y="62"/>
                    <a:pt x="812" y="62"/>
                    <a:pt x="1124" y="0"/>
                  </a:cubicBezTo>
                  <a:close/>
                </a:path>
              </a:pathLst>
            </a:custGeom>
            <a:grpFill/>
            <a:ln w="6246" cap="flat">
              <a:noFill/>
              <a:prstDash val="solid"/>
              <a:miter/>
            </a:ln>
          </p:spPr>
          <p:txBody>
            <a:bodyPr rtlCol="0" anchor="ctr"/>
            <a:lstStyle/>
            <a:p>
              <a:endParaRPr lang="fr-FR" sz="2400"/>
            </a:p>
          </p:txBody>
        </p:sp>
        <p:sp>
          <p:nvSpPr>
            <p:cNvPr id="413" name="Freeform: Shape 412">
              <a:extLst>
                <a:ext uri="{FF2B5EF4-FFF2-40B4-BE49-F238E27FC236}">
                  <a16:creationId xmlns:a16="http://schemas.microsoft.com/office/drawing/2014/main" id="{0380190B-B84B-4B43-AA15-BC5CC132D1D3}"/>
                </a:ext>
              </a:extLst>
            </p:cNvPr>
            <p:cNvSpPr/>
            <p:nvPr/>
          </p:nvSpPr>
          <p:spPr>
            <a:xfrm>
              <a:off x="1099275" y="561179"/>
              <a:ext cx="6246" cy="6246"/>
            </a:xfrm>
            <a:custGeom>
              <a:avLst/>
              <a:gdLst>
                <a:gd name="connsiteX0" fmla="*/ 2124 w 0"/>
                <a:gd name="connsiteY0" fmla="*/ 279 h 6246"/>
                <a:gd name="connsiteX1" fmla="*/ 1062 w 0"/>
                <a:gd name="connsiteY1" fmla="*/ 7025 h 6246"/>
                <a:gd name="connsiteX2" fmla="*/ 0 w 0"/>
                <a:gd name="connsiteY2" fmla="*/ 3152 h 6246"/>
                <a:gd name="connsiteX3" fmla="*/ 874 w 0"/>
                <a:gd name="connsiteY3" fmla="*/ 154 h 6246"/>
                <a:gd name="connsiteX4" fmla="*/ 2124 w 0"/>
                <a:gd name="connsiteY4" fmla="*/ 27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279"/>
                  </a:moveTo>
                  <a:cubicBezTo>
                    <a:pt x="2124" y="2590"/>
                    <a:pt x="3435" y="5026"/>
                    <a:pt x="1062" y="7025"/>
                  </a:cubicBezTo>
                  <a:cubicBezTo>
                    <a:pt x="1187" y="5651"/>
                    <a:pt x="687" y="4339"/>
                    <a:pt x="0" y="3152"/>
                  </a:cubicBezTo>
                  <a:cubicBezTo>
                    <a:pt x="999" y="2340"/>
                    <a:pt x="187" y="1029"/>
                    <a:pt x="874" y="154"/>
                  </a:cubicBezTo>
                  <a:cubicBezTo>
                    <a:pt x="1312" y="-96"/>
                    <a:pt x="1686" y="-33"/>
                    <a:pt x="2124" y="279"/>
                  </a:cubicBezTo>
                  <a:close/>
                </a:path>
              </a:pathLst>
            </a:custGeom>
            <a:grpFill/>
            <a:ln w="6246" cap="flat">
              <a:noFill/>
              <a:prstDash val="solid"/>
              <a:miter/>
            </a:ln>
          </p:spPr>
          <p:txBody>
            <a:bodyPr rtlCol="0" anchor="ctr"/>
            <a:lstStyle/>
            <a:p>
              <a:endParaRPr lang="fr-FR" sz="2400"/>
            </a:p>
          </p:txBody>
        </p:sp>
        <p:sp>
          <p:nvSpPr>
            <p:cNvPr id="414" name="Freeform: Shape 413">
              <a:extLst>
                <a:ext uri="{FF2B5EF4-FFF2-40B4-BE49-F238E27FC236}">
                  <a16:creationId xmlns:a16="http://schemas.microsoft.com/office/drawing/2014/main" id="{B5CA0853-F509-4DD1-8B5B-8B1F482FCFEE}"/>
                </a:ext>
              </a:extLst>
            </p:cNvPr>
            <p:cNvSpPr/>
            <p:nvPr/>
          </p:nvSpPr>
          <p:spPr>
            <a:xfrm>
              <a:off x="1099654" y="569203"/>
              <a:ext cx="6246" cy="6246"/>
            </a:xfrm>
            <a:custGeom>
              <a:avLst/>
              <a:gdLst>
                <a:gd name="connsiteX0" fmla="*/ 683 w 0"/>
                <a:gd name="connsiteY0" fmla="*/ 0 h 0"/>
                <a:gd name="connsiteX1" fmla="*/ 683 w 0"/>
                <a:gd name="connsiteY1" fmla="*/ 4809 h 0"/>
                <a:gd name="connsiteX2" fmla="*/ 683 w 0"/>
                <a:gd name="connsiteY2" fmla="*/ 0 h 0"/>
              </a:gdLst>
              <a:ahLst/>
              <a:cxnLst>
                <a:cxn ang="0">
                  <a:pos x="connsiteX0" y="connsiteY0"/>
                </a:cxn>
                <a:cxn ang="0">
                  <a:pos x="connsiteX1" y="connsiteY1"/>
                </a:cxn>
                <a:cxn ang="0">
                  <a:pos x="connsiteX2" y="connsiteY2"/>
                </a:cxn>
              </a:cxnLst>
              <a:rect l="l" t="t" r="r" b="b"/>
              <a:pathLst>
                <a:path>
                  <a:moveTo>
                    <a:pt x="683" y="0"/>
                  </a:moveTo>
                  <a:cubicBezTo>
                    <a:pt x="1432" y="1624"/>
                    <a:pt x="2619" y="3248"/>
                    <a:pt x="683" y="4809"/>
                  </a:cubicBezTo>
                  <a:cubicBezTo>
                    <a:pt x="1308" y="3186"/>
                    <a:pt x="-1128" y="1624"/>
                    <a:pt x="683" y="0"/>
                  </a:cubicBezTo>
                  <a:close/>
                </a:path>
              </a:pathLst>
            </a:custGeom>
            <a:grpFill/>
            <a:ln w="6246" cap="flat">
              <a:noFill/>
              <a:prstDash val="solid"/>
              <a:miter/>
            </a:ln>
          </p:spPr>
          <p:txBody>
            <a:bodyPr rtlCol="0" anchor="ctr"/>
            <a:lstStyle/>
            <a:p>
              <a:endParaRPr lang="fr-FR" sz="2400"/>
            </a:p>
          </p:txBody>
        </p:sp>
        <p:sp>
          <p:nvSpPr>
            <p:cNvPr id="415" name="Freeform: Shape 414">
              <a:extLst>
                <a:ext uri="{FF2B5EF4-FFF2-40B4-BE49-F238E27FC236}">
                  <a16:creationId xmlns:a16="http://schemas.microsoft.com/office/drawing/2014/main" id="{39082EED-BE2A-4796-BD5C-1E581F3199AB}"/>
                </a:ext>
              </a:extLst>
            </p:cNvPr>
            <p:cNvSpPr/>
            <p:nvPr/>
          </p:nvSpPr>
          <p:spPr>
            <a:xfrm>
              <a:off x="1099220" y="558585"/>
              <a:ext cx="6246" cy="6246"/>
            </a:xfrm>
            <a:custGeom>
              <a:avLst/>
              <a:gdLst>
                <a:gd name="connsiteX0" fmla="*/ 1117 w 0"/>
                <a:gd name="connsiteY0" fmla="*/ 2873 h 0"/>
                <a:gd name="connsiteX1" fmla="*/ 55 w 0"/>
                <a:gd name="connsiteY1" fmla="*/ 5746 h 0"/>
                <a:gd name="connsiteX2" fmla="*/ 1117 w 0"/>
                <a:gd name="connsiteY2" fmla="*/ 0 h 0"/>
                <a:gd name="connsiteX3" fmla="*/ 1117 w 0"/>
                <a:gd name="connsiteY3" fmla="*/ 937 h 0"/>
                <a:gd name="connsiteX4" fmla="*/ 1117 w 0"/>
                <a:gd name="connsiteY4" fmla="*/ 2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117" y="2873"/>
                  </a:moveTo>
                  <a:cubicBezTo>
                    <a:pt x="1117" y="3935"/>
                    <a:pt x="1242" y="5059"/>
                    <a:pt x="55" y="5746"/>
                  </a:cubicBezTo>
                  <a:cubicBezTo>
                    <a:pt x="367" y="3810"/>
                    <a:pt x="-757" y="1686"/>
                    <a:pt x="1117" y="0"/>
                  </a:cubicBezTo>
                  <a:cubicBezTo>
                    <a:pt x="1117" y="312"/>
                    <a:pt x="1117" y="625"/>
                    <a:pt x="1117" y="937"/>
                  </a:cubicBezTo>
                  <a:cubicBezTo>
                    <a:pt x="1741" y="1562"/>
                    <a:pt x="1679" y="2186"/>
                    <a:pt x="1117" y="2873"/>
                  </a:cubicBezTo>
                  <a:close/>
                </a:path>
              </a:pathLst>
            </a:custGeom>
            <a:grpFill/>
            <a:ln w="6246" cap="flat">
              <a:noFill/>
              <a:prstDash val="solid"/>
              <a:miter/>
            </a:ln>
          </p:spPr>
          <p:txBody>
            <a:bodyPr rtlCol="0" anchor="ctr"/>
            <a:lstStyle/>
            <a:p>
              <a:endParaRPr lang="fr-FR" sz="2400"/>
            </a:p>
          </p:txBody>
        </p:sp>
        <p:sp>
          <p:nvSpPr>
            <p:cNvPr id="416" name="Freeform: Shape 415">
              <a:extLst>
                <a:ext uri="{FF2B5EF4-FFF2-40B4-BE49-F238E27FC236}">
                  <a16:creationId xmlns:a16="http://schemas.microsoft.com/office/drawing/2014/main" id="{E40048F0-DD18-4799-83CB-B6D673A79145}"/>
                </a:ext>
              </a:extLst>
            </p:cNvPr>
            <p:cNvSpPr/>
            <p:nvPr/>
          </p:nvSpPr>
          <p:spPr>
            <a:xfrm>
              <a:off x="1122085" y="605730"/>
              <a:ext cx="49969" cy="37476"/>
            </a:xfrm>
            <a:custGeom>
              <a:avLst/>
              <a:gdLst>
                <a:gd name="connsiteX0" fmla="*/ 6047 w 49968"/>
                <a:gd name="connsiteY0" fmla="*/ 2136 h 37476"/>
                <a:gd name="connsiteX1" fmla="*/ 49145 w 49968"/>
                <a:gd name="connsiteY1" fmla="*/ 32742 h 37476"/>
                <a:gd name="connsiteX2" fmla="*/ 51206 w 49968"/>
                <a:gd name="connsiteY2" fmla="*/ 37989 h 37476"/>
                <a:gd name="connsiteX3" fmla="*/ 23161 w 49968"/>
                <a:gd name="connsiteY3" fmla="*/ 21874 h 37476"/>
                <a:gd name="connsiteX4" fmla="*/ 29594 w 49968"/>
                <a:gd name="connsiteY4" fmla="*/ 28307 h 37476"/>
                <a:gd name="connsiteX5" fmla="*/ 7796 w 49968"/>
                <a:gd name="connsiteY5" fmla="*/ 12005 h 37476"/>
                <a:gd name="connsiteX6" fmla="*/ 3923 w 49968"/>
                <a:gd name="connsiteY6" fmla="*/ 8945 h 37476"/>
                <a:gd name="connsiteX7" fmla="*/ 738 w 49968"/>
                <a:gd name="connsiteY7" fmla="*/ 3885 h 37476"/>
                <a:gd name="connsiteX8" fmla="*/ 738 w 49968"/>
                <a:gd name="connsiteY8" fmla="*/ 450 h 37476"/>
                <a:gd name="connsiteX9" fmla="*/ 6047 w 49968"/>
                <a:gd name="connsiteY9" fmla="*/ 2136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968" h="37476">
                  <a:moveTo>
                    <a:pt x="6047" y="2136"/>
                  </a:moveTo>
                  <a:cubicBezTo>
                    <a:pt x="18039" y="15003"/>
                    <a:pt x="33342" y="24122"/>
                    <a:pt x="49145" y="32742"/>
                  </a:cubicBezTo>
                  <a:cubicBezTo>
                    <a:pt x="51268" y="33866"/>
                    <a:pt x="51268" y="33866"/>
                    <a:pt x="51206" y="37989"/>
                  </a:cubicBezTo>
                  <a:cubicBezTo>
                    <a:pt x="41087" y="33492"/>
                    <a:pt x="32592" y="27058"/>
                    <a:pt x="23161" y="21874"/>
                  </a:cubicBezTo>
                  <a:cubicBezTo>
                    <a:pt x="24535" y="24747"/>
                    <a:pt x="28345" y="25434"/>
                    <a:pt x="29594" y="28307"/>
                  </a:cubicBezTo>
                  <a:cubicBezTo>
                    <a:pt x="21662" y="23560"/>
                    <a:pt x="13042" y="19625"/>
                    <a:pt x="7796" y="12005"/>
                  </a:cubicBezTo>
                  <a:cubicBezTo>
                    <a:pt x="6796" y="10568"/>
                    <a:pt x="5547" y="9632"/>
                    <a:pt x="3923" y="8945"/>
                  </a:cubicBezTo>
                  <a:cubicBezTo>
                    <a:pt x="2237" y="7570"/>
                    <a:pt x="1862" y="5509"/>
                    <a:pt x="738" y="3885"/>
                  </a:cubicBezTo>
                  <a:cubicBezTo>
                    <a:pt x="238" y="2698"/>
                    <a:pt x="-637" y="1262"/>
                    <a:pt x="738" y="450"/>
                  </a:cubicBezTo>
                  <a:cubicBezTo>
                    <a:pt x="3049" y="-1049"/>
                    <a:pt x="4173" y="1637"/>
                    <a:pt x="6047" y="2136"/>
                  </a:cubicBezTo>
                  <a:close/>
                </a:path>
              </a:pathLst>
            </a:custGeom>
            <a:grpFill/>
            <a:ln w="6246" cap="flat">
              <a:noFill/>
              <a:prstDash val="solid"/>
              <a:miter/>
            </a:ln>
          </p:spPr>
          <p:txBody>
            <a:bodyPr rtlCol="0" anchor="ctr"/>
            <a:lstStyle/>
            <a:p>
              <a:endParaRPr lang="fr-FR" sz="2400"/>
            </a:p>
          </p:txBody>
        </p:sp>
        <p:sp>
          <p:nvSpPr>
            <p:cNvPr id="417" name="Freeform: Shape 416">
              <a:extLst>
                <a:ext uri="{FF2B5EF4-FFF2-40B4-BE49-F238E27FC236}">
                  <a16:creationId xmlns:a16="http://schemas.microsoft.com/office/drawing/2014/main" id="{278C9557-D880-4FAE-9DE0-CC1F79195AC9}"/>
                </a:ext>
              </a:extLst>
            </p:cNvPr>
            <p:cNvSpPr/>
            <p:nvPr/>
          </p:nvSpPr>
          <p:spPr>
            <a:xfrm>
              <a:off x="1100587" y="515986"/>
              <a:ext cx="12492" cy="43722"/>
            </a:xfrm>
            <a:custGeom>
              <a:avLst/>
              <a:gdLst>
                <a:gd name="connsiteX0" fmla="*/ 11493 w 12492"/>
                <a:gd name="connsiteY0" fmla="*/ 7745 h 43722"/>
                <a:gd name="connsiteX1" fmla="*/ 11430 w 12492"/>
                <a:gd name="connsiteY1" fmla="*/ 5809 h 43722"/>
                <a:gd name="connsiteX2" fmla="*/ 14678 w 12492"/>
                <a:gd name="connsiteY2" fmla="*/ 0 h 43722"/>
                <a:gd name="connsiteX3" fmla="*/ 13616 w 12492"/>
                <a:gd name="connsiteY3" fmla="*/ 10681 h 43722"/>
                <a:gd name="connsiteX4" fmla="*/ 13616 w 12492"/>
                <a:gd name="connsiteY4" fmla="*/ 17427 h 43722"/>
                <a:gd name="connsiteX5" fmla="*/ 12680 w 12492"/>
                <a:gd name="connsiteY5" fmla="*/ 31230 h 43722"/>
                <a:gd name="connsiteX6" fmla="*/ 12555 w 12492"/>
                <a:gd name="connsiteY6" fmla="*/ 35790 h 43722"/>
                <a:gd name="connsiteX7" fmla="*/ 12555 w 12492"/>
                <a:gd name="connsiteY7" fmla="*/ 36727 h 43722"/>
                <a:gd name="connsiteX8" fmla="*/ 7995 w 12492"/>
                <a:gd name="connsiteY8" fmla="*/ 44847 h 43722"/>
                <a:gd name="connsiteX9" fmla="*/ 5247 w 12492"/>
                <a:gd name="connsiteY9" fmla="*/ 45409 h 43722"/>
                <a:gd name="connsiteX10" fmla="*/ 1936 w 12492"/>
                <a:gd name="connsiteY10" fmla="*/ 40599 h 43722"/>
                <a:gd name="connsiteX11" fmla="*/ 1936 w 12492"/>
                <a:gd name="connsiteY11" fmla="*/ 38663 h 43722"/>
                <a:gd name="connsiteX12" fmla="*/ 5622 w 12492"/>
                <a:gd name="connsiteY12" fmla="*/ 36415 h 43722"/>
                <a:gd name="connsiteX13" fmla="*/ 1874 w 12492"/>
                <a:gd name="connsiteY13" fmla="*/ 36727 h 43722"/>
                <a:gd name="connsiteX14" fmla="*/ 0 w 12492"/>
                <a:gd name="connsiteY14" fmla="*/ 23173 h 43722"/>
                <a:gd name="connsiteX15" fmla="*/ 2998 w 12492"/>
                <a:gd name="connsiteY15" fmla="*/ 17364 h 43722"/>
                <a:gd name="connsiteX16" fmla="*/ 2998 w 12492"/>
                <a:gd name="connsiteY16" fmla="*/ 16427 h 43722"/>
                <a:gd name="connsiteX17" fmla="*/ 5372 w 12492"/>
                <a:gd name="connsiteY17" fmla="*/ 16052 h 43722"/>
                <a:gd name="connsiteX18" fmla="*/ 6434 w 12492"/>
                <a:gd name="connsiteY18" fmla="*/ 14991 h 43722"/>
                <a:gd name="connsiteX19" fmla="*/ 8745 w 12492"/>
                <a:gd name="connsiteY19" fmla="*/ 15365 h 43722"/>
                <a:gd name="connsiteX20" fmla="*/ 9432 w 12492"/>
                <a:gd name="connsiteY20" fmla="*/ 19113 h 43722"/>
                <a:gd name="connsiteX21" fmla="*/ 9432 w 12492"/>
                <a:gd name="connsiteY21" fmla="*/ 22049 h 43722"/>
                <a:gd name="connsiteX22" fmla="*/ 9432 w 12492"/>
                <a:gd name="connsiteY22" fmla="*/ 27733 h 43722"/>
                <a:gd name="connsiteX23" fmla="*/ 9432 w 12492"/>
                <a:gd name="connsiteY23" fmla="*/ 22923 h 43722"/>
                <a:gd name="connsiteX24" fmla="*/ 9432 w 12492"/>
                <a:gd name="connsiteY24" fmla="*/ 20674 h 43722"/>
                <a:gd name="connsiteX25" fmla="*/ 11493 w 12492"/>
                <a:gd name="connsiteY25" fmla="*/ 7745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92" h="43722">
                  <a:moveTo>
                    <a:pt x="11493" y="7745"/>
                  </a:moveTo>
                  <a:cubicBezTo>
                    <a:pt x="11555" y="7121"/>
                    <a:pt x="10306" y="6433"/>
                    <a:pt x="11430" y="5809"/>
                  </a:cubicBezTo>
                  <a:cubicBezTo>
                    <a:pt x="13242" y="4185"/>
                    <a:pt x="9994" y="312"/>
                    <a:pt x="14678" y="0"/>
                  </a:cubicBezTo>
                  <a:cubicBezTo>
                    <a:pt x="13929" y="3498"/>
                    <a:pt x="13304" y="7058"/>
                    <a:pt x="13616" y="10681"/>
                  </a:cubicBezTo>
                  <a:cubicBezTo>
                    <a:pt x="13616" y="12929"/>
                    <a:pt x="13616" y="15178"/>
                    <a:pt x="13616" y="17427"/>
                  </a:cubicBezTo>
                  <a:cubicBezTo>
                    <a:pt x="12305" y="21986"/>
                    <a:pt x="12367" y="26608"/>
                    <a:pt x="12680" y="31230"/>
                  </a:cubicBezTo>
                  <a:cubicBezTo>
                    <a:pt x="12804" y="32792"/>
                    <a:pt x="13554" y="34291"/>
                    <a:pt x="12555" y="35790"/>
                  </a:cubicBezTo>
                  <a:cubicBezTo>
                    <a:pt x="12555" y="36102"/>
                    <a:pt x="12555" y="36415"/>
                    <a:pt x="12555" y="36727"/>
                  </a:cubicBezTo>
                  <a:cubicBezTo>
                    <a:pt x="10119" y="38975"/>
                    <a:pt x="7308" y="40912"/>
                    <a:pt x="7995" y="44847"/>
                  </a:cubicBezTo>
                  <a:cubicBezTo>
                    <a:pt x="8307" y="46721"/>
                    <a:pt x="6371" y="46721"/>
                    <a:pt x="5247" y="45409"/>
                  </a:cubicBezTo>
                  <a:cubicBezTo>
                    <a:pt x="3998" y="43910"/>
                    <a:pt x="2998" y="42223"/>
                    <a:pt x="1936" y="40599"/>
                  </a:cubicBezTo>
                  <a:cubicBezTo>
                    <a:pt x="1936" y="39975"/>
                    <a:pt x="1936" y="39288"/>
                    <a:pt x="1936" y="38663"/>
                  </a:cubicBezTo>
                  <a:cubicBezTo>
                    <a:pt x="2498" y="37102"/>
                    <a:pt x="4809" y="37851"/>
                    <a:pt x="5622" y="36415"/>
                  </a:cubicBezTo>
                  <a:cubicBezTo>
                    <a:pt x="4310" y="36727"/>
                    <a:pt x="3186" y="37851"/>
                    <a:pt x="1874" y="36727"/>
                  </a:cubicBezTo>
                  <a:cubicBezTo>
                    <a:pt x="812" y="32230"/>
                    <a:pt x="2249" y="27483"/>
                    <a:pt x="0" y="23173"/>
                  </a:cubicBezTo>
                  <a:cubicBezTo>
                    <a:pt x="3061" y="22111"/>
                    <a:pt x="3435" y="19925"/>
                    <a:pt x="2998" y="17364"/>
                  </a:cubicBezTo>
                  <a:cubicBezTo>
                    <a:pt x="2998" y="17052"/>
                    <a:pt x="2998" y="16739"/>
                    <a:pt x="2998" y="16427"/>
                  </a:cubicBezTo>
                  <a:cubicBezTo>
                    <a:pt x="3498" y="14616"/>
                    <a:pt x="5122" y="19175"/>
                    <a:pt x="5372" y="16052"/>
                  </a:cubicBezTo>
                  <a:cubicBezTo>
                    <a:pt x="5622" y="15615"/>
                    <a:pt x="5934" y="15303"/>
                    <a:pt x="6434" y="14991"/>
                  </a:cubicBezTo>
                  <a:cubicBezTo>
                    <a:pt x="7308" y="14741"/>
                    <a:pt x="8057" y="14866"/>
                    <a:pt x="8745" y="15365"/>
                  </a:cubicBezTo>
                  <a:cubicBezTo>
                    <a:pt x="9619" y="16490"/>
                    <a:pt x="9369" y="17864"/>
                    <a:pt x="9432" y="19113"/>
                  </a:cubicBezTo>
                  <a:cubicBezTo>
                    <a:pt x="9432" y="20112"/>
                    <a:pt x="9432" y="21049"/>
                    <a:pt x="9432" y="22049"/>
                  </a:cubicBezTo>
                  <a:cubicBezTo>
                    <a:pt x="9432" y="23922"/>
                    <a:pt x="9432" y="25796"/>
                    <a:pt x="9432" y="27733"/>
                  </a:cubicBezTo>
                  <a:cubicBezTo>
                    <a:pt x="9432" y="26109"/>
                    <a:pt x="9432" y="24547"/>
                    <a:pt x="9432" y="22923"/>
                  </a:cubicBezTo>
                  <a:cubicBezTo>
                    <a:pt x="9432" y="22174"/>
                    <a:pt x="9432" y="21424"/>
                    <a:pt x="9432" y="20674"/>
                  </a:cubicBezTo>
                  <a:cubicBezTo>
                    <a:pt x="9619" y="16365"/>
                    <a:pt x="9369" y="11868"/>
                    <a:pt x="11493" y="7745"/>
                  </a:cubicBezTo>
                  <a:close/>
                </a:path>
              </a:pathLst>
            </a:custGeom>
            <a:grpFill/>
            <a:ln w="6246" cap="flat">
              <a:noFill/>
              <a:prstDash val="solid"/>
              <a:miter/>
            </a:ln>
          </p:spPr>
          <p:txBody>
            <a:bodyPr rtlCol="0" anchor="ctr"/>
            <a:lstStyle/>
            <a:p>
              <a:endParaRPr lang="fr-FR" sz="2400"/>
            </a:p>
          </p:txBody>
        </p:sp>
        <p:sp>
          <p:nvSpPr>
            <p:cNvPr id="418" name="Freeform: Shape 417">
              <a:extLst>
                <a:ext uri="{FF2B5EF4-FFF2-40B4-BE49-F238E27FC236}">
                  <a16:creationId xmlns:a16="http://schemas.microsoft.com/office/drawing/2014/main" id="{FFA24DC6-E822-4731-A598-749BC0D78CF7}"/>
                </a:ext>
              </a:extLst>
            </p:cNvPr>
            <p:cNvSpPr/>
            <p:nvPr/>
          </p:nvSpPr>
          <p:spPr>
            <a:xfrm>
              <a:off x="1112520" y="561458"/>
              <a:ext cx="6246" cy="24984"/>
            </a:xfrm>
            <a:custGeom>
              <a:avLst/>
              <a:gdLst>
                <a:gd name="connsiteX0" fmla="*/ 1683 w 0"/>
                <a:gd name="connsiteY0" fmla="*/ 0 h 24984"/>
                <a:gd name="connsiteX1" fmla="*/ 2745 w 0"/>
                <a:gd name="connsiteY1" fmla="*/ 4560 h 24984"/>
                <a:gd name="connsiteX2" fmla="*/ 5181 w 0"/>
                <a:gd name="connsiteY2" fmla="*/ 22548 h 24984"/>
                <a:gd name="connsiteX3" fmla="*/ 3494 w 0"/>
                <a:gd name="connsiteY3" fmla="*/ 27108 h 24984"/>
                <a:gd name="connsiteX4" fmla="*/ 1745 w 0"/>
                <a:gd name="connsiteY4" fmla="*/ 25172 h 24984"/>
                <a:gd name="connsiteX5" fmla="*/ 683 w 0"/>
                <a:gd name="connsiteY5" fmla="*/ 17177 h 24984"/>
                <a:gd name="connsiteX6" fmla="*/ 1683 w 0"/>
                <a:gd name="connsiteY6" fmla="*/ 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24984">
                  <a:moveTo>
                    <a:pt x="1683" y="0"/>
                  </a:moveTo>
                  <a:cubicBezTo>
                    <a:pt x="3244" y="1312"/>
                    <a:pt x="2745" y="2998"/>
                    <a:pt x="2745" y="4560"/>
                  </a:cubicBezTo>
                  <a:cubicBezTo>
                    <a:pt x="2807" y="10618"/>
                    <a:pt x="2120" y="16802"/>
                    <a:pt x="5181" y="22548"/>
                  </a:cubicBezTo>
                  <a:cubicBezTo>
                    <a:pt x="6305" y="24672"/>
                    <a:pt x="4931" y="26109"/>
                    <a:pt x="3494" y="27108"/>
                  </a:cubicBezTo>
                  <a:cubicBezTo>
                    <a:pt x="2745" y="27608"/>
                    <a:pt x="2245" y="25921"/>
                    <a:pt x="1745" y="25172"/>
                  </a:cubicBezTo>
                  <a:cubicBezTo>
                    <a:pt x="4306" y="22298"/>
                    <a:pt x="1058" y="19800"/>
                    <a:pt x="683" y="17177"/>
                  </a:cubicBezTo>
                  <a:cubicBezTo>
                    <a:pt x="-191" y="11243"/>
                    <a:pt x="-566" y="5621"/>
                    <a:pt x="1683" y="0"/>
                  </a:cubicBezTo>
                  <a:close/>
                </a:path>
              </a:pathLst>
            </a:custGeom>
            <a:grpFill/>
            <a:ln w="6246" cap="flat">
              <a:noFill/>
              <a:prstDash val="solid"/>
              <a:miter/>
            </a:ln>
          </p:spPr>
          <p:txBody>
            <a:bodyPr rtlCol="0" anchor="ctr"/>
            <a:lstStyle/>
            <a:p>
              <a:endParaRPr lang="fr-FR" sz="2400"/>
            </a:p>
          </p:txBody>
        </p:sp>
        <p:sp>
          <p:nvSpPr>
            <p:cNvPr id="419" name="Freeform: Shape 418">
              <a:extLst>
                <a:ext uri="{FF2B5EF4-FFF2-40B4-BE49-F238E27FC236}">
                  <a16:creationId xmlns:a16="http://schemas.microsoft.com/office/drawing/2014/main" id="{76D75170-9FD5-4810-85F5-63D4E1F00D61}"/>
                </a:ext>
              </a:extLst>
            </p:cNvPr>
            <p:cNvSpPr/>
            <p:nvPr/>
          </p:nvSpPr>
          <p:spPr>
            <a:xfrm>
              <a:off x="1114453" y="598991"/>
              <a:ext cx="6246" cy="12492"/>
            </a:xfrm>
            <a:custGeom>
              <a:avLst/>
              <a:gdLst>
                <a:gd name="connsiteX0" fmla="*/ 9369 w 6246"/>
                <a:gd name="connsiteY0" fmla="*/ 9812 h 12492"/>
                <a:gd name="connsiteX1" fmla="*/ 11493 w 6246"/>
                <a:gd name="connsiteY1" fmla="*/ 15621 h 12492"/>
                <a:gd name="connsiteX2" fmla="*/ 0 w 6246"/>
                <a:gd name="connsiteY2" fmla="*/ 4316 h 12492"/>
                <a:gd name="connsiteX3" fmla="*/ 2311 w 6246"/>
                <a:gd name="connsiteY3" fmla="*/ 3191 h 12492"/>
                <a:gd name="connsiteX4" fmla="*/ 188 w 6246"/>
                <a:gd name="connsiteY4" fmla="*/ 6 h 12492"/>
                <a:gd name="connsiteX5" fmla="*/ 3998 w 6246"/>
                <a:gd name="connsiteY5" fmla="*/ 2067 h 12492"/>
                <a:gd name="connsiteX6" fmla="*/ 4685 w 6246"/>
                <a:gd name="connsiteY6" fmla="*/ 2254 h 12492"/>
                <a:gd name="connsiteX7" fmla="*/ 7433 w 6246"/>
                <a:gd name="connsiteY7" fmla="*/ 7376 h 12492"/>
                <a:gd name="connsiteX8" fmla="*/ 9369 w 6246"/>
                <a:gd name="connsiteY8" fmla="*/ 981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9369" y="9812"/>
                  </a:moveTo>
                  <a:cubicBezTo>
                    <a:pt x="10806" y="11499"/>
                    <a:pt x="11930" y="13310"/>
                    <a:pt x="11493" y="15621"/>
                  </a:cubicBezTo>
                  <a:cubicBezTo>
                    <a:pt x="7746" y="14497"/>
                    <a:pt x="-62" y="6689"/>
                    <a:pt x="0" y="4316"/>
                  </a:cubicBezTo>
                  <a:cubicBezTo>
                    <a:pt x="63" y="2379"/>
                    <a:pt x="3186" y="6002"/>
                    <a:pt x="2311" y="3191"/>
                  </a:cubicBezTo>
                  <a:cubicBezTo>
                    <a:pt x="1937" y="2067"/>
                    <a:pt x="63" y="1630"/>
                    <a:pt x="188" y="6"/>
                  </a:cubicBezTo>
                  <a:cubicBezTo>
                    <a:pt x="2062" y="-119"/>
                    <a:pt x="2499" y="1817"/>
                    <a:pt x="3998" y="2067"/>
                  </a:cubicBezTo>
                  <a:cubicBezTo>
                    <a:pt x="4248" y="2129"/>
                    <a:pt x="4498" y="2192"/>
                    <a:pt x="4685" y="2254"/>
                  </a:cubicBezTo>
                  <a:cubicBezTo>
                    <a:pt x="6621" y="3504"/>
                    <a:pt x="7621" y="5315"/>
                    <a:pt x="7433" y="7376"/>
                  </a:cubicBezTo>
                  <a:cubicBezTo>
                    <a:pt x="7371" y="8875"/>
                    <a:pt x="8495" y="9188"/>
                    <a:pt x="9369" y="9812"/>
                  </a:cubicBezTo>
                  <a:close/>
                </a:path>
              </a:pathLst>
            </a:custGeom>
            <a:grpFill/>
            <a:ln w="6246" cap="flat">
              <a:noFill/>
              <a:prstDash val="solid"/>
              <a:miter/>
            </a:ln>
          </p:spPr>
          <p:txBody>
            <a:bodyPr rtlCol="0" anchor="ctr"/>
            <a:lstStyle/>
            <a:p>
              <a:endParaRPr lang="fr-FR" sz="2400"/>
            </a:p>
          </p:txBody>
        </p:sp>
        <p:sp>
          <p:nvSpPr>
            <p:cNvPr id="420" name="Freeform: Shape 419">
              <a:extLst>
                <a:ext uri="{FF2B5EF4-FFF2-40B4-BE49-F238E27FC236}">
                  <a16:creationId xmlns:a16="http://schemas.microsoft.com/office/drawing/2014/main" id="{ADB55CBD-3D64-4B14-A462-33DC091DC328}"/>
                </a:ext>
              </a:extLst>
            </p:cNvPr>
            <p:cNvSpPr/>
            <p:nvPr/>
          </p:nvSpPr>
          <p:spPr>
            <a:xfrm>
              <a:off x="1105751" y="576886"/>
              <a:ext cx="6246" cy="12492"/>
            </a:xfrm>
            <a:custGeom>
              <a:avLst/>
              <a:gdLst>
                <a:gd name="connsiteX0" fmla="*/ 7391 w 6246"/>
                <a:gd name="connsiteY0" fmla="*/ 10681 h 12492"/>
                <a:gd name="connsiteX1" fmla="*/ 8453 w 6246"/>
                <a:gd name="connsiteY1" fmla="*/ 14553 h 12492"/>
                <a:gd name="connsiteX2" fmla="*/ 7391 w 6246"/>
                <a:gd name="connsiteY2" fmla="*/ 14553 h 12492"/>
                <a:gd name="connsiteX3" fmla="*/ 458 w 6246"/>
                <a:gd name="connsiteY3" fmla="*/ 3685 h 12492"/>
                <a:gd name="connsiteX4" fmla="*/ 2019 w 6246"/>
                <a:gd name="connsiteY4" fmla="*/ 0 h 12492"/>
                <a:gd name="connsiteX5" fmla="*/ 7391 w 6246"/>
                <a:gd name="connsiteY5" fmla="*/ 1068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2492">
                  <a:moveTo>
                    <a:pt x="7391" y="10681"/>
                  </a:moveTo>
                  <a:cubicBezTo>
                    <a:pt x="7766" y="11992"/>
                    <a:pt x="8140" y="13242"/>
                    <a:pt x="8453" y="14553"/>
                  </a:cubicBezTo>
                  <a:cubicBezTo>
                    <a:pt x="8078" y="14928"/>
                    <a:pt x="7766" y="14991"/>
                    <a:pt x="7391" y="14553"/>
                  </a:cubicBezTo>
                  <a:cubicBezTo>
                    <a:pt x="3144" y="11992"/>
                    <a:pt x="2644" y="7370"/>
                    <a:pt x="458" y="3685"/>
                  </a:cubicBezTo>
                  <a:cubicBezTo>
                    <a:pt x="-167" y="2623"/>
                    <a:pt x="-542" y="562"/>
                    <a:pt x="2019" y="0"/>
                  </a:cubicBezTo>
                  <a:cubicBezTo>
                    <a:pt x="5330" y="2936"/>
                    <a:pt x="5704" y="7058"/>
                    <a:pt x="7391" y="10681"/>
                  </a:cubicBezTo>
                  <a:close/>
                </a:path>
              </a:pathLst>
            </a:custGeom>
            <a:grpFill/>
            <a:ln w="6246" cap="flat">
              <a:noFill/>
              <a:prstDash val="solid"/>
              <a:miter/>
            </a:ln>
          </p:spPr>
          <p:txBody>
            <a:bodyPr rtlCol="0" anchor="ctr"/>
            <a:lstStyle/>
            <a:p>
              <a:endParaRPr lang="fr-FR" sz="2400"/>
            </a:p>
          </p:txBody>
        </p:sp>
        <p:sp>
          <p:nvSpPr>
            <p:cNvPr id="421" name="Freeform: Shape 420">
              <a:extLst>
                <a:ext uri="{FF2B5EF4-FFF2-40B4-BE49-F238E27FC236}">
                  <a16:creationId xmlns:a16="http://schemas.microsoft.com/office/drawing/2014/main" id="{205EA893-B4B3-46A0-93A9-E3E3FA2898F0}"/>
                </a:ext>
              </a:extLst>
            </p:cNvPr>
            <p:cNvSpPr/>
            <p:nvPr/>
          </p:nvSpPr>
          <p:spPr>
            <a:xfrm>
              <a:off x="1107770" y="575355"/>
              <a:ext cx="6246" cy="6246"/>
            </a:xfrm>
            <a:custGeom>
              <a:avLst/>
              <a:gdLst>
                <a:gd name="connsiteX0" fmla="*/ 5372 w 6246"/>
                <a:gd name="connsiteY0" fmla="*/ 12211 h 6246"/>
                <a:gd name="connsiteX1" fmla="*/ 0 w 6246"/>
                <a:gd name="connsiteY1" fmla="*/ 1593 h 6246"/>
                <a:gd name="connsiteX2" fmla="*/ 2186 w 6246"/>
                <a:gd name="connsiteY2" fmla="*/ 1593 h 6246"/>
                <a:gd name="connsiteX3" fmla="*/ 6371 w 6246"/>
                <a:gd name="connsiteY3" fmla="*/ 11274 h 6246"/>
                <a:gd name="connsiteX4" fmla="*/ 5372 w 6246"/>
                <a:gd name="connsiteY4" fmla="*/ 1221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372" y="12211"/>
                  </a:moveTo>
                  <a:cubicBezTo>
                    <a:pt x="2436" y="9151"/>
                    <a:pt x="1749" y="5153"/>
                    <a:pt x="0" y="1593"/>
                  </a:cubicBezTo>
                  <a:cubicBezTo>
                    <a:pt x="749" y="-593"/>
                    <a:pt x="1686" y="-468"/>
                    <a:pt x="2186" y="1593"/>
                  </a:cubicBezTo>
                  <a:cubicBezTo>
                    <a:pt x="3061" y="5028"/>
                    <a:pt x="4809" y="8089"/>
                    <a:pt x="6371" y="11274"/>
                  </a:cubicBezTo>
                  <a:cubicBezTo>
                    <a:pt x="6121" y="11524"/>
                    <a:pt x="5746" y="11899"/>
                    <a:pt x="5372" y="12211"/>
                  </a:cubicBezTo>
                  <a:close/>
                </a:path>
              </a:pathLst>
            </a:custGeom>
            <a:grpFill/>
            <a:ln w="6246" cap="flat">
              <a:noFill/>
              <a:prstDash val="solid"/>
              <a:miter/>
            </a:ln>
          </p:spPr>
          <p:txBody>
            <a:bodyPr rtlCol="0" anchor="ctr"/>
            <a:lstStyle/>
            <a:p>
              <a:endParaRPr lang="fr-FR" sz="2400"/>
            </a:p>
          </p:txBody>
        </p:sp>
        <p:sp>
          <p:nvSpPr>
            <p:cNvPr id="422" name="Freeform: Shape 421">
              <a:extLst>
                <a:ext uri="{FF2B5EF4-FFF2-40B4-BE49-F238E27FC236}">
                  <a16:creationId xmlns:a16="http://schemas.microsoft.com/office/drawing/2014/main" id="{5AC856B6-9322-4942-994D-36720B36ACB7}"/>
                </a:ext>
              </a:extLst>
            </p:cNvPr>
            <p:cNvSpPr/>
            <p:nvPr/>
          </p:nvSpPr>
          <p:spPr>
            <a:xfrm>
              <a:off x="1113141" y="591439"/>
              <a:ext cx="6246" cy="6246"/>
            </a:xfrm>
            <a:custGeom>
              <a:avLst/>
              <a:gdLst>
                <a:gd name="connsiteX0" fmla="*/ 0 w 6246"/>
                <a:gd name="connsiteY0" fmla="*/ 0 h 6246"/>
                <a:gd name="connsiteX1" fmla="*/ 1062 w 6246"/>
                <a:gd name="connsiteY1" fmla="*/ 0 h 6246"/>
                <a:gd name="connsiteX2" fmla="*/ 7495 w 6246"/>
                <a:gd name="connsiteY2" fmla="*/ 7745 h 6246"/>
                <a:gd name="connsiteX3" fmla="*/ 5372 w 6246"/>
                <a:gd name="connsiteY3" fmla="*/ 9681 h 6246"/>
                <a:gd name="connsiteX4" fmla="*/ 5372 w 6246"/>
                <a:gd name="connsiteY4" fmla="*/ 9681 h 6246"/>
                <a:gd name="connsiteX5" fmla="*/ 1499 w 6246"/>
                <a:gd name="connsiteY5" fmla="*/ 4247 h 6246"/>
                <a:gd name="connsiteX6" fmla="*/ 0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0" y="0"/>
                  </a:moveTo>
                  <a:cubicBezTo>
                    <a:pt x="375" y="0"/>
                    <a:pt x="687" y="0"/>
                    <a:pt x="1062" y="0"/>
                  </a:cubicBezTo>
                  <a:cubicBezTo>
                    <a:pt x="3997" y="2061"/>
                    <a:pt x="4934" y="5434"/>
                    <a:pt x="7495" y="7745"/>
                  </a:cubicBezTo>
                  <a:cubicBezTo>
                    <a:pt x="7870" y="9369"/>
                    <a:pt x="7058" y="9931"/>
                    <a:pt x="5372" y="9681"/>
                  </a:cubicBezTo>
                  <a:lnTo>
                    <a:pt x="5372" y="9681"/>
                  </a:lnTo>
                  <a:cubicBezTo>
                    <a:pt x="5309" y="7183"/>
                    <a:pt x="4372" y="4997"/>
                    <a:pt x="1499" y="4247"/>
                  </a:cubicBezTo>
                  <a:cubicBezTo>
                    <a:pt x="-1562" y="3435"/>
                    <a:pt x="1749" y="999"/>
                    <a:pt x="0" y="0"/>
                  </a:cubicBezTo>
                  <a:close/>
                </a:path>
              </a:pathLst>
            </a:custGeom>
            <a:grpFill/>
            <a:ln w="6246" cap="flat">
              <a:noFill/>
              <a:prstDash val="solid"/>
              <a:miter/>
            </a:ln>
          </p:spPr>
          <p:txBody>
            <a:bodyPr rtlCol="0" anchor="ctr"/>
            <a:lstStyle/>
            <a:p>
              <a:endParaRPr lang="fr-FR" sz="2400"/>
            </a:p>
          </p:txBody>
        </p:sp>
        <p:sp>
          <p:nvSpPr>
            <p:cNvPr id="423" name="Freeform: Shape 422">
              <a:extLst>
                <a:ext uri="{FF2B5EF4-FFF2-40B4-BE49-F238E27FC236}">
                  <a16:creationId xmlns:a16="http://schemas.microsoft.com/office/drawing/2014/main" id="{C6F55777-2477-4C74-A1FA-33E52B5035F5}"/>
                </a:ext>
              </a:extLst>
            </p:cNvPr>
            <p:cNvSpPr/>
            <p:nvPr/>
          </p:nvSpPr>
          <p:spPr>
            <a:xfrm>
              <a:off x="1100337" y="556648"/>
              <a:ext cx="6246" cy="6246"/>
            </a:xfrm>
            <a:custGeom>
              <a:avLst/>
              <a:gdLst>
                <a:gd name="connsiteX0" fmla="*/ 0 w 0"/>
                <a:gd name="connsiteY0" fmla="*/ 4809 h 0"/>
                <a:gd name="connsiteX1" fmla="*/ 0 w 0"/>
                <a:gd name="connsiteY1" fmla="*/ 2873 h 0"/>
                <a:gd name="connsiteX2" fmla="*/ 2124 w 0"/>
                <a:gd name="connsiteY2" fmla="*/ 0 h 0"/>
                <a:gd name="connsiteX3" fmla="*/ 1062 w 0"/>
                <a:gd name="connsiteY3" fmla="*/ 4809 h 0"/>
                <a:gd name="connsiteX4" fmla="*/ 500 w 0"/>
                <a:gd name="connsiteY4" fmla="*/ 4809 h 0"/>
                <a:gd name="connsiteX5" fmla="*/ 0 w 0"/>
                <a:gd name="connsiteY5" fmla="*/ 4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4809"/>
                  </a:moveTo>
                  <a:cubicBezTo>
                    <a:pt x="0" y="4185"/>
                    <a:pt x="0" y="3498"/>
                    <a:pt x="0" y="2873"/>
                  </a:cubicBezTo>
                  <a:cubicBezTo>
                    <a:pt x="687" y="1936"/>
                    <a:pt x="1437" y="937"/>
                    <a:pt x="2124" y="0"/>
                  </a:cubicBezTo>
                  <a:cubicBezTo>
                    <a:pt x="2249" y="1686"/>
                    <a:pt x="2061" y="3373"/>
                    <a:pt x="1062" y="4809"/>
                  </a:cubicBezTo>
                  <a:lnTo>
                    <a:pt x="500" y="4809"/>
                  </a:lnTo>
                  <a:lnTo>
                    <a:pt x="0" y="4809"/>
                  </a:lnTo>
                  <a:close/>
                </a:path>
              </a:pathLst>
            </a:custGeom>
            <a:grpFill/>
            <a:ln w="6246" cap="flat">
              <a:noFill/>
              <a:prstDash val="solid"/>
              <a:miter/>
            </a:ln>
          </p:spPr>
          <p:txBody>
            <a:bodyPr rtlCol="0" anchor="ctr"/>
            <a:lstStyle/>
            <a:p>
              <a:endParaRPr lang="fr-FR" sz="2400"/>
            </a:p>
          </p:txBody>
        </p:sp>
        <p:sp>
          <p:nvSpPr>
            <p:cNvPr id="424" name="Freeform: Shape 423">
              <a:extLst>
                <a:ext uri="{FF2B5EF4-FFF2-40B4-BE49-F238E27FC236}">
                  <a16:creationId xmlns:a16="http://schemas.microsoft.com/office/drawing/2014/main" id="{F280E08E-39E0-44B1-9B08-3DFAE80A3FBA}"/>
                </a:ext>
              </a:extLst>
            </p:cNvPr>
            <p:cNvSpPr/>
            <p:nvPr/>
          </p:nvSpPr>
          <p:spPr>
            <a:xfrm>
              <a:off x="1160389" y="431431"/>
              <a:ext cx="87445" cy="131167"/>
            </a:xfrm>
            <a:custGeom>
              <a:avLst/>
              <a:gdLst>
                <a:gd name="connsiteX0" fmla="*/ 77923 w 87444"/>
                <a:gd name="connsiteY0" fmla="*/ 483 h 131167"/>
                <a:gd name="connsiteX1" fmla="*/ 73614 w 87444"/>
                <a:gd name="connsiteY1" fmla="*/ 3356 h 131167"/>
                <a:gd name="connsiteX2" fmla="*/ 58935 w 87444"/>
                <a:gd name="connsiteY2" fmla="*/ 14224 h 131167"/>
                <a:gd name="connsiteX3" fmla="*/ 54938 w 87444"/>
                <a:gd name="connsiteY3" fmla="*/ 17347 h 131167"/>
                <a:gd name="connsiteX4" fmla="*/ 35638 w 87444"/>
                <a:gd name="connsiteY4" fmla="*/ 37397 h 131167"/>
                <a:gd name="connsiteX5" fmla="*/ 33576 w 87444"/>
                <a:gd name="connsiteY5" fmla="*/ 40458 h 131167"/>
                <a:gd name="connsiteX6" fmla="*/ 35575 w 87444"/>
                <a:gd name="connsiteY6" fmla="*/ 37585 h 131167"/>
                <a:gd name="connsiteX7" fmla="*/ 49067 w 87444"/>
                <a:gd name="connsiteY7" fmla="*/ 24031 h 131167"/>
                <a:gd name="connsiteX8" fmla="*/ 61059 w 87444"/>
                <a:gd name="connsiteY8" fmla="*/ 17035 h 131167"/>
                <a:gd name="connsiteX9" fmla="*/ 66431 w 87444"/>
                <a:gd name="connsiteY9" fmla="*/ 13350 h 131167"/>
                <a:gd name="connsiteX10" fmla="*/ 70241 w 87444"/>
                <a:gd name="connsiteY10" fmla="*/ 14474 h 131167"/>
                <a:gd name="connsiteX11" fmla="*/ 70615 w 87444"/>
                <a:gd name="connsiteY11" fmla="*/ 16161 h 131167"/>
                <a:gd name="connsiteX12" fmla="*/ 82108 w 87444"/>
                <a:gd name="connsiteY12" fmla="*/ 11788 h 131167"/>
                <a:gd name="connsiteX13" fmla="*/ 86481 w 87444"/>
                <a:gd name="connsiteY13" fmla="*/ 11101 h 131167"/>
                <a:gd name="connsiteX14" fmla="*/ 90790 w 87444"/>
                <a:gd name="connsiteY14" fmla="*/ 12038 h 131167"/>
                <a:gd name="connsiteX15" fmla="*/ 91852 w 87444"/>
                <a:gd name="connsiteY15" fmla="*/ 12975 h 131167"/>
                <a:gd name="connsiteX16" fmla="*/ 87667 w 87444"/>
                <a:gd name="connsiteY16" fmla="*/ 18722 h 131167"/>
                <a:gd name="connsiteX17" fmla="*/ 77236 w 87444"/>
                <a:gd name="connsiteY17" fmla="*/ 19471 h 131167"/>
                <a:gd name="connsiteX18" fmla="*/ 60060 w 87444"/>
                <a:gd name="connsiteY18" fmla="*/ 32151 h 131167"/>
                <a:gd name="connsiteX19" fmla="*/ 55063 w 87444"/>
                <a:gd name="connsiteY19" fmla="*/ 37647 h 131167"/>
                <a:gd name="connsiteX20" fmla="*/ 54376 w 87444"/>
                <a:gd name="connsiteY20" fmla="*/ 35961 h 131167"/>
                <a:gd name="connsiteX21" fmla="*/ 48817 w 87444"/>
                <a:gd name="connsiteY21" fmla="*/ 42894 h 131167"/>
                <a:gd name="connsiteX22" fmla="*/ 38261 w 87444"/>
                <a:gd name="connsiteY22" fmla="*/ 60695 h 131167"/>
                <a:gd name="connsiteX23" fmla="*/ 35200 w 87444"/>
                <a:gd name="connsiteY23" fmla="*/ 64443 h 131167"/>
                <a:gd name="connsiteX24" fmla="*/ 33451 w 87444"/>
                <a:gd name="connsiteY24" fmla="*/ 63381 h 131167"/>
                <a:gd name="connsiteX25" fmla="*/ 38011 w 87444"/>
                <a:gd name="connsiteY25" fmla="*/ 53137 h 131167"/>
                <a:gd name="connsiteX26" fmla="*/ 28267 w 87444"/>
                <a:gd name="connsiteY26" fmla="*/ 75249 h 131167"/>
                <a:gd name="connsiteX27" fmla="*/ 23583 w 87444"/>
                <a:gd name="connsiteY27" fmla="*/ 75124 h 131167"/>
                <a:gd name="connsiteX28" fmla="*/ 29891 w 87444"/>
                <a:gd name="connsiteY28" fmla="*/ 61132 h 131167"/>
                <a:gd name="connsiteX29" fmla="*/ 29516 w 87444"/>
                <a:gd name="connsiteY29" fmla="*/ 60758 h 131167"/>
                <a:gd name="connsiteX30" fmla="*/ 29704 w 87444"/>
                <a:gd name="connsiteY30" fmla="*/ 61070 h 131167"/>
                <a:gd name="connsiteX31" fmla="*/ 23895 w 87444"/>
                <a:gd name="connsiteY31" fmla="*/ 71189 h 131167"/>
                <a:gd name="connsiteX32" fmla="*/ 22771 w 87444"/>
                <a:gd name="connsiteY32" fmla="*/ 66754 h 131167"/>
                <a:gd name="connsiteX33" fmla="*/ 32952 w 87444"/>
                <a:gd name="connsiteY33" fmla="*/ 46891 h 131167"/>
                <a:gd name="connsiteX34" fmla="*/ 22833 w 87444"/>
                <a:gd name="connsiteY34" fmla="*/ 66254 h 131167"/>
                <a:gd name="connsiteX35" fmla="*/ 22271 w 87444"/>
                <a:gd name="connsiteY35" fmla="*/ 70501 h 131167"/>
                <a:gd name="connsiteX36" fmla="*/ 18523 w 87444"/>
                <a:gd name="connsiteY36" fmla="*/ 80433 h 131167"/>
                <a:gd name="connsiteX37" fmla="*/ 12652 w 87444"/>
                <a:gd name="connsiteY37" fmla="*/ 102606 h 131167"/>
                <a:gd name="connsiteX38" fmla="*/ 8592 w 87444"/>
                <a:gd name="connsiteY38" fmla="*/ 121407 h 131167"/>
                <a:gd name="connsiteX39" fmla="*/ 8030 w 87444"/>
                <a:gd name="connsiteY39" fmla="*/ 128028 h 131167"/>
                <a:gd name="connsiteX40" fmla="*/ 3095 w 87444"/>
                <a:gd name="connsiteY40" fmla="*/ 132587 h 131167"/>
                <a:gd name="connsiteX41" fmla="*/ 1659 w 87444"/>
                <a:gd name="connsiteY41" fmla="*/ 131900 h 131167"/>
                <a:gd name="connsiteX42" fmla="*/ 35 w 87444"/>
                <a:gd name="connsiteY42" fmla="*/ 127715 h 131167"/>
                <a:gd name="connsiteX43" fmla="*/ 972 w 87444"/>
                <a:gd name="connsiteY43" fmla="*/ 125030 h 131167"/>
                <a:gd name="connsiteX44" fmla="*/ 2846 w 87444"/>
                <a:gd name="connsiteY44" fmla="*/ 117347 h 131167"/>
                <a:gd name="connsiteX45" fmla="*/ 5407 w 87444"/>
                <a:gd name="connsiteY45" fmla="*/ 105355 h 131167"/>
                <a:gd name="connsiteX46" fmla="*/ 6156 w 87444"/>
                <a:gd name="connsiteY46" fmla="*/ 104168 h 131167"/>
                <a:gd name="connsiteX47" fmla="*/ 10716 w 87444"/>
                <a:gd name="connsiteY47" fmla="*/ 82244 h 131167"/>
                <a:gd name="connsiteX48" fmla="*/ 12527 w 87444"/>
                <a:gd name="connsiteY48" fmla="*/ 65879 h 131167"/>
                <a:gd name="connsiteX49" fmla="*/ 14901 w 87444"/>
                <a:gd name="connsiteY49" fmla="*/ 61195 h 131167"/>
                <a:gd name="connsiteX50" fmla="*/ 22396 w 87444"/>
                <a:gd name="connsiteY50" fmla="*/ 46704 h 131167"/>
                <a:gd name="connsiteX51" fmla="*/ 48567 w 87444"/>
                <a:gd name="connsiteY51" fmla="*/ 19221 h 131167"/>
                <a:gd name="connsiteX52" fmla="*/ 67180 w 87444"/>
                <a:gd name="connsiteY52" fmla="*/ 5168 h 131167"/>
                <a:gd name="connsiteX53" fmla="*/ 68429 w 87444"/>
                <a:gd name="connsiteY53" fmla="*/ 3169 h 131167"/>
                <a:gd name="connsiteX54" fmla="*/ 77923 w 87444"/>
                <a:gd name="connsiteY54" fmla="*/ 483 h 13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7444" h="131167">
                  <a:moveTo>
                    <a:pt x="77923" y="483"/>
                  </a:moveTo>
                  <a:cubicBezTo>
                    <a:pt x="76487" y="1420"/>
                    <a:pt x="75050" y="2419"/>
                    <a:pt x="73614" y="3356"/>
                  </a:cubicBezTo>
                  <a:cubicBezTo>
                    <a:pt x="69554" y="7916"/>
                    <a:pt x="63682" y="10477"/>
                    <a:pt x="58935" y="14224"/>
                  </a:cubicBezTo>
                  <a:cubicBezTo>
                    <a:pt x="57624" y="15286"/>
                    <a:pt x="56187" y="16223"/>
                    <a:pt x="54938" y="17347"/>
                  </a:cubicBezTo>
                  <a:cubicBezTo>
                    <a:pt x="48692" y="24218"/>
                    <a:pt x="41821" y="30527"/>
                    <a:pt x="35638" y="37397"/>
                  </a:cubicBezTo>
                  <a:cubicBezTo>
                    <a:pt x="34888" y="38397"/>
                    <a:pt x="33889" y="39271"/>
                    <a:pt x="33576" y="40458"/>
                  </a:cubicBezTo>
                  <a:cubicBezTo>
                    <a:pt x="34013" y="39334"/>
                    <a:pt x="34763" y="38459"/>
                    <a:pt x="35575" y="37585"/>
                  </a:cubicBezTo>
                  <a:cubicBezTo>
                    <a:pt x="39697" y="32775"/>
                    <a:pt x="44257" y="28278"/>
                    <a:pt x="49067" y="24031"/>
                  </a:cubicBezTo>
                  <a:cubicBezTo>
                    <a:pt x="54563" y="23781"/>
                    <a:pt x="57186" y="19534"/>
                    <a:pt x="61059" y="17035"/>
                  </a:cubicBezTo>
                  <a:cubicBezTo>
                    <a:pt x="62870" y="15848"/>
                    <a:pt x="64619" y="14537"/>
                    <a:pt x="66431" y="13350"/>
                  </a:cubicBezTo>
                  <a:cubicBezTo>
                    <a:pt x="68304" y="12101"/>
                    <a:pt x="69679" y="12226"/>
                    <a:pt x="70241" y="14474"/>
                  </a:cubicBezTo>
                  <a:cubicBezTo>
                    <a:pt x="69866" y="16161"/>
                    <a:pt x="69866" y="16348"/>
                    <a:pt x="70615" y="16161"/>
                  </a:cubicBezTo>
                  <a:cubicBezTo>
                    <a:pt x="74800" y="15474"/>
                    <a:pt x="78111" y="12913"/>
                    <a:pt x="82108" y="11788"/>
                  </a:cubicBezTo>
                  <a:cubicBezTo>
                    <a:pt x="83545" y="11351"/>
                    <a:pt x="84794" y="10227"/>
                    <a:pt x="86481" y="11101"/>
                  </a:cubicBezTo>
                  <a:cubicBezTo>
                    <a:pt x="86668" y="15911"/>
                    <a:pt x="89291" y="11976"/>
                    <a:pt x="90790" y="12038"/>
                  </a:cubicBezTo>
                  <a:cubicBezTo>
                    <a:pt x="91165" y="12351"/>
                    <a:pt x="91477" y="12663"/>
                    <a:pt x="91852" y="12975"/>
                  </a:cubicBezTo>
                  <a:cubicBezTo>
                    <a:pt x="92664" y="16161"/>
                    <a:pt x="91165" y="18035"/>
                    <a:pt x="87667" y="18722"/>
                  </a:cubicBezTo>
                  <a:cubicBezTo>
                    <a:pt x="84045" y="17410"/>
                    <a:pt x="80609" y="18284"/>
                    <a:pt x="77236" y="19471"/>
                  </a:cubicBezTo>
                  <a:cubicBezTo>
                    <a:pt x="69241" y="21220"/>
                    <a:pt x="63807" y="25717"/>
                    <a:pt x="60060" y="32151"/>
                  </a:cubicBezTo>
                  <a:cubicBezTo>
                    <a:pt x="58998" y="34462"/>
                    <a:pt x="59060" y="37585"/>
                    <a:pt x="55063" y="37647"/>
                  </a:cubicBezTo>
                  <a:cubicBezTo>
                    <a:pt x="53564" y="37023"/>
                    <a:pt x="54126" y="36211"/>
                    <a:pt x="54376" y="35961"/>
                  </a:cubicBezTo>
                  <a:cubicBezTo>
                    <a:pt x="53251" y="38147"/>
                    <a:pt x="51128" y="40583"/>
                    <a:pt x="48817" y="42894"/>
                  </a:cubicBezTo>
                  <a:cubicBezTo>
                    <a:pt x="44382" y="48390"/>
                    <a:pt x="41696" y="54699"/>
                    <a:pt x="38261" y="60695"/>
                  </a:cubicBezTo>
                  <a:cubicBezTo>
                    <a:pt x="37449" y="62069"/>
                    <a:pt x="37137" y="63818"/>
                    <a:pt x="35200" y="64443"/>
                  </a:cubicBezTo>
                  <a:cubicBezTo>
                    <a:pt x="34326" y="64505"/>
                    <a:pt x="33764" y="64068"/>
                    <a:pt x="33451" y="63381"/>
                  </a:cubicBezTo>
                  <a:cubicBezTo>
                    <a:pt x="33639" y="59321"/>
                    <a:pt x="36200" y="56198"/>
                    <a:pt x="38011" y="53137"/>
                  </a:cubicBezTo>
                  <a:cubicBezTo>
                    <a:pt x="32764" y="59508"/>
                    <a:pt x="32639" y="68128"/>
                    <a:pt x="28267" y="75249"/>
                  </a:cubicBezTo>
                  <a:cubicBezTo>
                    <a:pt x="26643" y="76560"/>
                    <a:pt x="25019" y="78621"/>
                    <a:pt x="23583" y="75124"/>
                  </a:cubicBezTo>
                  <a:cubicBezTo>
                    <a:pt x="25456" y="70377"/>
                    <a:pt x="27580" y="65754"/>
                    <a:pt x="29891" y="61132"/>
                  </a:cubicBezTo>
                  <a:cubicBezTo>
                    <a:pt x="30141" y="60508"/>
                    <a:pt x="28829" y="60570"/>
                    <a:pt x="29516" y="60758"/>
                  </a:cubicBezTo>
                  <a:cubicBezTo>
                    <a:pt x="29704" y="60820"/>
                    <a:pt x="29829" y="60945"/>
                    <a:pt x="29704" y="61070"/>
                  </a:cubicBezTo>
                  <a:cubicBezTo>
                    <a:pt x="27268" y="64193"/>
                    <a:pt x="27830" y="68753"/>
                    <a:pt x="23895" y="71189"/>
                  </a:cubicBezTo>
                  <a:cubicBezTo>
                    <a:pt x="21646" y="70127"/>
                    <a:pt x="22396" y="68378"/>
                    <a:pt x="22771" y="66754"/>
                  </a:cubicBezTo>
                  <a:cubicBezTo>
                    <a:pt x="24832" y="59571"/>
                    <a:pt x="29579" y="53575"/>
                    <a:pt x="32952" y="46891"/>
                  </a:cubicBezTo>
                  <a:cubicBezTo>
                    <a:pt x="29579" y="53325"/>
                    <a:pt x="25082" y="59321"/>
                    <a:pt x="22833" y="66254"/>
                  </a:cubicBezTo>
                  <a:cubicBezTo>
                    <a:pt x="22396" y="67628"/>
                    <a:pt x="22333" y="69065"/>
                    <a:pt x="22271" y="70501"/>
                  </a:cubicBezTo>
                  <a:cubicBezTo>
                    <a:pt x="21584" y="73999"/>
                    <a:pt x="20085" y="77247"/>
                    <a:pt x="18523" y="80433"/>
                  </a:cubicBezTo>
                  <a:cubicBezTo>
                    <a:pt x="14901" y="87491"/>
                    <a:pt x="13901" y="95049"/>
                    <a:pt x="12652" y="102606"/>
                  </a:cubicBezTo>
                  <a:cubicBezTo>
                    <a:pt x="8092" y="108290"/>
                    <a:pt x="10216" y="115161"/>
                    <a:pt x="8592" y="121407"/>
                  </a:cubicBezTo>
                  <a:cubicBezTo>
                    <a:pt x="8030" y="123531"/>
                    <a:pt x="8280" y="125842"/>
                    <a:pt x="8030" y="128028"/>
                  </a:cubicBezTo>
                  <a:cubicBezTo>
                    <a:pt x="7718" y="130589"/>
                    <a:pt x="6531" y="132650"/>
                    <a:pt x="3095" y="132587"/>
                  </a:cubicBezTo>
                  <a:cubicBezTo>
                    <a:pt x="2533" y="132462"/>
                    <a:pt x="2096" y="132275"/>
                    <a:pt x="1659" y="131900"/>
                  </a:cubicBezTo>
                  <a:cubicBezTo>
                    <a:pt x="660" y="130651"/>
                    <a:pt x="472" y="129152"/>
                    <a:pt x="35" y="127715"/>
                  </a:cubicBezTo>
                  <a:cubicBezTo>
                    <a:pt x="-90" y="126716"/>
                    <a:pt x="97" y="125779"/>
                    <a:pt x="972" y="125030"/>
                  </a:cubicBezTo>
                  <a:cubicBezTo>
                    <a:pt x="3408" y="122844"/>
                    <a:pt x="3720" y="120595"/>
                    <a:pt x="2846" y="117347"/>
                  </a:cubicBezTo>
                  <a:cubicBezTo>
                    <a:pt x="1721" y="113350"/>
                    <a:pt x="-465" y="108478"/>
                    <a:pt x="5407" y="105355"/>
                  </a:cubicBezTo>
                  <a:cubicBezTo>
                    <a:pt x="5781" y="105167"/>
                    <a:pt x="6094" y="104605"/>
                    <a:pt x="6156" y="104168"/>
                  </a:cubicBezTo>
                  <a:cubicBezTo>
                    <a:pt x="6968" y="96735"/>
                    <a:pt x="10591" y="89864"/>
                    <a:pt x="10716" y="82244"/>
                  </a:cubicBezTo>
                  <a:cubicBezTo>
                    <a:pt x="10841" y="76810"/>
                    <a:pt x="9279" y="71189"/>
                    <a:pt x="12527" y="65879"/>
                  </a:cubicBezTo>
                  <a:cubicBezTo>
                    <a:pt x="13401" y="64505"/>
                    <a:pt x="13901" y="62694"/>
                    <a:pt x="14901" y="61195"/>
                  </a:cubicBezTo>
                  <a:cubicBezTo>
                    <a:pt x="17337" y="56323"/>
                    <a:pt x="20647" y="51826"/>
                    <a:pt x="22396" y="46704"/>
                  </a:cubicBezTo>
                  <a:cubicBezTo>
                    <a:pt x="30953" y="37397"/>
                    <a:pt x="39635" y="28278"/>
                    <a:pt x="48567" y="19221"/>
                  </a:cubicBezTo>
                  <a:cubicBezTo>
                    <a:pt x="54063" y="13662"/>
                    <a:pt x="60997" y="9915"/>
                    <a:pt x="67180" y="5168"/>
                  </a:cubicBezTo>
                  <a:cubicBezTo>
                    <a:pt x="67867" y="4668"/>
                    <a:pt x="69491" y="4543"/>
                    <a:pt x="68429" y="3169"/>
                  </a:cubicBezTo>
                  <a:cubicBezTo>
                    <a:pt x="71303" y="1732"/>
                    <a:pt x="73801" y="-1141"/>
                    <a:pt x="77923" y="483"/>
                  </a:cubicBezTo>
                  <a:close/>
                </a:path>
              </a:pathLst>
            </a:custGeom>
            <a:grpFill/>
            <a:ln w="6246" cap="flat">
              <a:noFill/>
              <a:prstDash val="solid"/>
              <a:miter/>
            </a:ln>
          </p:spPr>
          <p:txBody>
            <a:bodyPr rtlCol="0" anchor="ctr"/>
            <a:lstStyle/>
            <a:p>
              <a:endParaRPr lang="fr-FR" sz="2400"/>
            </a:p>
          </p:txBody>
        </p:sp>
        <p:sp>
          <p:nvSpPr>
            <p:cNvPr id="425" name="Freeform: Shape 424">
              <a:extLst>
                <a:ext uri="{FF2B5EF4-FFF2-40B4-BE49-F238E27FC236}">
                  <a16:creationId xmlns:a16="http://schemas.microsoft.com/office/drawing/2014/main" id="{3DE8E57F-FF7F-489C-9982-A0567284B8EC}"/>
                </a:ext>
              </a:extLst>
            </p:cNvPr>
            <p:cNvSpPr/>
            <p:nvPr/>
          </p:nvSpPr>
          <p:spPr>
            <a:xfrm>
              <a:off x="1152054" y="507025"/>
              <a:ext cx="12492" cy="81199"/>
            </a:xfrm>
            <a:custGeom>
              <a:avLst/>
              <a:gdLst>
                <a:gd name="connsiteX0" fmla="*/ 8120 w 12492"/>
                <a:gd name="connsiteY0" fmla="*/ 154 h 81198"/>
                <a:gd name="connsiteX1" fmla="*/ 6059 w 12492"/>
                <a:gd name="connsiteY1" fmla="*/ 11897 h 81198"/>
                <a:gd name="connsiteX2" fmla="*/ 6059 w 12492"/>
                <a:gd name="connsiteY2" fmla="*/ 11897 h 81198"/>
                <a:gd name="connsiteX3" fmla="*/ 5996 w 12492"/>
                <a:gd name="connsiteY3" fmla="*/ 15082 h 81198"/>
                <a:gd name="connsiteX4" fmla="*/ 4997 w 12492"/>
                <a:gd name="connsiteY4" fmla="*/ 21578 h 81198"/>
                <a:gd name="connsiteX5" fmla="*/ 6246 w 12492"/>
                <a:gd name="connsiteY5" fmla="*/ 31072 h 81198"/>
                <a:gd name="connsiteX6" fmla="*/ 4997 w 12492"/>
                <a:gd name="connsiteY6" fmla="*/ 44751 h 81198"/>
                <a:gd name="connsiteX7" fmla="*/ 8869 w 12492"/>
                <a:gd name="connsiteY7" fmla="*/ 58742 h 81198"/>
                <a:gd name="connsiteX8" fmla="*/ 10306 w 12492"/>
                <a:gd name="connsiteY8" fmla="*/ 66737 h 81198"/>
                <a:gd name="connsiteX9" fmla="*/ 12867 w 12492"/>
                <a:gd name="connsiteY9" fmla="*/ 73545 h 81198"/>
                <a:gd name="connsiteX10" fmla="*/ 13492 w 12492"/>
                <a:gd name="connsiteY10" fmla="*/ 74670 h 81198"/>
                <a:gd name="connsiteX11" fmla="*/ 15553 w 12492"/>
                <a:gd name="connsiteY11" fmla="*/ 78667 h 81198"/>
                <a:gd name="connsiteX12" fmla="*/ 15990 w 12492"/>
                <a:gd name="connsiteY12" fmla="*/ 79916 h 81198"/>
                <a:gd name="connsiteX13" fmla="*/ 17177 w 12492"/>
                <a:gd name="connsiteY13" fmla="*/ 86162 h 81198"/>
                <a:gd name="connsiteX14" fmla="*/ 12867 w 12492"/>
                <a:gd name="connsiteY14" fmla="*/ 84726 h 81198"/>
                <a:gd name="connsiteX15" fmla="*/ 12305 w 12492"/>
                <a:gd name="connsiteY15" fmla="*/ 84289 h 81198"/>
                <a:gd name="connsiteX16" fmla="*/ 11805 w 12492"/>
                <a:gd name="connsiteY16" fmla="*/ 83851 h 81198"/>
                <a:gd name="connsiteX17" fmla="*/ 10368 w 12492"/>
                <a:gd name="connsiteY17" fmla="*/ 81665 h 81198"/>
                <a:gd name="connsiteX18" fmla="*/ 8807 w 12492"/>
                <a:gd name="connsiteY18" fmla="*/ 78792 h 81198"/>
                <a:gd name="connsiteX19" fmla="*/ 7745 w 12492"/>
                <a:gd name="connsiteY19" fmla="*/ 75482 h 81198"/>
                <a:gd name="connsiteX20" fmla="*/ 5622 w 12492"/>
                <a:gd name="connsiteY20" fmla="*/ 68424 h 81198"/>
                <a:gd name="connsiteX21" fmla="*/ 0 w 12492"/>
                <a:gd name="connsiteY21" fmla="*/ 35132 h 81198"/>
                <a:gd name="connsiteX22" fmla="*/ 250 w 12492"/>
                <a:gd name="connsiteY22" fmla="*/ 26075 h 81198"/>
                <a:gd name="connsiteX23" fmla="*/ 437 w 12492"/>
                <a:gd name="connsiteY23" fmla="*/ 24451 h 81198"/>
                <a:gd name="connsiteX24" fmla="*/ 3498 w 12492"/>
                <a:gd name="connsiteY24" fmla="*/ 8461 h 81198"/>
                <a:gd name="connsiteX25" fmla="*/ 4560 w 12492"/>
                <a:gd name="connsiteY25" fmla="*/ 4214 h 81198"/>
                <a:gd name="connsiteX26" fmla="*/ 6496 w 12492"/>
                <a:gd name="connsiteY26" fmla="*/ 279 h 81198"/>
                <a:gd name="connsiteX27" fmla="*/ 8120 w 12492"/>
                <a:gd name="connsiteY27" fmla="*/ 154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492" h="81198">
                  <a:moveTo>
                    <a:pt x="8120" y="154"/>
                  </a:moveTo>
                  <a:cubicBezTo>
                    <a:pt x="7433" y="4089"/>
                    <a:pt x="6746" y="7962"/>
                    <a:pt x="6059" y="11897"/>
                  </a:cubicBezTo>
                  <a:lnTo>
                    <a:pt x="6059" y="11897"/>
                  </a:lnTo>
                  <a:cubicBezTo>
                    <a:pt x="4934" y="12959"/>
                    <a:pt x="5996" y="14020"/>
                    <a:pt x="5996" y="15082"/>
                  </a:cubicBezTo>
                  <a:cubicBezTo>
                    <a:pt x="5871" y="17268"/>
                    <a:pt x="5684" y="19455"/>
                    <a:pt x="4997" y="21578"/>
                  </a:cubicBezTo>
                  <a:cubicBezTo>
                    <a:pt x="3560" y="24889"/>
                    <a:pt x="6433" y="27762"/>
                    <a:pt x="6246" y="31072"/>
                  </a:cubicBezTo>
                  <a:cubicBezTo>
                    <a:pt x="5934" y="35632"/>
                    <a:pt x="5746" y="40191"/>
                    <a:pt x="4997" y="44751"/>
                  </a:cubicBezTo>
                  <a:cubicBezTo>
                    <a:pt x="7370" y="49186"/>
                    <a:pt x="5372" y="54557"/>
                    <a:pt x="8869" y="58742"/>
                  </a:cubicBezTo>
                  <a:cubicBezTo>
                    <a:pt x="10181" y="61303"/>
                    <a:pt x="9744" y="64051"/>
                    <a:pt x="10306" y="66737"/>
                  </a:cubicBezTo>
                  <a:cubicBezTo>
                    <a:pt x="10868" y="69111"/>
                    <a:pt x="11680" y="71359"/>
                    <a:pt x="12867" y="73545"/>
                  </a:cubicBezTo>
                  <a:cubicBezTo>
                    <a:pt x="13117" y="73920"/>
                    <a:pt x="13304" y="74295"/>
                    <a:pt x="13492" y="74670"/>
                  </a:cubicBezTo>
                  <a:cubicBezTo>
                    <a:pt x="14116" y="76044"/>
                    <a:pt x="14866" y="77356"/>
                    <a:pt x="15553" y="78667"/>
                  </a:cubicBezTo>
                  <a:cubicBezTo>
                    <a:pt x="15740" y="79042"/>
                    <a:pt x="15865" y="79479"/>
                    <a:pt x="15990" y="79916"/>
                  </a:cubicBezTo>
                  <a:cubicBezTo>
                    <a:pt x="16177" y="82040"/>
                    <a:pt x="18676" y="83789"/>
                    <a:pt x="17177" y="86162"/>
                  </a:cubicBezTo>
                  <a:cubicBezTo>
                    <a:pt x="15053" y="87349"/>
                    <a:pt x="14179" y="85475"/>
                    <a:pt x="12867" y="84726"/>
                  </a:cubicBezTo>
                  <a:cubicBezTo>
                    <a:pt x="12680" y="84601"/>
                    <a:pt x="12492" y="84414"/>
                    <a:pt x="12305" y="84289"/>
                  </a:cubicBezTo>
                  <a:cubicBezTo>
                    <a:pt x="12117" y="84164"/>
                    <a:pt x="11992" y="83976"/>
                    <a:pt x="11805" y="83851"/>
                  </a:cubicBezTo>
                  <a:cubicBezTo>
                    <a:pt x="11181" y="83227"/>
                    <a:pt x="10681" y="82477"/>
                    <a:pt x="10368" y="81665"/>
                  </a:cubicBezTo>
                  <a:cubicBezTo>
                    <a:pt x="9994" y="80666"/>
                    <a:pt x="9556" y="79667"/>
                    <a:pt x="8807" y="78792"/>
                  </a:cubicBezTo>
                  <a:cubicBezTo>
                    <a:pt x="8182" y="77793"/>
                    <a:pt x="7870" y="76668"/>
                    <a:pt x="7745" y="75482"/>
                  </a:cubicBezTo>
                  <a:cubicBezTo>
                    <a:pt x="7870" y="72921"/>
                    <a:pt x="6621" y="70735"/>
                    <a:pt x="5622" y="68424"/>
                  </a:cubicBezTo>
                  <a:cubicBezTo>
                    <a:pt x="1749" y="57618"/>
                    <a:pt x="125" y="46500"/>
                    <a:pt x="0" y="35132"/>
                  </a:cubicBezTo>
                  <a:cubicBezTo>
                    <a:pt x="375" y="32134"/>
                    <a:pt x="62" y="29073"/>
                    <a:pt x="250" y="26075"/>
                  </a:cubicBezTo>
                  <a:cubicBezTo>
                    <a:pt x="250" y="25513"/>
                    <a:pt x="312" y="25014"/>
                    <a:pt x="437" y="24451"/>
                  </a:cubicBezTo>
                  <a:cubicBezTo>
                    <a:pt x="1874" y="19205"/>
                    <a:pt x="1686" y="13708"/>
                    <a:pt x="3498" y="8461"/>
                  </a:cubicBezTo>
                  <a:cubicBezTo>
                    <a:pt x="4060" y="7087"/>
                    <a:pt x="4560" y="5713"/>
                    <a:pt x="4560" y="4214"/>
                  </a:cubicBezTo>
                  <a:cubicBezTo>
                    <a:pt x="4809" y="2715"/>
                    <a:pt x="5247" y="1341"/>
                    <a:pt x="6496" y="279"/>
                  </a:cubicBezTo>
                  <a:cubicBezTo>
                    <a:pt x="7058" y="-33"/>
                    <a:pt x="7558" y="-96"/>
                    <a:pt x="8120" y="154"/>
                  </a:cubicBezTo>
                  <a:close/>
                </a:path>
              </a:pathLst>
            </a:custGeom>
            <a:grpFill/>
            <a:ln w="6246" cap="flat">
              <a:noFill/>
              <a:prstDash val="solid"/>
              <a:miter/>
            </a:ln>
          </p:spPr>
          <p:txBody>
            <a:bodyPr rtlCol="0" anchor="ctr"/>
            <a:lstStyle/>
            <a:p>
              <a:endParaRPr lang="fr-FR" sz="2400"/>
            </a:p>
          </p:txBody>
        </p:sp>
        <p:sp>
          <p:nvSpPr>
            <p:cNvPr id="426" name="Freeform: Shape 425">
              <a:extLst>
                <a:ext uri="{FF2B5EF4-FFF2-40B4-BE49-F238E27FC236}">
                  <a16:creationId xmlns:a16="http://schemas.microsoft.com/office/drawing/2014/main" id="{5B17BBDF-6EE1-44D3-84E0-2C41E288B02D}"/>
                </a:ext>
              </a:extLst>
            </p:cNvPr>
            <p:cNvSpPr/>
            <p:nvPr/>
          </p:nvSpPr>
          <p:spPr>
            <a:xfrm>
              <a:off x="1156750" y="551776"/>
              <a:ext cx="6246" cy="12492"/>
            </a:xfrm>
            <a:custGeom>
              <a:avLst/>
              <a:gdLst>
                <a:gd name="connsiteX0" fmla="*/ 3487 w 6246"/>
                <a:gd name="connsiteY0" fmla="*/ 14491 h 12492"/>
                <a:gd name="connsiteX1" fmla="*/ 301 w 6246"/>
                <a:gd name="connsiteY1" fmla="*/ 0 h 12492"/>
                <a:gd name="connsiteX2" fmla="*/ 4611 w 6246"/>
                <a:gd name="connsiteY2" fmla="*/ 4809 h 12492"/>
                <a:gd name="connsiteX3" fmla="*/ 4611 w 6246"/>
                <a:gd name="connsiteY3" fmla="*/ 7683 h 12492"/>
                <a:gd name="connsiteX4" fmla="*/ 5673 w 6246"/>
                <a:gd name="connsiteY4" fmla="*/ 11555 h 12492"/>
                <a:gd name="connsiteX5" fmla="*/ 5673 w 6246"/>
                <a:gd name="connsiteY5" fmla="*/ 11555 h 12492"/>
                <a:gd name="connsiteX6" fmla="*/ 3487 w 6246"/>
                <a:gd name="connsiteY6" fmla="*/ 1449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3487" y="14491"/>
                  </a:moveTo>
                  <a:cubicBezTo>
                    <a:pt x="-1698" y="10368"/>
                    <a:pt x="489" y="4997"/>
                    <a:pt x="301" y="0"/>
                  </a:cubicBezTo>
                  <a:cubicBezTo>
                    <a:pt x="3612" y="250"/>
                    <a:pt x="2737" y="3498"/>
                    <a:pt x="4611" y="4809"/>
                  </a:cubicBezTo>
                  <a:cubicBezTo>
                    <a:pt x="4611" y="5746"/>
                    <a:pt x="4611" y="6746"/>
                    <a:pt x="4611" y="7683"/>
                  </a:cubicBezTo>
                  <a:cubicBezTo>
                    <a:pt x="4736" y="8994"/>
                    <a:pt x="4861" y="10368"/>
                    <a:pt x="5673" y="11555"/>
                  </a:cubicBezTo>
                  <a:lnTo>
                    <a:pt x="5673" y="11555"/>
                  </a:lnTo>
                  <a:cubicBezTo>
                    <a:pt x="6922" y="13804"/>
                    <a:pt x="6672" y="14991"/>
                    <a:pt x="3487" y="14491"/>
                  </a:cubicBezTo>
                  <a:close/>
                </a:path>
              </a:pathLst>
            </a:custGeom>
            <a:grpFill/>
            <a:ln w="6246" cap="flat">
              <a:noFill/>
              <a:prstDash val="solid"/>
              <a:miter/>
            </a:ln>
          </p:spPr>
          <p:txBody>
            <a:bodyPr rtlCol="0" anchor="ctr"/>
            <a:lstStyle/>
            <a:p>
              <a:endParaRPr lang="fr-FR" sz="2400"/>
            </a:p>
          </p:txBody>
        </p:sp>
        <p:sp>
          <p:nvSpPr>
            <p:cNvPr id="427" name="Freeform: Shape 426">
              <a:extLst>
                <a:ext uri="{FF2B5EF4-FFF2-40B4-BE49-F238E27FC236}">
                  <a16:creationId xmlns:a16="http://schemas.microsoft.com/office/drawing/2014/main" id="{65250298-DD17-4B23-973A-3D8D93480B8E}"/>
                </a:ext>
              </a:extLst>
            </p:cNvPr>
            <p:cNvSpPr/>
            <p:nvPr/>
          </p:nvSpPr>
          <p:spPr>
            <a:xfrm>
              <a:off x="1157047" y="518860"/>
              <a:ext cx="6246" cy="6246"/>
            </a:xfrm>
            <a:custGeom>
              <a:avLst/>
              <a:gdLst>
                <a:gd name="connsiteX0" fmla="*/ 4 w 0"/>
                <a:gd name="connsiteY0" fmla="*/ 2936 h 6246"/>
                <a:gd name="connsiteX1" fmla="*/ 1066 w 0"/>
                <a:gd name="connsiteY1" fmla="*/ 0 h 6246"/>
                <a:gd name="connsiteX2" fmla="*/ 1066 w 0"/>
                <a:gd name="connsiteY2" fmla="*/ 6746 h 6246"/>
                <a:gd name="connsiteX3" fmla="*/ 4 w 0"/>
                <a:gd name="connsiteY3" fmla="*/ 2936 h 6246"/>
              </a:gdLst>
              <a:ahLst/>
              <a:cxnLst>
                <a:cxn ang="0">
                  <a:pos x="connsiteX0" y="connsiteY0"/>
                </a:cxn>
                <a:cxn ang="0">
                  <a:pos x="connsiteX1" y="connsiteY1"/>
                </a:cxn>
                <a:cxn ang="0">
                  <a:pos x="connsiteX2" y="connsiteY2"/>
                </a:cxn>
                <a:cxn ang="0">
                  <a:pos x="connsiteX3" y="connsiteY3"/>
                </a:cxn>
              </a:cxnLst>
              <a:rect l="l" t="t" r="r" b="b"/>
              <a:pathLst>
                <a:path h="6246">
                  <a:moveTo>
                    <a:pt x="4" y="2936"/>
                  </a:moveTo>
                  <a:cubicBezTo>
                    <a:pt x="4" y="1874"/>
                    <a:pt x="-121" y="750"/>
                    <a:pt x="1066" y="0"/>
                  </a:cubicBezTo>
                  <a:cubicBezTo>
                    <a:pt x="1253" y="2249"/>
                    <a:pt x="3502" y="4497"/>
                    <a:pt x="1066" y="6746"/>
                  </a:cubicBezTo>
                  <a:cubicBezTo>
                    <a:pt x="-246" y="5746"/>
                    <a:pt x="1253" y="4060"/>
                    <a:pt x="4" y="2936"/>
                  </a:cubicBezTo>
                  <a:close/>
                </a:path>
              </a:pathLst>
            </a:custGeom>
            <a:grpFill/>
            <a:ln w="6246" cap="flat">
              <a:noFill/>
              <a:prstDash val="solid"/>
              <a:miter/>
            </a:ln>
          </p:spPr>
          <p:txBody>
            <a:bodyPr rtlCol="0" anchor="ctr"/>
            <a:lstStyle/>
            <a:p>
              <a:endParaRPr lang="fr-FR" sz="2400"/>
            </a:p>
          </p:txBody>
        </p:sp>
        <p:sp>
          <p:nvSpPr>
            <p:cNvPr id="428" name="Freeform: Shape 427">
              <a:extLst>
                <a:ext uri="{FF2B5EF4-FFF2-40B4-BE49-F238E27FC236}">
                  <a16:creationId xmlns:a16="http://schemas.microsoft.com/office/drawing/2014/main" id="{AD615EFF-54F2-48F3-964F-88D392699EE8}"/>
                </a:ext>
              </a:extLst>
            </p:cNvPr>
            <p:cNvSpPr/>
            <p:nvPr/>
          </p:nvSpPr>
          <p:spPr>
            <a:xfrm>
              <a:off x="1157051" y="521795"/>
              <a:ext cx="6246" cy="6246"/>
            </a:xfrm>
            <a:custGeom>
              <a:avLst/>
              <a:gdLst>
                <a:gd name="connsiteX0" fmla="*/ 0 w 0"/>
                <a:gd name="connsiteY0" fmla="*/ 0 h 6246"/>
                <a:gd name="connsiteX1" fmla="*/ 1062 w 0"/>
                <a:gd name="connsiteY1" fmla="*/ 3873 h 6246"/>
                <a:gd name="connsiteX2" fmla="*/ 0 w 0"/>
                <a:gd name="connsiteY2" fmla="*/ 6746 h 6246"/>
                <a:gd name="connsiteX3" fmla="*/ 0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0" y="0"/>
                  </a:moveTo>
                  <a:cubicBezTo>
                    <a:pt x="1499" y="999"/>
                    <a:pt x="937" y="2498"/>
                    <a:pt x="1062" y="3873"/>
                  </a:cubicBezTo>
                  <a:cubicBezTo>
                    <a:pt x="1062" y="4934"/>
                    <a:pt x="1187" y="6059"/>
                    <a:pt x="0" y="6746"/>
                  </a:cubicBezTo>
                  <a:cubicBezTo>
                    <a:pt x="0" y="4497"/>
                    <a:pt x="0" y="2249"/>
                    <a:pt x="0" y="0"/>
                  </a:cubicBezTo>
                  <a:close/>
                </a:path>
              </a:pathLst>
            </a:custGeom>
            <a:grpFill/>
            <a:ln w="6246" cap="flat">
              <a:noFill/>
              <a:prstDash val="solid"/>
              <a:miter/>
            </a:ln>
          </p:spPr>
          <p:txBody>
            <a:bodyPr rtlCol="0" anchor="ctr"/>
            <a:lstStyle/>
            <a:p>
              <a:endParaRPr lang="fr-FR" sz="2400"/>
            </a:p>
          </p:txBody>
        </p:sp>
        <p:sp>
          <p:nvSpPr>
            <p:cNvPr id="429" name="Freeform: Shape 428">
              <a:extLst>
                <a:ext uri="{FF2B5EF4-FFF2-40B4-BE49-F238E27FC236}">
                  <a16:creationId xmlns:a16="http://schemas.microsoft.com/office/drawing/2014/main" id="{E0BB16A7-E22A-43CF-B3F4-E3E490F9135C}"/>
                </a:ext>
              </a:extLst>
            </p:cNvPr>
            <p:cNvSpPr/>
            <p:nvPr/>
          </p:nvSpPr>
          <p:spPr>
            <a:xfrm>
              <a:off x="1145246" y="484977"/>
              <a:ext cx="18738" cy="37476"/>
            </a:xfrm>
            <a:custGeom>
              <a:avLst/>
              <a:gdLst>
                <a:gd name="connsiteX0" fmla="*/ 0 w 18738"/>
                <a:gd name="connsiteY0" fmla="*/ 40691 h 37476"/>
                <a:gd name="connsiteX1" fmla="*/ 3185 w 18738"/>
                <a:gd name="connsiteY1" fmla="*/ 25263 h 37476"/>
                <a:gd name="connsiteX2" fmla="*/ 7495 w 18738"/>
                <a:gd name="connsiteY2" fmla="*/ 14583 h 37476"/>
                <a:gd name="connsiteX3" fmla="*/ 17114 w 18738"/>
                <a:gd name="connsiteY3" fmla="*/ 2965 h 37476"/>
                <a:gd name="connsiteX4" fmla="*/ 21924 w 18738"/>
                <a:gd name="connsiteY4" fmla="*/ 342 h 37476"/>
                <a:gd name="connsiteX5" fmla="*/ 19238 w 18738"/>
                <a:gd name="connsiteY5" fmla="*/ 7774 h 37476"/>
                <a:gd name="connsiteX6" fmla="*/ 18176 w 18738"/>
                <a:gd name="connsiteY6" fmla="*/ 10648 h 37476"/>
                <a:gd name="connsiteX7" fmla="*/ 15678 w 18738"/>
                <a:gd name="connsiteY7" fmla="*/ 14645 h 37476"/>
                <a:gd name="connsiteX8" fmla="*/ 14179 w 18738"/>
                <a:gd name="connsiteY8" fmla="*/ 16019 h 37476"/>
                <a:gd name="connsiteX9" fmla="*/ 13679 w 18738"/>
                <a:gd name="connsiteY9" fmla="*/ 18518 h 37476"/>
                <a:gd name="connsiteX10" fmla="*/ 13679 w 18738"/>
                <a:gd name="connsiteY10" fmla="*/ 20391 h 37476"/>
                <a:gd name="connsiteX11" fmla="*/ 11680 w 18738"/>
                <a:gd name="connsiteY11" fmla="*/ 25201 h 37476"/>
                <a:gd name="connsiteX12" fmla="*/ 10806 w 18738"/>
                <a:gd name="connsiteY12" fmla="*/ 27699 h 37476"/>
                <a:gd name="connsiteX13" fmla="*/ 8557 w 18738"/>
                <a:gd name="connsiteY13" fmla="*/ 33945 h 37476"/>
                <a:gd name="connsiteX14" fmla="*/ 5996 w 18738"/>
                <a:gd name="connsiteY14" fmla="*/ 38755 h 37476"/>
                <a:gd name="connsiteX15" fmla="*/ 0 w 18738"/>
                <a:gd name="connsiteY15" fmla="*/ 40691 h 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738" h="37476">
                  <a:moveTo>
                    <a:pt x="0" y="40691"/>
                  </a:moveTo>
                  <a:cubicBezTo>
                    <a:pt x="1062" y="35569"/>
                    <a:pt x="2124" y="30448"/>
                    <a:pt x="3185" y="25263"/>
                  </a:cubicBezTo>
                  <a:cubicBezTo>
                    <a:pt x="3997" y="21516"/>
                    <a:pt x="5309" y="17893"/>
                    <a:pt x="7495" y="14583"/>
                  </a:cubicBezTo>
                  <a:cubicBezTo>
                    <a:pt x="10681" y="10710"/>
                    <a:pt x="13929" y="6837"/>
                    <a:pt x="17114" y="2965"/>
                  </a:cubicBezTo>
                  <a:cubicBezTo>
                    <a:pt x="18551" y="1841"/>
                    <a:pt x="18863" y="-970"/>
                    <a:pt x="21924" y="342"/>
                  </a:cubicBezTo>
                  <a:cubicBezTo>
                    <a:pt x="22861" y="3340"/>
                    <a:pt x="21112" y="5588"/>
                    <a:pt x="19238" y="7774"/>
                  </a:cubicBezTo>
                  <a:cubicBezTo>
                    <a:pt x="18863" y="8711"/>
                    <a:pt x="18551" y="9711"/>
                    <a:pt x="18176" y="10648"/>
                  </a:cubicBezTo>
                  <a:cubicBezTo>
                    <a:pt x="17177" y="11897"/>
                    <a:pt x="16177" y="13146"/>
                    <a:pt x="15678" y="14645"/>
                  </a:cubicBezTo>
                  <a:cubicBezTo>
                    <a:pt x="15303" y="15207"/>
                    <a:pt x="14741" y="15644"/>
                    <a:pt x="14179" y="16019"/>
                  </a:cubicBezTo>
                  <a:cubicBezTo>
                    <a:pt x="12367" y="16581"/>
                    <a:pt x="12992" y="17518"/>
                    <a:pt x="13679" y="18518"/>
                  </a:cubicBezTo>
                  <a:cubicBezTo>
                    <a:pt x="13866" y="19142"/>
                    <a:pt x="13804" y="19767"/>
                    <a:pt x="13679" y="20391"/>
                  </a:cubicBezTo>
                  <a:cubicBezTo>
                    <a:pt x="12992" y="21953"/>
                    <a:pt x="12055" y="23514"/>
                    <a:pt x="11680" y="25201"/>
                  </a:cubicBezTo>
                  <a:cubicBezTo>
                    <a:pt x="11430" y="26013"/>
                    <a:pt x="11118" y="26887"/>
                    <a:pt x="10806" y="27699"/>
                  </a:cubicBezTo>
                  <a:cubicBezTo>
                    <a:pt x="9869" y="29698"/>
                    <a:pt x="9057" y="31759"/>
                    <a:pt x="8557" y="33945"/>
                  </a:cubicBezTo>
                  <a:cubicBezTo>
                    <a:pt x="7870" y="35632"/>
                    <a:pt x="7495" y="37443"/>
                    <a:pt x="5996" y="38755"/>
                  </a:cubicBezTo>
                  <a:cubicBezTo>
                    <a:pt x="3810" y="39067"/>
                    <a:pt x="2498" y="41316"/>
                    <a:pt x="0" y="40691"/>
                  </a:cubicBezTo>
                  <a:close/>
                </a:path>
              </a:pathLst>
            </a:custGeom>
            <a:grpFill/>
            <a:ln w="6246" cap="flat">
              <a:noFill/>
              <a:prstDash val="solid"/>
              <a:miter/>
            </a:ln>
          </p:spPr>
          <p:txBody>
            <a:bodyPr rtlCol="0" anchor="ctr"/>
            <a:lstStyle/>
            <a:p>
              <a:endParaRPr lang="fr-FR" sz="2400"/>
            </a:p>
          </p:txBody>
        </p:sp>
        <p:sp>
          <p:nvSpPr>
            <p:cNvPr id="430" name="Freeform: Shape 429">
              <a:extLst>
                <a:ext uri="{FF2B5EF4-FFF2-40B4-BE49-F238E27FC236}">
                  <a16:creationId xmlns:a16="http://schemas.microsoft.com/office/drawing/2014/main" id="{40309A5E-7560-4AC8-91FC-C1D03F3F7F44}"/>
                </a:ext>
              </a:extLst>
            </p:cNvPr>
            <p:cNvSpPr/>
            <p:nvPr/>
          </p:nvSpPr>
          <p:spPr>
            <a:xfrm>
              <a:off x="1162360" y="476324"/>
              <a:ext cx="6246" cy="6246"/>
            </a:xfrm>
            <a:custGeom>
              <a:avLst/>
              <a:gdLst>
                <a:gd name="connsiteX0" fmla="*/ 4310 w 6246"/>
                <a:gd name="connsiteY0" fmla="*/ 8745 h 6246"/>
                <a:gd name="connsiteX1" fmla="*/ 0 w 6246"/>
                <a:gd name="connsiteY1" fmla="*/ 11618 h 6246"/>
                <a:gd name="connsiteX2" fmla="*/ 10681 w 6246"/>
                <a:gd name="connsiteY2" fmla="*/ 0 h 6246"/>
                <a:gd name="connsiteX3" fmla="*/ 6371 w 6246"/>
                <a:gd name="connsiteY3" fmla="*/ 6808 h 6246"/>
                <a:gd name="connsiteX4" fmla="*/ 4310 w 6246"/>
                <a:gd name="connsiteY4" fmla="*/ 874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4310" y="8745"/>
                  </a:moveTo>
                  <a:cubicBezTo>
                    <a:pt x="2873" y="9681"/>
                    <a:pt x="1437" y="10681"/>
                    <a:pt x="0" y="11618"/>
                  </a:cubicBezTo>
                  <a:cubicBezTo>
                    <a:pt x="2498" y="6933"/>
                    <a:pt x="5996" y="2998"/>
                    <a:pt x="10681" y="0"/>
                  </a:cubicBezTo>
                  <a:cubicBezTo>
                    <a:pt x="10993" y="3123"/>
                    <a:pt x="8057" y="4622"/>
                    <a:pt x="6371" y="6808"/>
                  </a:cubicBezTo>
                  <a:cubicBezTo>
                    <a:pt x="5746" y="7495"/>
                    <a:pt x="5559" y="8620"/>
                    <a:pt x="4310" y="8745"/>
                  </a:cubicBezTo>
                  <a:close/>
                </a:path>
              </a:pathLst>
            </a:custGeom>
            <a:grpFill/>
            <a:ln w="6246" cap="flat">
              <a:noFill/>
              <a:prstDash val="solid"/>
              <a:miter/>
            </a:ln>
          </p:spPr>
          <p:txBody>
            <a:bodyPr rtlCol="0" anchor="ctr"/>
            <a:lstStyle/>
            <a:p>
              <a:endParaRPr lang="fr-FR" sz="2400"/>
            </a:p>
          </p:txBody>
        </p:sp>
        <p:sp>
          <p:nvSpPr>
            <p:cNvPr id="431" name="Freeform: Shape 430">
              <a:extLst>
                <a:ext uri="{FF2B5EF4-FFF2-40B4-BE49-F238E27FC236}">
                  <a16:creationId xmlns:a16="http://schemas.microsoft.com/office/drawing/2014/main" id="{0DF40B88-3B31-4499-8A67-818047A3B942}"/>
                </a:ext>
              </a:extLst>
            </p:cNvPr>
            <p:cNvSpPr/>
            <p:nvPr/>
          </p:nvSpPr>
          <p:spPr>
            <a:xfrm>
              <a:off x="1157051" y="470453"/>
              <a:ext cx="6246" cy="6246"/>
            </a:xfrm>
            <a:custGeom>
              <a:avLst/>
              <a:gdLst>
                <a:gd name="connsiteX0" fmla="*/ 1062 w 6246"/>
                <a:gd name="connsiteY0" fmla="*/ 10743 h 6246"/>
                <a:gd name="connsiteX1" fmla="*/ 0 w 6246"/>
                <a:gd name="connsiteY1" fmla="*/ 9806 h 6246"/>
                <a:gd name="connsiteX2" fmla="*/ 7058 w 6246"/>
                <a:gd name="connsiteY2" fmla="*/ 0 h 6246"/>
                <a:gd name="connsiteX3" fmla="*/ 5309 w 6246"/>
                <a:gd name="connsiteY3" fmla="*/ 4997 h 6246"/>
                <a:gd name="connsiteX4" fmla="*/ 4934 w 6246"/>
                <a:gd name="connsiteY4" fmla="*/ 5684 h 6246"/>
                <a:gd name="connsiteX5" fmla="*/ 5309 w 6246"/>
                <a:gd name="connsiteY5" fmla="*/ 5934 h 6246"/>
                <a:gd name="connsiteX6" fmla="*/ 4247 w 6246"/>
                <a:gd name="connsiteY6" fmla="*/ 6871 h 6246"/>
                <a:gd name="connsiteX7" fmla="*/ 1062 w 6246"/>
                <a:gd name="connsiteY7" fmla="*/ 1074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062" y="10743"/>
                  </a:moveTo>
                  <a:cubicBezTo>
                    <a:pt x="687" y="10431"/>
                    <a:pt x="375" y="10119"/>
                    <a:pt x="0" y="9806"/>
                  </a:cubicBezTo>
                  <a:cubicBezTo>
                    <a:pt x="1437" y="6059"/>
                    <a:pt x="3997" y="2998"/>
                    <a:pt x="7058" y="0"/>
                  </a:cubicBezTo>
                  <a:cubicBezTo>
                    <a:pt x="6496" y="1686"/>
                    <a:pt x="5934" y="3310"/>
                    <a:pt x="5309" y="4997"/>
                  </a:cubicBezTo>
                  <a:cubicBezTo>
                    <a:pt x="5184" y="5247"/>
                    <a:pt x="4997" y="5434"/>
                    <a:pt x="4934" y="5684"/>
                  </a:cubicBezTo>
                  <a:cubicBezTo>
                    <a:pt x="4934" y="5746"/>
                    <a:pt x="5184" y="5871"/>
                    <a:pt x="5309" y="5934"/>
                  </a:cubicBezTo>
                  <a:cubicBezTo>
                    <a:pt x="4934" y="6246"/>
                    <a:pt x="4622" y="6558"/>
                    <a:pt x="4247" y="6871"/>
                  </a:cubicBezTo>
                  <a:cubicBezTo>
                    <a:pt x="2998" y="8057"/>
                    <a:pt x="3248" y="10244"/>
                    <a:pt x="1062" y="10743"/>
                  </a:cubicBezTo>
                  <a:close/>
                </a:path>
              </a:pathLst>
            </a:custGeom>
            <a:grpFill/>
            <a:ln w="6246" cap="flat">
              <a:noFill/>
              <a:prstDash val="solid"/>
              <a:miter/>
            </a:ln>
          </p:spPr>
          <p:txBody>
            <a:bodyPr rtlCol="0" anchor="ctr"/>
            <a:lstStyle/>
            <a:p>
              <a:endParaRPr lang="fr-FR" sz="2400"/>
            </a:p>
          </p:txBody>
        </p:sp>
        <p:sp>
          <p:nvSpPr>
            <p:cNvPr id="432" name="Freeform: Shape 431">
              <a:extLst>
                <a:ext uri="{FF2B5EF4-FFF2-40B4-BE49-F238E27FC236}">
                  <a16:creationId xmlns:a16="http://schemas.microsoft.com/office/drawing/2014/main" id="{F3E012B7-C1BA-4AEA-83B9-207EFDA1EE9B}"/>
                </a:ext>
              </a:extLst>
            </p:cNvPr>
            <p:cNvSpPr/>
            <p:nvPr/>
          </p:nvSpPr>
          <p:spPr>
            <a:xfrm>
              <a:off x="1155235" y="477323"/>
              <a:ext cx="6246" cy="6246"/>
            </a:xfrm>
            <a:custGeom>
              <a:avLst/>
              <a:gdLst>
                <a:gd name="connsiteX0" fmla="*/ 2878 w 0"/>
                <a:gd name="connsiteY0" fmla="*/ 3873 h 6246"/>
                <a:gd name="connsiteX1" fmla="*/ 6126 w 0"/>
                <a:gd name="connsiteY1" fmla="*/ 0 h 6246"/>
                <a:gd name="connsiteX2" fmla="*/ 754 w 0"/>
                <a:gd name="connsiteY2" fmla="*/ 11618 h 6246"/>
                <a:gd name="connsiteX3" fmla="*/ 2878 w 0"/>
                <a:gd name="connsiteY3" fmla="*/ 3873 h 6246"/>
              </a:gdLst>
              <a:ahLst/>
              <a:cxnLst>
                <a:cxn ang="0">
                  <a:pos x="connsiteX0" y="connsiteY0"/>
                </a:cxn>
                <a:cxn ang="0">
                  <a:pos x="connsiteX1" y="connsiteY1"/>
                </a:cxn>
                <a:cxn ang="0">
                  <a:pos x="connsiteX2" y="connsiteY2"/>
                </a:cxn>
                <a:cxn ang="0">
                  <a:pos x="connsiteX3" y="connsiteY3"/>
                </a:cxn>
              </a:cxnLst>
              <a:rect l="l" t="t" r="r" b="b"/>
              <a:pathLst>
                <a:path h="6246">
                  <a:moveTo>
                    <a:pt x="2878" y="3873"/>
                  </a:moveTo>
                  <a:cubicBezTo>
                    <a:pt x="3752" y="2436"/>
                    <a:pt x="4190" y="750"/>
                    <a:pt x="6126" y="0"/>
                  </a:cubicBezTo>
                  <a:cubicBezTo>
                    <a:pt x="6126" y="4560"/>
                    <a:pt x="2004" y="7558"/>
                    <a:pt x="754" y="11618"/>
                  </a:cubicBezTo>
                  <a:cubicBezTo>
                    <a:pt x="-1619" y="8370"/>
                    <a:pt x="2316" y="6496"/>
                    <a:pt x="2878" y="3873"/>
                  </a:cubicBezTo>
                  <a:close/>
                </a:path>
              </a:pathLst>
            </a:custGeom>
            <a:grpFill/>
            <a:ln w="6246" cap="flat">
              <a:noFill/>
              <a:prstDash val="solid"/>
              <a:miter/>
            </a:ln>
          </p:spPr>
          <p:txBody>
            <a:bodyPr rtlCol="0" anchor="ctr"/>
            <a:lstStyle/>
            <a:p>
              <a:endParaRPr lang="fr-FR" sz="2400"/>
            </a:p>
          </p:txBody>
        </p:sp>
        <p:sp>
          <p:nvSpPr>
            <p:cNvPr id="433" name="Freeform: Shape 432">
              <a:extLst>
                <a:ext uri="{FF2B5EF4-FFF2-40B4-BE49-F238E27FC236}">
                  <a16:creationId xmlns:a16="http://schemas.microsoft.com/office/drawing/2014/main" id="{5D68BDF6-21AE-414C-A062-2BEDDAC4B271}"/>
                </a:ext>
              </a:extLst>
            </p:cNvPr>
            <p:cNvSpPr/>
            <p:nvPr/>
          </p:nvSpPr>
          <p:spPr>
            <a:xfrm>
              <a:off x="1199837" y="430915"/>
              <a:ext cx="6246" cy="6246"/>
            </a:xfrm>
            <a:custGeom>
              <a:avLst/>
              <a:gdLst>
                <a:gd name="connsiteX0" fmla="*/ 9619 w 6246"/>
                <a:gd name="connsiteY0" fmla="*/ 0 h 0"/>
                <a:gd name="connsiteX1" fmla="*/ 10681 w 6246"/>
                <a:gd name="connsiteY1" fmla="*/ 0 h 0"/>
                <a:gd name="connsiteX2" fmla="*/ 0 w 6246"/>
                <a:gd name="connsiteY2" fmla="*/ 4809 h 0"/>
                <a:gd name="connsiteX3" fmla="*/ 9619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9619" y="0"/>
                  </a:moveTo>
                  <a:cubicBezTo>
                    <a:pt x="9994" y="0"/>
                    <a:pt x="10368" y="0"/>
                    <a:pt x="10681" y="0"/>
                  </a:cubicBezTo>
                  <a:cubicBezTo>
                    <a:pt x="6996" y="1437"/>
                    <a:pt x="4809" y="5434"/>
                    <a:pt x="0" y="4809"/>
                  </a:cubicBezTo>
                  <a:cubicBezTo>
                    <a:pt x="3185" y="3248"/>
                    <a:pt x="5746" y="562"/>
                    <a:pt x="9619" y="0"/>
                  </a:cubicBezTo>
                  <a:close/>
                </a:path>
              </a:pathLst>
            </a:custGeom>
            <a:grpFill/>
            <a:ln w="6246" cap="flat">
              <a:noFill/>
              <a:prstDash val="solid"/>
              <a:miter/>
            </a:ln>
          </p:spPr>
          <p:txBody>
            <a:bodyPr rtlCol="0" anchor="ctr"/>
            <a:lstStyle/>
            <a:p>
              <a:endParaRPr lang="fr-FR" sz="2400"/>
            </a:p>
          </p:txBody>
        </p:sp>
        <p:sp>
          <p:nvSpPr>
            <p:cNvPr id="434" name="Freeform: Shape 433">
              <a:extLst>
                <a:ext uri="{FF2B5EF4-FFF2-40B4-BE49-F238E27FC236}">
                  <a16:creationId xmlns:a16="http://schemas.microsoft.com/office/drawing/2014/main" id="{F9D020ED-2F03-4F09-9908-51CA02BD5F0E}"/>
                </a:ext>
              </a:extLst>
            </p:cNvPr>
            <p:cNvSpPr/>
            <p:nvPr/>
          </p:nvSpPr>
          <p:spPr>
            <a:xfrm>
              <a:off x="1164547" y="483132"/>
              <a:ext cx="6246" cy="6246"/>
            </a:xfrm>
            <a:custGeom>
              <a:avLst/>
              <a:gdLst>
                <a:gd name="connsiteX0" fmla="*/ 2124 w 0"/>
                <a:gd name="connsiteY0" fmla="*/ 1936 h 6246"/>
                <a:gd name="connsiteX1" fmla="*/ 4247 w 0"/>
                <a:gd name="connsiteY1" fmla="*/ 0 h 6246"/>
                <a:gd name="connsiteX2" fmla="*/ 2124 w 0"/>
                <a:gd name="connsiteY2" fmla="*/ 9681 h 6246"/>
                <a:gd name="connsiteX3" fmla="*/ 0 w 0"/>
                <a:gd name="connsiteY3" fmla="*/ 9681 h 6246"/>
                <a:gd name="connsiteX4" fmla="*/ 2124 w 0"/>
                <a:gd name="connsiteY4" fmla="*/ 193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2124" y="1936"/>
                  </a:moveTo>
                  <a:cubicBezTo>
                    <a:pt x="2811" y="1312"/>
                    <a:pt x="3560" y="625"/>
                    <a:pt x="4247" y="0"/>
                  </a:cubicBezTo>
                  <a:cubicBezTo>
                    <a:pt x="4809" y="3435"/>
                    <a:pt x="2811" y="6433"/>
                    <a:pt x="2124" y="9681"/>
                  </a:cubicBezTo>
                  <a:cubicBezTo>
                    <a:pt x="1437" y="9681"/>
                    <a:pt x="687" y="9681"/>
                    <a:pt x="0" y="9681"/>
                  </a:cubicBezTo>
                  <a:cubicBezTo>
                    <a:pt x="375" y="6996"/>
                    <a:pt x="2748" y="4809"/>
                    <a:pt x="2124" y="1936"/>
                  </a:cubicBezTo>
                  <a:close/>
                </a:path>
              </a:pathLst>
            </a:custGeom>
            <a:grpFill/>
            <a:ln w="6246" cap="flat">
              <a:noFill/>
              <a:prstDash val="solid"/>
              <a:miter/>
            </a:ln>
          </p:spPr>
          <p:txBody>
            <a:bodyPr rtlCol="0" anchor="ctr"/>
            <a:lstStyle/>
            <a:p>
              <a:endParaRPr lang="fr-FR" sz="2400"/>
            </a:p>
          </p:txBody>
        </p:sp>
        <p:sp>
          <p:nvSpPr>
            <p:cNvPr id="435" name="Freeform: Shape 434">
              <a:extLst>
                <a:ext uri="{FF2B5EF4-FFF2-40B4-BE49-F238E27FC236}">
                  <a16:creationId xmlns:a16="http://schemas.microsoft.com/office/drawing/2014/main" id="{833CDACE-C28D-49DE-9DF3-67C9F0452628}"/>
                </a:ext>
              </a:extLst>
            </p:cNvPr>
            <p:cNvSpPr/>
            <p:nvPr/>
          </p:nvSpPr>
          <p:spPr>
            <a:xfrm>
              <a:off x="1157863" y="499809"/>
              <a:ext cx="6246" cy="6246"/>
            </a:xfrm>
            <a:custGeom>
              <a:avLst/>
              <a:gdLst>
                <a:gd name="connsiteX0" fmla="*/ 0 w 0"/>
                <a:gd name="connsiteY0" fmla="*/ 5434 h 6246"/>
                <a:gd name="connsiteX1" fmla="*/ 312 w 0"/>
                <a:gd name="connsiteY1" fmla="*/ 3685 h 6246"/>
                <a:gd name="connsiteX2" fmla="*/ 1312 w 0"/>
                <a:gd name="connsiteY2" fmla="*/ 687 h 6246"/>
                <a:gd name="connsiteX3" fmla="*/ 2436 w 0"/>
                <a:gd name="connsiteY3" fmla="*/ 0 h 6246"/>
                <a:gd name="connsiteX4" fmla="*/ 3498 w 0"/>
                <a:gd name="connsiteY4" fmla="*/ 1749 h 6246"/>
                <a:gd name="connsiteX5" fmla="*/ 2311 w 0"/>
                <a:gd name="connsiteY5" fmla="*/ 7308 h 6246"/>
                <a:gd name="connsiteX6" fmla="*/ 1374 w 0"/>
                <a:gd name="connsiteY6" fmla="*/ 7620 h 6246"/>
                <a:gd name="connsiteX7" fmla="*/ 0 w 0"/>
                <a:gd name="connsiteY7" fmla="*/ 543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6246">
                  <a:moveTo>
                    <a:pt x="0" y="5434"/>
                  </a:moveTo>
                  <a:cubicBezTo>
                    <a:pt x="125" y="4872"/>
                    <a:pt x="187" y="4310"/>
                    <a:pt x="312" y="3685"/>
                  </a:cubicBezTo>
                  <a:cubicBezTo>
                    <a:pt x="999" y="2748"/>
                    <a:pt x="-63" y="1374"/>
                    <a:pt x="1312" y="687"/>
                  </a:cubicBezTo>
                  <a:cubicBezTo>
                    <a:pt x="1686" y="437"/>
                    <a:pt x="2061" y="187"/>
                    <a:pt x="2436" y="0"/>
                  </a:cubicBezTo>
                  <a:cubicBezTo>
                    <a:pt x="3373" y="312"/>
                    <a:pt x="4122" y="625"/>
                    <a:pt x="3498" y="1749"/>
                  </a:cubicBezTo>
                  <a:cubicBezTo>
                    <a:pt x="3123" y="3623"/>
                    <a:pt x="2686" y="5497"/>
                    <a:pt x="2311" y="7308"/>
                  </a:cubicBezTo>
                  <a:cubicBezTo>
                    <a:pt x="1999" y="7433"/>
                    <a:pt x="1686" y="7495"/>
                    <a:pt x="1374" y="7620"/>
                  </a:cubicBezTo>
                  <a:cubicBezTo>
                    <a:pt x="312" y="7245"/>
                    <a:pt x="250" y="6309"/>
                    <a:pt x="0" y="5434"/>
                  </a:cubicBezTo>
                  <a:close/>
                </a:path>
              </a:pathLst>
            </a:custGeom>
            <a:grpFill/>
            <a:ln w="6246" cap="flat">
              <a:noFill/>
              <a:prstDash val="solid"/>
              <a:miter/>
            </a:ln>
          </p:spPr>
          <p:txBody>
            <a:bodyPr rtlCol="0" anchor="ctr"/>
            <a:lstStyle/>
            <a:p>
              <a:endParaRPr lang="fr-FR" sz="2400"/>
            </a:p>
          </p:txBody>
        </p:sp>
        <p:sp>
          <p:nvSpPr>
            <p:cNvPr id="436" name="Freeform: Shape 435">
              <a:extLst>
                <a:ext uri="{FF2B5EF4-FFF2-40B4-BE49-F238E27FC236}">
                  <a16:creationId xmlns:a16="http://schemas.microsoft.com/office/drawing/2014/main" id="{11507D93-7BB1-4945-8C53-8D994C43FF92}"/>
                </a:ext>
              </a:extLst>
            </p:cNvPr>
            <p:cNvSpPr/>
            <p:nvPr/>
          </p:nvSpPr>
          <p:spPr>
            <a:xfrm>
              <a:off x="1160299" y="495624"/>
              <a:ext cx="6246" cy="6246"/>
            </a:xfrm>
            <a:custGeom>
              <a:avLst/>
              <a:gdLst>
                <a:gd name="connsiteX0" fmla="*/ 1062 w 0"/>
                <a:gd name="connsiteY0" fmla="*/ 5934 h 0"/>
                <a:gd name="connsiteX1" fmla="*/ 0 w 0"/>
                <a:gd name="connsiteY1" fmla="*/ 4185 h 0"/>
                <a:gd name="connsiteX2" fmla="*/ 3123 w 0"/>
                <a:gd name="connsiteY2" fmla="*/ 0 h 0"/>
                <a:gd name="connsiteX3" fmla="*/ 1062 w 0"/>
                <a:gd name="connsiteY3" fmla="*/ 5934 h 0"/>
              </a:gdLst>
              <a:ahLst/>
              <a:cxnLst>
                <a:cxn ang="0">
                  <a:pos x="connsiteX0" y="connsiteY0"/>
                </a:cxn>
                <a:cxn ang="0">
                  <a:pos x="connsiteX1" y="connsiteY1"/>
                </a:cxn>
                <a:cxn ang="0">
                  <a:pos x="connsiteX2" y="connsiteY2"/>
                </a:cxn>
                <a:cxn ang="0">
                  <a:pos x="connsiteX3" y="connsiteY3"/>
                </a:cxn>
              </a:cxnLst>
              <a:rect l="l" t="t" r="r" b="b"/>
              <a:pathLst>
                <a:path>
                  <a:moveTo>
                    <a:pt x="1062" y="5934"/>
                  </a:moveTo>
                  <a:cubicBezTo>
                    <a:pt x="687" y="5372"/>
                    <a:pt x="375" y="4809"/>
                    <a:pt x="0" y="4185"/>
                  </a:cubicBezTo>
                  <a:cubicBezTo>
                    <a:pt x="0" y="2186"/>
                    <a:pt x="1249" y="874"/>
                    <a:pt x="3123" y="0"/>
                  </a:cubicBezTo>
                  <a:cubicBezTo>
                    <a:pt x="2623" y="2061"/>
                    <a:pt x="2436" y="4185"/>
                    <a:pt x="1062" y="5934"/>
                  </a:cubicBezTo>
                  <a:close/>
                </a:path>
              </a:pathLst>
            </a:custGeom>
            <a:grpFill/>
            <a:ln w="6246" cap="flat">
              <a:noFill/>
              <a:prstDash val="solid"/>
              <a:miter/>
            </a:ln>
          </p:spPr>
          <p:txBody>
            <a:bodyPr rtlCol="0" anchor="ctr"/>
            <a:lstStyle/>
            <a:p>
              <a:endParaRPr lang="fr-FR" sz="2400"/>
            </a:p>
          </p:txBody>
        </p:sp>
        <p:sp>
          <p:nvSpPr>
            <p:cNvPr id="437" name="Freeform: Shape 436">
              <a:extLst>
                <a:ext uri="{FF2B5EF4-FFF2-40B4-BE49-F238E27FC236}">
                  <a16:creationId xmlns:a16="http://schemas.microsoft.com/office/drawing/2014/main" id="{ADB17264-E81C-43BF-B235-5420C2401D78}"/>
                </a:ext>
              </a:extLst>
            </p:cNvPr>
            <p:cNvSpPr/>
            <p:nvPr/>
          </p:nvSpPr>
          <p:spPr>
            <a:xfrm>
              <a:off x="1163610" y="432539"/>
              <a:ext cx="31230" cy="24984"/>
            </a:xfrm>
            <a:custGeom>
              <a:avLst/>
              <a:gdLst>
                <a:gd name="connsiteX0" fmla="*/ 4122 w 31230"/>
                <a:gd name="connsiteY0" fmla="*/ 24485 h 24984"/>
                <a:gd name="connsiteX1" fmla="*/ 0 w 31230"/>
                <a:gd name="connsiteY1" fmla="*/ 26546 h 24984"/>
                <a:gd name="connsiteX2" fmla="*/ 11618 w 31230"/>
                <a:gd name="connsiteY2" fmla="*/ 13866 h 24984"/>
                <a:gd name="connsiteX3" fmla="*/ 32167 w 31230"/>
                <a:gd name="connsiteY3" fmla="*/ 0 h 24984"/>
                <a:gd name="connsiteX4" fmla="*/ 4122 w 31230"/>
                <a:gd name="connsiteY4" fmla="*/ 24485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24984">
                  <a:moveTo>
                    <a:pt x="4122" y="24485"/>
                  </a:moveTo>
                  <a:cubicBezTo>
                    <a:pt x="2623" y="24797"/>
                    <a:pt x="2124" y="26608"/>
                    <a:pt x="0" y="26546"/>
                  </a:cubicBezTo>
                  <a:cubicBezTo>
                    <a:pt x="3248" y="21674"/>
                    <a:pt x="7870" y="18051"/>
                    <a:pt x="11618" y="13866"/>
                  </a:cubicBezTo>
                  <a:cubicBezTo>
                    <a:pt x="17926" y="8620"/>
                    <a:pt x="24672" y="3873"/>
                    <a:pt x="32167" y="0"/>
                  </a:cubicBezTo>
                  <a:cubicBezTo>
                    <a:pt x="21549" y="6996"/>
                    <a:pt x="12867" y="15740"/>
                    <a:pt x="4122" y="24485"/>
                  </a:cubicBezTo>
                  <a:close/>
                </a:path>
              </a:pathLst>
            </a:custGeom>
            <a:grpFill/>
            <a:ln w="6246" cap="flat">
              <a:noFill/>
              <a:prstDash val="solid"/>
              <a:miter/>
            </a:ln>
          </p:spPr>
          <p:txBody>
            <a:bodyPr rtlCol="0" anchor="ctr"/>
            <a:lstStyle/>
            <a:p>
              <a:endParaRPr lang="fr-FR" sz="2400"/>
            </a:p>
          </p:txBody>
        </p:sp>
        <p:sp>
          <p:nvSpPr>
            <p:cNvPr id="438" name="Freeform: Shape 437">
              <a:extLst>
                <a:ext uri="{FF2B5EF4-FFF2-40B4-BE49-F238E27FC236}">
                  <a16:creationId xmlns:a16="http://schemas.microsoft.com/office/drawing/2014/main" id="{C38C798E-75C2-4831-BF6F-304ED2578BDE}"/>
                </a:ext>
              </a:extLst>
            </p:cNvPr>
            <p:cNvSpPr/>
            <p:nvPr/>
          </p:nvSpPr>
          <p:spPr>
            <a:xfrm>
              <a:off x="1178298" y="422171"/>
              <a:ext cx="24984" cy="12492"/>
            </a:xfrm>
            <a:custGeom>
              <a:avLst/>
              <a:gdLst>
                <a:gd name="connsiteX0" fmla="*/ 115 w 24984"/>
                <a:gd name="connsiteY0" fmla="*/ 17427 h 12492"/>
                <a:gd name="connsiteX1" fmla="*/ 14044 w 24984"/>
                <a:gd name="connsiteY1" fmla="*/ 5809 h 12492"/>
                <a:gd name="connsiteX2" fmla="*/ 24725 w 24984"/>
                <a:gd name="connsiteY2" fmla="*/ 0 h 12492"/>
                <a:gd name="connsiteX3" fmla="*/ 25787 w 24984"/>
                <a:gd name="connsiteY3" fmla="*/ 1936 h 12492"/>
                <a:gd name="connsiteX4" fmla="*/ 1177 w 24984"/>
                <a:gd name="connsiteY4" fmla="*/ 18363 h 12492"/>
                <a:gd name="connsiteX5" fmla="*/ 115 w 24984"/>
                <a:gd name="connsiteY5" fmla="*/ 1742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84" h="12492">
                  <a:moveTo>
                    <a:pt x="115" y="17427"/>
                  </a:moveTo>
                  <a:cubicBezTo>
                    <a:pt x="3613" y="12430"/>
                    <a:pt x="10171" y="10431"/>
                    <a:pt x="14044" y="5809"/>
                  </a:cubicBezTo>
                  <a:cubicBezTo>
                    <a:pt x="18166" y="4685"/>
                    <a:pt x="21102" y="1811"/>
                    <a:pt x="24725" y="0"/>
                  </a:cubicBezTo>
                  <a:cubicBezTo>
                    <a:pt x="24725" y="812"/>
                    <a:pt x="24975" y="1499"/>
                    <a:pt x="25787" y="1936"/>
                  </a:cubicBezTo>
                  <a:cubicBezTo>
                    <a:pt x="17979" y="7933"/>
                    <a:pt x="8735" y="12117"/>
                    <a:pt x="1177" y="18363"/>
                  </a:cubicBezTo>
                  <a:cubicBezTo>
                    <a:pt x="115" y="18738"/>
                    <a:pt x="-197" y="18363"/>
                    <a:pt x="115" y="17427"/>
                  </a:cubicBezTo>
                  <a:close/>
                </a:path>
              </a:pathLst>
            </a:custGeom>
            <a:grpFill/>
            <a:ln w="6246" cap="flat">
              <a:noFill/>
              <a:prstDash val="solid"/>
              <a:miter/>
            </a:ln>
          </p:spPr>
          <p:txBody>
            <a:bodyPr rtlCol="0" anchor="ctr"/>
            <a:lstStyle/>
            <a:p>
              <a:endParaRPr lang="fr-FR" sz="2400"/>
            </a:p>
          </p:txBody>
        </p:sp>
        <p:sp>
          <p:nvSpPr>
            <p:cNvPr id="439" name="Freeform: Shape 438">
              <a:extLst>
                <a:ext uri="{FF2B5EF4-FFF2-40B4-BE49-F238E27FC236}">
                  <a16:creationId xmlns:a16="http://schemas.microsoft.com/office/drawing/2014/main" id="{ABA6A55B-8C40-4CCC-95AA-53DF66E9469E}"/>
                </a:ext>
              </a:extLst>
            </p:cNvPr>
            <p:cNvSpPr/>
            <p:nvPr/>
          </p:nvSpPr>
          <p:spPr>
            <a:xfrm>
              <a:off x="1161299" y="439597"/>
              <a:ext cx="12492" cy="12492"/>
            </a:xfrm>
            <a:custGeom>
              <a:avLst/>
              <a:gdLst>
                <a:gd name="connsiteX0" fmla="*/ 17114 w 12492"/>
                <a:gd name="connsiteY0" fmla="*/ 0 h 12492"/>
                <a:gd name="connsiteX1" fmla="*/ 18176 w 12492"/>
                <a:gd name="connsiteY1" fmla="*/ 937 h 12492"/>
                <a:gd name="connsiteX2" fmla="*/ 12804 w 12492"/>
                <a:gd name="connsiteY2" fmla="*/ 5746 h 12492"/>
                <a:gd name="connsiteX3" fmla="*/ 5809 w 12492"/>
                <a:gd name="connsiteY3" fmla="*/ 12180 h 12492"/>
                <a:gd name="connsiteX4" fmla="*/ 0 w 12492"/>
                <a:gd name="connsiteY4" fmla="*/ 15428 h 12492"/>
                <a:gd name="connsiteX5" fmla="*/ 17114 w 12492"/>
                <a:gd name="connsiteY5"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7114" y="0"/>
                  </a:moveTo>
                  <a:cubicBezTo>
                    <a:pt x="17489" y="312"/>
                    <a:pt x="17801" y="625"/>
                    <a:pt x="18176" y="937"/>
                  </a:cubicBezTo>
                  <a:cubicBezTo>
                    <a:pt x="16427" y="2561"/>
                    <a:pt x="13929" y="3560"/>
                    <a:pt x="12804" y="5746"/>
                  </a:cubicBezTo>
                  <a:cubicBezTo>
                    <a:pt x="9994" y="7495"/>
                    <a:pt x="7995" y="9869"/>
                    <a:pt x="5809" y="12180"/>
                  </a:cubicBezTo>
                  <a:cubicBezTo>
                    <a:pt x="4435" y="13679"/>
                    <a:pt x="3623" y="16989"/>
                    <a:pt x="0" y="15428"/>
                  </a:cubicBezTo>
                  <a:cubicBezTo>
                    <a:pt x="5497" y="10181"/>
                    <a:pt x="10806" y="4622"/>
                    <a:pt x="17114" y="0"/>
                  </a:cubicBezTo>
                  <a:close/>
                </a:path>
              </a:pathLst>
            </a:custGeom>
            <a:grpFill/>
            <a:ln w="6246" cap="flat">
              <a:noFill/>
              <a:prstDash val="solid"/>
              <a:miter/>
            </a:ln>
          </p:spPr>
          <p:txBody>
            <a:bodyPr rtlCol="0" anchor="ctr"/>
            <a:lstStyle/>
            <a:p>
              <a:endParaRPr lang="fr-FR" sz="2400"/>
            </a:p>
          </p:txBody>
        </p:sp>
        <p:sp>
          <p:nvSpPr>
            <p:cNvPr id="440" name="Freeform: Shape 439">
              <a:extLst>
                <a:ext uri="{FF2B5EF4-FFF2-40B4-BE49-F238E27FC236}">
                  <a16:creationId xmlns:a16="http://schemas.microsoft.com/office/drawing/2014/main" id="{0ECB2904-D964-43C5-A192-FCF3AFAF146D}"/>
                </a:ext>
              </a:extLst>
            </p:cNvPr>
            <p:cNvSpPr/>
            <p:nvPr/>
          </p:nvSpPr>
          <p:spPr>
            <a:xfrm>
              <a:off x="1390404" y="545905"/>
              <a:ext cx="6246" cy="18738"/>
            </a:xfrm>
            <a:custGeom>
              <a:avLst/>
              <a:gdLst>
                <a:gd name="connsiteX0" fmla="*/ 3998 w 0"/>
                <a:gd name="connsiteY0" fmla="*/ 125 h 18738"/>
                <a:gd name="connsiteX1" fmla="*/ 0 w 0"/>
                <a:gd name="connsiteY1" fmla="*/ 22111 h 18738"/>
                <a:gd name="connsiteX2" fmla="*/ 2186 w 0"/>
                <a:gd name="connsiteY2" fmla="*/ 0 h 18738"/>
                <a:gd name="connsiteX3" fmla="*/ 3998 w 0"/>
                <a:gd name="connsiteY3" fmla="*/ 125 h 18738"/>
              </a:gdLst>
              <a:ahLst/>
              <a:cxnLst>
                <a:cxn ang="0">
                  <a:pos x="connsiteX0" y="connsiteY0"/>
                </a:cxn>
                <a:cxn ang="0">
                  <a:pos x="connsiteX1" y="connsiteY1"/>
                </a:cxn>
                <a:cxn ang="0">
                  <a:pos x="connsiteX2" y="connsiteY2"/>
                </a:cxn>
                <a:cxn ang="0">
                  <a:pos x="connsiteX3" y="connsiteY3"/>
                </a:cxn>
              </a:cxnLst>
              <a:rect l="l" t="t" r="r" b="b"/>
              <a:pathLst>
                <a:path h="18738">
                  <a:moveTo>
                    <a:pt x="3998" y="125"/>
                  </a:moveTo>
                  <a:cubicBezTo>
                    <a:pt x="3560" y="7495"/>
                    <a:pt x="3373" y="14928"/>
                    <a:pt x="0" y="22111"/>
                  </a:cubicBezTo>
                  <a:cubicBezTo>
                    <a:pt x="750" y="14741"/>
                    <a:pt x="1437" y="7370"/>
                    <a:pt x="2186" y="0"/>
                  </a:cubicBezTo>
                  <a:cubicBezTo>
                    <a:pt x="2811" y="62"/>
                    <a:pt x="3435" y="125"/>
                    <a:pt x="3998" y="125"/>
                  </a:cubicBezTo>
                  <a:close/>
                </a:path>
              </a:pathLst>
            </a:custGeom>
            <a:grpFill/>
            <a:ln w="6246" cap="flat">
              <a:noFill/>
              <a:prstDash val="solid"/>
              <a:miter/>
            </a:ln>
          </p:spPr>
          <p:txBody>
            <a:bodyPr rtlCol="0" anchor="ctr"/>
            <a:lstStyle/>
            <a:p>
              <a:endParaRPr lang="fr-FR" sz="2400"/>
            </a:p>
          </p:txBody>
        </p:sp>
        <p:sp>
          <p:nvSpPr>
            <p:cNvPr id="441" name="Freeform: Shape 440">
              <a:extLst>
                <a:ext uri="{FF2B5EF4-FFF2-40B4-BE49-F238E27FC236}">
                  <a16:creationId xmlns:a16="http://schemas.microsoft.com/office/drawing/2014/main" id="{CA2052A6-789A-47F5-AC29-C4FEE77074E0}"/>
                </a:ext>
              </a:extLst>
            </p:cNvPr>
            <p:cNvSpPr/>
            <p:nvPr/>
          </p:nvSpPr>
          <p:spPr>
            <a:xfrm>
              <a:off x="1373212" y="606617"/>
              <a:ext cx="6246" cy="6246"/>
            </a:xfrm>
            <a:custGeom>
              <a:avLst/>
              <a:gdLst>
                <a:gd name="connsiteX0" fmla="*/ 3389 w 0"/>
                <a:gd name="connsiteY0" fmla="*/ 0 h 0"/>
                <a:gd name="connsiteX1" fmla="*/ 16 w 0"/>
                <a:gd name="connsiteY1" fmla="*/ 3997 h 0"/>
                <a:gd name="connsiteX2" fmla="*/ 3389 w 0"/>
                <a:gd name="connsiteY2" fmla="*/ 0 h 0"/>
              </a:gdLst>
              <a:ahLst/>
              <a:cxnLst>
                <a:cxn ang="0">
                  <a:pos x="connsiteX0" y="connsiteY0"/>
                </a:cxn>
                <a:cxn ang="0">
                  <a:pos x="connsiteX1" y="connsiteY1"/>
                </a:cxn>
                <a:cxn ang="0">
                  <a:pos x="connsiteX2" y="connsiteY2"/>
                </a:cxn>
              </a:cxnLst>
              <a:rect l="l" t="t" r="r" b="b"/>
              <a:pathLst>
                <a:path>
                  <a:moveTo>
                    <a:pt x="3389" y="0"/>
                  </a:moveTo>
                  <a:cubicBezTo>
                    <a:pt x="3326" y="2061"/>
                    <a:pt x="1890" y="2998"/>
                    <a:pt x="16" y="3997"/>
                  </a:cubicBezTo>
                  <a:cubicBezTo>
                    <a:pt x="-234" y="1499"/>
                    <a:pt x="2515" y="1374"/>
                    <a:pt x="3389" y="0"/>
                  </a:cubicBezTo>
                  <a:close/>
                </a:path>
              </a:pathLst>
            </a:custGeom>
            <a:grpFill/>
            <a:ln w="6246" cap="flat">
              <a:noFill/>
              <a:prstDash val="solid"/>
              <a:miter/>
            </a:ln>
          </p:spPr>
          <p:txBody>
            <a:bodyPr rtlCol="0" anchor="ctr"/>
            <a:lstStyle/>
            <a:p>
              <a:endParaRPr lang="fr-FR" sz="2400"/>
            </a:p>
          </p:txBody>
        </p:sp>
        <p:sp>
          <p:nvSpPr>
            <p:cNvPr id="442" name="Freeform: Shape 441">
              <a:extLst>
                <a:ext uri="{FF2B5EF4-FFF2-40B4-BE49-F238E27FC236}">
                  <a16:creationId xmlns:a16="http://schemas.microsoft.com/office/drawing/2014/main" id="{F193F86F-2EC7-4525-917B-1C417F9C46D5}"/>
                </a:ext>
              </a:extLst>
            </p:cNvPr>
            <p:cNvSpPr/>
            <p:nvPr/>
          </p:nvSpPr>
          <p:spPr>
            <a:xfrm>
              <a:off x="1373165" y="611739"/>
              <a:ext cx="6246" cy="6246"/>
            </a:xfrm>
            <a:custGeom>
              <a:avLst/>
              <a:gdLst>
                <a:gd name="connsiteX0" fmla="*/ 0 w 0"/>
                <a:gd name="connsiteY0" fmla="*/ 2873 h 0"/>
                <a:gd name="connsiteX1" fmla="*/ 0 w 0"/>
                <a:gd name="connsiteY1" fmla="*/ 1936 h 0"/>
                <a:gd name="connsiteX2" fmla="*/ 3185 w 0"/>
                <a:gd name="connsiteY2" fmla="*/ 0 h 0"/>
                <a:gd name="connsiteX3" fmla="*/ 0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0" y="2873"/>
                  </a:moveTo>
                  <a:cubicBezTo>
                    <a:pt x="0" y="2561"/>
                    <a:pt x="0" y="2249"/>
                    <a:pt x="0" y="1936"/>
                  </a:cubicBezTo>
                  <a:cubicBezTo>
                    <a:pt x="625" y="687"/>
                    <a:pt x="1686" y="0"/>
                    <a:pt x="3185" y="0"/>
                  </a:cubicBezTo>
                  <a:cubicBezTo>
                    <a:pt x="2498" y="1249"/>
                    <a:pt x="1436" y="2249"/>
                    <a:pt x="0" y="2873"/>
                  </a:cubicBezTo>
                  <a:close/>
                </a:path>
              </a:pathLst>
            </a:custGeom>
            <a:grpFill/>
            <a:ln w="6246" cap="flat">
              <a:noFill/>
              <a:prstDash val="solid"/>
              <a:miter/>
            </a:ln>
          </p:spPr>
          <p:txBody>
            <a:bodyPr rtlCol="0" anchor="ctr"/>
            <a:lstStyle/>
            <a:p>
              <a:endParaRPr lang="fr-FR" sz="2400"/>
            </a:p>
          </p:txBody>
        </p:sp>
        <p:sp>
          <p:nvSpPr>
            <p:cNvPr id="443" name="Freeform: Shape 442">
              <a:extLst>
                <a:ext uri="{FF2B5EF4-FFF2-40B4-BE49-F238E27FC236}">
                  <a16:creationId xmlns:a16="http://schemas.microsoft.com/office/drawing/2014/main" id="{F1DC25D1-20CC-4AB1-BB32-82E424113216}"/>
                </a:ext>
              </a:extLst>
            </p:cNvPr>
            <p:cNvSpPr/>
            <p:nvPr/>
          </p:nvSpPr>
          <p:spPr>
            <a:xfrm>
              <a:off x="1287209" y="471232"/>
              <a:ext cx="74953" cy="68707"/>
            </a:xfrm>
            <a:custGeom>
              <a:avLst/>
              <a:gdLst>
                <a:gd name="connsiteX0" fmla="*/ 77399 w 74952"/>
                <a:gd name="connsiteY0" fmla="*/ 41882 h 68706"/>
                <a:gd name="connsiteX1" fmla="*/ 78960 w 74952"/>
                <a:gd name="connsiteY1" fmla="*/ 48627 h 68706"/>
                <a:gd name="connsiteX2" fmla="*/ 78461 w 74952"/>
                <a:gd name="connsiteY2" fmla="*/ 58309 h 68706"/>
                <a:gd name="connsiteX3" fmla="*/ 73089 w 74952"/>
                <a:gd name="connsiteY3" fmla="*/ 73799 h 68706"/>
                <a:gd name="connsiteX4" fmla="*/ 70903 w 74952"/>
                <a:gd name="connsiteY4" fmla="*/ 70676 h 68706"/>
                <a:gd name="connsiteX5" fmla="*/ 73027 w 74952"/>
                <a:gd name="connsiteY5" fmla="*/ 58059 h 68706"/>
                <a:gd name="connsiteX6" fmla="*/ 72589 w 74952"/>
                <a:gd name="connsiteY6" fmla="*/ 59058 h 68706"/>
                <a:gd name="connsiteX7" fmla="*/ 68217 w 74952"/>
                <a:gd name="connsiteY7" fmla="*/ 62993 h 68706"/>
                <a:gd name="connsiteX8" fmla="*/ 67842 w 74952"/>
                <a:gd name="connsiteY8" fmla="*/ 57934 h 68706"/>
                <a:gd name="connsiteX9" fmla="*/ 68405 w 74952"/>
                <a:gd name="connsiteY9" fmla="*/ 46754 h 68706"/>
                <a:gd name="connsiteX10" fmla="*/ 67655 w 74952"/>
                <a:gd name="connsiteY10" fmla="*/ 48752 h 68706"/>
                <a:gd name="connsiteX11" fmla="*/ 63033 w 74952"/>
                <a:gd name="connsiteY11" fmla="*/ 51501 h 68706"/>
                <a:gd name="connsiteX12" fmla="*/ 62033 w 74952"/>
                <a:gd name="connsiteY12" fmla="*/ 48877 h 68706"/>
                <a:gd name="connsiteX13" fmla="*/ 59972 w 74952"/>
                <a:gd name="connsiteY13" fmla="*/ 48565 h 68706"/>
                <a:gd name="connsiteX14" fmla="*/ 52290 w 74952"/>
                <a:gd name="connsiteY14" fmla="*/ 57997 h 68706"/>
                <a:gd name="connsiteX15" fmla="*/ 48480 w 74952"/>
                <a:gd name="connsiteY15" fmla="*/ 61494 h 68706"/>
                <a:gd name="connsiteX16" fmla="*/ 46856 w 74952"/>
                <a:gd name="connsiteY16" fmla="*/ 60120 h 68706"/>
                <a:gd name="connsiteX17" fmla="*/ 49791 w 74952"/>
                <a:gd name="connsiteY17" fmla="*/ 48065 h 68706"/>
                <a:gd name="connsiteX18" fmla="*/ 45731 w 74952"/>
                <a:gd name="connsiteY18" fmla="*/ 34761 h 68706"/>
                <a:gd name="connsiteX19" fmla="*/ 48667 w 74952"/>
                <a:gd name="connsiteY19" fmla="*/ 43943 h 68706"/>
                <a:gd name="connsiteX20" fmla="*/ 49604 w 74952"/>
                <a:gd name="connsiteY20" fmla="*/ 48190 h 68706"/>
                <a:gd name="connsiteX21" fmla="*/ 46856 w 74952"/>
                <a:gd name="connsiteY21" fmla="*/ 54624 h 68706"/>
                <a:gd name="connsiteX22" fmla="*/ 43233 w 74952"/>
                <a:gd name="connsiteY22" fmla="*/ 51313 h 68706"/>
                <a:gd name="connsiteX23" fmla="*/ 41172 w 74952"/>
                <a:gd name="connsiteY23" fmla="*/ 46129 h 68706"/>
                <a:gd name="connsiteX24" fmla="*/ 37486 w 74952"/>
                <a:gd name="connsiteY24" fmla="*/ 40882 h 68706"/>
                <a:gd name="connsiteX25" fmla="*/ 36612 w 74952"/>
                <a:gd name="connsiteY25" fmla="*/ 39883 h 68706"/>
                <a:gd name="connsiteX26" fmla="*/ 31678 w 74952"/>
                <a:gd name="connsiteY26" fmla="*/ 34511 h 68706"/>
                <a:gd name="connsiteX27" fmla="*/ 29929 w 74952"/>
                <a:gd name="connsiteY27" fmla="*/ 30264 h 68706"/>
                <a:gd name="connsiteX28" fmla="*/ 33177 w 74952"/>
                <a:gd name="connsiteY28" fmla="*/ 29764 h 68706"/>
                <a:gd name="connsiteX29" fmla="*/ 29491 w 74952"/>
                <a:gd name="connsiteY29" fmla="*/ 26204 h 68706"/>
                <a:gd name="connsiteX30" fmla="*/ 23995 w 74952"/>
                <a:gd name="connsiteY30" fmla="*/ 22394 h 68706"/>
                <a:gd name="connsiteX31" fmla="*/ 16312 w 74952"/>
                <a:gd name="connsiteY31" fmla="*/ 18584 h 68706"/>
                <a:gd name="connsiteX32" fmla="*/ 21871 w 74952"/>
                <a:gd name="connsiteY32" fmla="*/ 16897 h 68706"/>
                <a:gd name="connsiteX33" fmla="*/ 33739 w 74952"/>
                <a:gd name="connsiteY33" fmla="*/ 21894 h 68706"/>
                <a:gd name="connsiteX34" fmla="*/ 40859 w 74952"/>
                <a:gd name="connsiteY34" fmla="*/ 26516 h 68706"/>
                <a:gd name="connsiteX35" fmla="*/ 46481 w 74952"/>
                <a:gd name="connsiteY35" fmla="*/ 29702 h 68706"/>
                <a:gd name="connsiteX36" fmla="*/ 41359 w 74952"/>
                <a:gd name="connsiteY36" fmla="*/ 26391 h 68706"/>
                <a:gd name="connsiteX37" fmla="*/ 36300 w 74952"/>
                <a:gd name="connsiteY37" fmla="*/ 21332 h 68706"/>
                <a:gd name="connsiteX38" fmla="*/ 39860 w 74952"/>
                <a:gd name="connsiteY38" fmla="*/ 20145 h 68706"/>
                <a:gd name="connsiteX39" fmla="*/ 29741 w 74952"/>
                <a:gd name="connsiteY39" fmla="*/ 18209 h 68706"/>
                <a:gd name="connsiteX40" fmla="*/ 24370 w 74952"/>
                <a:gd name="connsiteY40" fmla="*/ 16835 h 68706"/>
                <a:gd name="connsiteX41" fmla="*/ 9129 w 74952"/>
                <a:gd name="connsiteY41" fmla="*/ 16960 h 68706"/>
                <a:gd name="connsiteX42" fmla="*/ 4257 w 74952"/>
                <a:gd name="connsiteY42" fmla="*/ 14899 h 68706"/>
                <a:gd name="connsiteX43" fmla="*/ 4070 w 74952"/>
                <a:gd name="connsiteY43" fmla="*/ 14149 h 68706"/>
                <a:gd name="connsiteX44" fmla="*/ 3633 w 74952"/>
                <a:gd name="connsiteY44" fmla="*/ 14961 h 68706"/>
                <a:gd name="connsiteX45" fmla="*/ 10 w 74952"/>
                <a:gd name="connsiteY45" fmla="*/ 14461 h 68706"/>
                <a:gd name="connsiteX46" fmla="*/ 1946 w 74952"/>
                <a:gd name="connsiteY46" fmla="*/ 11276 h 68706"/>
                <a:gd name="connsiteX47" fmla="*/ 26868 w 74952"/>
                <a:gd name="connsiteY47" fmla="*/ 720 h 68706"/>
                <a:gd name="connsiteX48" fmla="*/ 62346 w 74952"/>
                <a:gd name="connsiteY48" fmla="*/ 8902 h 68706"/>
                <a:gd name="connsiteX49" fmla="*/ 65719 w 74952"/>
                <a:gd name="connsiteY49" fmla="*/ 13150 h 68706"/>
                <a:gd name="connsiteX50" fmla="*/ 71652 w 74952"/>
                <a:gd name="connsiteY50" fmla="*/ 23893 h 68706"/>
                <a:gd name="connsiteX51" fmla="*/ 71965 w 74952"/>
                <a:gd name="connsiteY51" fmla="*/ 27391 h 68706"/>
                <a:gd name="connsiteX52" fmla="*/ 71403 w 74952"/>
                <a:gd name="connsiteY52" fmla="*/ 28640 h 68706"/>
                <a:gd name="connsiteX53" fmla="*/ 77399 w 74952"/>
                <a:gd name="connsiteY53" fmla="*/ 41882 h 6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4952" h="68706">
                  <a:moveTo>
                    <a:pt x="77399" y="41882"/>
                  </a:moveTo>
                  <a:cubicBezTo>
                    <a:pt x="77399" y="44193"/>
                    <a:pt x="77586" y="46316"/>
                    <a:pt x="78960" y="48627"/>
                  </a:cubicBezTo>
                  <a:cubicBezTo>
                    <a:pt x="80834" y="51626"/>
                    <a:pt x="78773" y="55061"/>
                    <a:pt x="78461" y="58309"/>
                  </a:cubicBezTo>
                  <a:cubicBezTo>
                    <a:pt x="78148" y="63868"/>
                    <a:pt x="75025" y="68677"/>
                    <a:pt x="73089" y="73799"/>
                  </a:cubicBezTo>
                  <a:cubicBezTo>
                    <a:pt x="70591" y="73799"/>
                    <a:pt x="71153" y="71988"/>
                    <a:pt x="70903" y="70676"/>
                  </a:cubicBezTo>
                  <a:cubicBezTo>
                    <a:pt x="70091" y="65991"/>
                    <a:pt x="71340" y="61557"/>
                    <a:pt x="73027" y="58059"/>
                  </a:cubicBezTo>
                  <a:cubicBezTo>
                    <a:pt x="73089" y="57872"/>
                    <a:pt x="72902" y="58434"/>
                    <a:pt x="72589" y="59058"/>
                  </a:cubicBezTo>
                  <a:cubicBezTo>
                    <a:pt x="71652" y="60932"/>
                    <a:pt x="70965" y="63805"/>
                    <a:pt x="68217" y="62993"/>
                  </a:cubicBezTo>
                  <a:cubicBezTo>
                    <a:pt x="65656" y="62244"/>
                    <a:pt x="67343" y="59620"/>
                    <a:pt x="67842" y="57934"/>
                  </a:cubicBezTo>
                  <a:cubicBezTo>
                    <a:pt x="68967" y="53937"/>
                    <a:pt x="66156" y="49689"/>
                    <a:pt x="68405" y="46754"/>
                  </a:cubicBezTo>
                  <a:cubicBezTo>
                    <a:pt x="68405" y="46816"/>
                    <a:pt x="68529" y="47940"/>
                    <a:pt x="67655" y="48752"/>
                  </a:cubicBezTo>
                  <a:cubicBezTo>
                    <a:pt x="65344" y="48627"/>
                    <a:pt x="65844" y="52313"/>
                    <a:pt x="63033" y="51501"/>
                  </a:cubicBezTo>
                  <a:cubicBezTo>
                    <a:pt x="62283" y="50751"/>
                    <a:pt x="62158" y="49814"/>
                    <a:pt x="62033" y="48877"/>
                  </a:cubicBezTo>
                  <a:cubicBezTo>
                    <a:pt x="61784" y="46816"/>
                    <a:pt x="60659" y="48627"/>
                    <a:pt x="59972" y="48565"/>
                  </a:cubicBezTo>
                  <a:cubicBezTo>
                    <a:pt x="57411" y="51688"/>
                    <a:pt x="54413" y="54561"/>
                    <a:pt x="52290" y="57997"/>
                  </a:cubicBezTo>
                  <a:cubicBezTo>
                    <a:pt x="51353" y="59433"/>
                    <a:pt x="50791" y="61307"/>
                    <a:pt x="48480" y="61494"/>
                  </a:cubicBezTo>
                  <a:cubicBezTo>
                    <a:pt x="47730" y="61244"/>
                    <a:pt x="47168" y="60807"/>
                    <a:pt x="46856" y="60120"/>
                  </a:cubicBezTo>
                  <a:cubicBezTo>
                    <a:pt x="46856" y="55935"/>
                    <a:pt x="48854" y="52063"/>
                    <a:pt x="49791" y="48065"/>
                  </a:cubicBezTo>
                  <a:cubicBezTo>
                    <a:pt x="50978" y="43256"/>
                    <a:pt x="49292" y="39446"/>
                    <a:pt x="45731" y="34761"/>
                  </a:cubicBezTo>
                  <a:cubicBezTo>
                    <a:pt x="45856" y="38821"/>
                    <a:pt x="44982" y="41944"/>
                    <a:pt x="48667" y="43943"/>
                  </a:cubicBezTo>
                  <a:cubicBezTo>
                    <a:pt x="50666" y="45005"/>
                    <a:pt x="50103" y="46629"/>
                    <a:pt x="49604" y="48190"/>
                  </a:cubicBezTo>
                  <a:cubicBezTo>
                    <a:pt x="48917" y="50439"/>
                    <a:pt x="48979" y="52937"/>
                    <a:pt x="46856" y="54624"/>
                  </a:cubicBezTo>
                  <a:cubicBezTo>
                    <a:pt x="44732" y="54311"/>
                    <a:pt x="42858" y="53312"/>
                    <a:pt x="43233" y="51313"/>
                  </a:cubicBezTo>
                  <a:cubicBezTo>
                    <a:pt x="43608" y="49065"/>
                    <a:pt x="41796" y="47878"/>
                    <a:pt x="41172" y="46129"/>
                  </a:cubicBezTo>
                  <a:cubicBezTo>
                    <a:pt x="40609" y="44005"/>
                    <a:pt x="39110" y="42381"/>
                    <a:pt x="37486" y="40882"/>
                  </a:cubicBezTo>
                  <a:cubicBezTo>
                    <a:pt x="37174" y="40570"/>
                    <a:pt x="36862" y="40195"/>
                    <a:pt x="36612" y="39883"/>
                  </a:cubicBezTo>
                  <a:cubicBezTo>
                    <a:pt x="35300" y="37822"/>
                    <a:pt x="33926" y="35823"/>
                    <a:pt x="31678" y="34511"/>
                  </a:cubicBezTo>
                  <a:cubicBezTo>
                    <a:pt x="30428" y="33325"/>
                    <a:pt x="29429" y="32013"/>
                    <a:pt x="29929" y="30264"/>
                  </a:cubicBezTo>
                  <a:cubicBezTo>
                    <a:pt x="30803" y="29452"/>
                    <a:pt x="31865" y="29202"/>
                    <a:pt x="33177" y="29764"/>
                  </a:cubicBezTo>
                  <a:cubicBezTo>
                    <a:pt x="31490" y="28827"/>
                    <a:pt x="30741" y="27266"/>
                    <a:pt x="29491" y="26204"/>
                  </a:cubicBezTo>
                  <a:cubicBezTo>
                    <a:pt x="28055" y="24455"/>
                    <a:pt x="26056" y="23331"/>
                    <a:pt x="23995" y="22394"/>
                  </a:cubicBezTo>
                  <a:cubicBezTo>
                    <a:pt x="21497" y="21020"/>
                    <a:pt x="18311" y="20770"/>
                    <a:pt x="16312" y="18584"/>
                  </a:cubicBezTo>
                  <a:cubicBezTo>
                    <a:pt x="17249" y="15461"/>
                    <a:pt x="19810" y="16772"/>
                    <a:pt x="21871" y="16897"/>
                  </a:cubicBezTo>
                  <a:cubicBezTo>
                    <a:pt x="26618" y="17085"/>
                    <a:pt x="29304" y="21207"/>
                    <a:pt x="33739" y="21894"/>
                  </a:cubicBezTo>
                  <a:cubicBezTo>
                    <a:pt x="37049" y="22269"/>
                    <a:pt x="38861" y="24518"/>
                    <a:pt x="40859" y="26516"/>
                  </a:cubicBezTo>
                  <a:cubicBezTo>
                    <a:pt x="42234" y="28203"/>
                    <a:pt x="43857" y="29514"/>
                    <a:pt x="46481" y="29702"/>
                  </a:cubicBezTo>
                  <a:cubicBezTo>
                    <a:pt x="44794" y="28390"/>
                    <a:pt x="43358" y="27016"/>
                    <a:pt x="41359" y="26391"/>
                  </a:cubicBezTo>
                  <a:cubicBezTo>
                    <a:pt x="39360" y="24955"/>
                    <a:pt x="37112" y="23706"/>
                    <a:pt x="36300" y="21332"/>
                  </a:cubicBezTo>
                  <a:cubicBezTo>
                    <a:pt x="36924" y="19521"/>
                    <a:pt x="38486" y="20083"/>
                    <a:pt x="39860" y="20145"/>
                  </a:cubicBezTo>
                  <a:cubicBezTo>
                    <a:pt x="36362" y="19895"/>
                    <a:pt x="33114" y="18896"/>
                    <a:pt x="29741" y="18209"/>
                  </a:cubicBezTo>
                  <a:cubicBezTo>
                    <a:pt x="27867" y="18022"/>
                    <a:pt x="26119" y="17397"/>
                    <a:pt x="24370" y="16835"/>
                  </a:cubicBezTo>
                  <a:cubicBezTo>
                    <a:pt x="19248" y="15836"/>
                    <a:pt x="14251" y="15898"/>
                    <a:pt x="9129" y="16960"/>
                  </a:cubicBezTo>
                  <a:cubicBezTo>
                    <a:pt x="7193" y="17397"/>
                    <a:pt x="4257" y="18771"/>
                    <a:pt x="4257" y="14899"/>
                  </a:cubicBezTo>
                  <a:cubicBezTo>
                    <a:pt x="4257" y="14649"/>
                    <a:pt x="4507" y="14337"/>
                    <a:pt x="4070" y="14149"/>
                  </a:cubicBezTo>
                  <a:cubicBezTo>
                    <a:pt x="4070" y="14461"/>
                    <a:pt x="3945" y="14774"/>
                    <a:pt x="3633" y="14961"/>
                  </a:cubicBezTo>
                  <a:cubicBezTo>
                    <a:pt x="2259" y="15836"/>
                    <a:pt x="1009" y="15773"/>
                    <a:pt x="10" y="14461"/>
                  </a:cubicBezTo>
                  <a:cubicBezTo>
                    <a:pt x="-115" y="13025"/>
                    <a:pt x="947" y="12150"/>
                    <a:pt x="1946" y="11276"/>
                  </a:cubicBezTo>
                  <a:cubicBezTo>
                    <a:pt x="9754" y="6841"/>
                    <a:pt x="17124" y="1532"/>
                    <a:pt x="26868" y="720"/>
                  </a:cubicBezTo>
                  <a:cubicBezTo>
                    <a:pt x="40172" y="-1716"/>
                    <a:pt x="51603" y="2282"/>
                    <a:pt x="62346" y="8902"/>
                  </a:cubicBezTo>
                  <a:cubicBezTo>
                    <a:pt x="63970" y="9902"/>
                    <a:pt x="64907" y="11588"/>
                    <a:pt x="65719" y="13150"/>
                  </a:cubicBezTo>
                  <a:cubicBezTo>
                    <a:pt x="67530" y="16772"/>
                    <a:pt x="69154" y="20520"/>
                    <a:pt x="71652" y="23893"/>
                  </a:cubicBezTo>
                  <a:cubicBezTo>
                    <a:pt x="72464" y="24955"/>
                    <a:pt x="73089" y="26142"/>
                    <a:pt x="71965" y="27391"/>
                  </a:cubicBezTo>
                  <a:cubicBezTo>
                    <a:pt x="71777" y="27828"/>
                    <a:pt x="71278" y="28578"/>
                    <a:pt x="71403" y="28640"/>
                  </a:cubicBezTo>
                  <a:cubicBezTo>
                    <a:pt x="76212" y="32075"/>
                    <a:pt x="73963" y="38009"/>
                    <a:pt x="77399" y="41882"/>
                  </a:cubicBezTo>
                  <a:close/>
                </a:path>
              </a:pathLst>
            </a:custGeom>
            <a:grpFill/>
            <a:ln w="6246" cap="flat">
              <a:noFill/>
              <a:prstDash val="solid"/>
              <a:miter/>
            </a:ln>
          </p:spPr>
          <p:txBody>
            <a:bodyPr rtlCol="0" anchor="ctr"/>
            <a:lstStyle/>
            <a:p>
              <a:endParaRPr lang="fr-FR" sz="2400"/>
            </a:p>
          </p:txBody>
        </p:sp>
        <p:sp>
          <p:nvSpPr>
            <p:cNvPr id="444" name="Freeform: Shape 443">
              <a:extLst>
                <a:ext uri="{FF2B5EF4-FFF2-40B4-BE49-F238E27FC236}">
                  <a16:creationId xmlns:a16="http://schemas.microsoft.com/office/drawing/2014/main" id="{A247E5C6-05B9-4E86-AE6D-60371AE3FEA2}"/>
                </a:ext>
              </a:extLst>
            </p:cNvPr>
            <p:cNvSpPr/>
            <p:nvPr/>
          </p:nvSpPr>
          <p:spPr>
            <a:xfrm>
              <a:off x="1326972" y="514737"/>
              <a:ext cx="31230" cy="62461"/>
            </a:xfrm>
            <a:custGeom>
              <a:avLst/>
              <a:gdLst>
                <a:gd name="connsiteX0" fmla="*/ 26955 w 31230"/>
                <a:gd name="connsiteY0" fmla="*/ 5122 h 62460"/>
                <a:gd name="connsiteX1" fmla="*/ 29454 w 31230"/>
                <a:gd name="connsiteY1" fmla="*/ 0 h 62460"/>
                <a:gd name="connsiteX2" fmla="*/ 27830 w 31230"/>
                <a:gd name="connsiteY2" fmla="*/ 19613 h 62460"/>
                <a:gd name="connsiteX3" fmla="*/ 34950 w 31230"/>
                <a:gd name="connsiteY3" fmla="*/ 9806 h 62460"/>
                <a:gd name="connsiteX4" fmla="*/ 33388 w 31230"/>
                <a:gd name="connsiteY4" fmla="*/ 30293 h 62460"/>
                <a:gd name="connsiteX5" fmla="*/ 26955 w 31230"/>
                <a:gd name="connsiteY5" fmla="*/ 45784 h 62460"/>
                <a:gd name="connsiteX6" fmla="*/ 23894 w 31230"/>
                <a:gd name="connsiteY6" fmla="*/ 49844 h 62460"/>
                <a:gd name="connsiteX7" fmla="*/ 21708 w 31230"/>
                <a:gd name="connsiteY7" fmla="*/ 49594 h 62460"/>
                <a:gd name="connsiteX8" fmla="*/ 14026 w 31230"/>
                <a:gd name="connsiteY8" fmla="*/ 57464 h 62460"/>
                <a:gd name="connsiteX9" fmla="*/ 3407 w 31230"/>
                <a:gd name="connsiteY9" fmla="*/ 66146 h 62460"/>
                <a:gd name="connsiteX10" fmla="*/ 472 w 31230"/>
                <a:gd name="connsiteY10" fmla="*/ 66146 h 62460"/>
                <a:gd name="connsiteX11" fmla="*/ 909 w 31230"/>
                <a:gd name="connsiteY11" fmla="*/ 63585 h 62460"/>
                <a:gd name="connsiteX12" fmla="*/ 16462 w 31230"/>
                <a:gd name="connsiteY12" fmla="*/ 47220 h 62460"/>
                <a:gd name="connsiteX13" fmla="*/ 18335 w 31230"/>
                <a:gd name="connsiteY13" fmla="*/ 42223 h 62460"/>
                <a:gd name="connsiteX14" fmla="*/ 21271 w 31230"/>
                <a:gd name="connsiteY14" fmla="*/ 36227 h 62460"/>
                <a:gd name="connsiteX15" fmla="*/ 18086 w 31230"/>
                <a:gd name="connsiteY15" fmla="*/ 41162 h 62460"/>
                <a:gd name="connsiteX16" fmla="*/ 15400 w 31230"/>
                <a:gd name="connsiteY16" fmla="*/ 42723 h 62460"/>
                <a:gd name="connsiteX17" fmla="*/ 15025 w 31230"/>
                <a:gd name="connsiteY17" fmla="*/ 39663 h 62460"/>
                <a:gd name="connsiteX18" fmla="*/ 16836 w 31230"/>
                <a:gd name="connsiteY18" fmla="*/ 35665 h 62460"/>
                <a:gd name="connsiteX19" fmla="*/ 25893 w 31230"/>
                <a:gd name="connsiteY19" fmla="*/ 8307 h 62460"/>
                <a:gd name="connsiteX20" fmla="*/ 26955 w 31230"/>
                <a:gd name="connsiteY20" fmla="*/ 5122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30" h="62460">
                  <a:moveTo>
                    <a:pt x="26955" y="5122"/>
                  </a:moveTo>
                  <a:cubicBezTo>
                    <a:pt x="28642" y="4185"/>
                    <a:pt x="27517" y="2373"/>
                    <a:pt x="29454" y="0"/>
                  </a:cubicBezTo>
                  <a:cubicBezTo>
                    <a:pt x="28766" y="7121"/>
                    <a:pt x="31640" y="12992"/>
                    <a:pt x="27830" y="19613"/>
                  </a:cubicBezTo>
                  <a:cubicBezTo>
                    <a:pt x="32701" y="16927"/>
                    <a:pt x="32202" y="12555"/>
                    <a:pt x="34950" y="9806"/>
                  </a:cubicBezTo>
                  <a:cubicBezTo>
                    <a:pt x="34200" y="16677"/>
                    <a:pt x="30828" y="23298"/>
                    <a:pt x="33388" y="30293"/>
                  </a:cubicBezTo>
                  <a:cubicBezTo>
                    <a:pt x="31640" y="35603"/>
                    <a:pt x="27830" y="40162"/>
                    <a:pt x="26955" y="45784"/>
                  </a:cubicBezTo>
                  <a:cubicBezTo>
                    <a:pt x="25643" y="46970"/>
                    <a:pt x="26830" y="49656"/>
                    <a:pt x="23894" y="49844"/>
                  </a:cubicBezTo>
                  <a:cubicBezTo>
                    <a:pt x="23457" y="47970"/>
                    <a:pt x="22583" y="48844"/>
                    <a:pt x="21708" y="49594"/>
                  </a:cubicBezTo>
                  <a:cubicBezTo>
                    <a:pt x="18211" y="51530"/>
                    <a:pt x="16586" y="54840"/>
                    <a:pt x="14026" y="57464"/>
                  </a:cubicBezTo>
                  <a:cubicBezTo>
                    <a:pt x="10840" y="60712"/>
                    <a:pt x="7780" y="64085"/>
                    <a:pt x="3407" y="66146"/>
                  </a:cubicBezTo>
                  <a:cubicBezTo>
                    <a:pt x="2471" y="66583"/>
                    <a:pt x="1284" y="66958"/>
                    <a:pt x="472" y="66146"/>
                  </a:cubicBezTo>
                  <a:cubicBezTo>
                    <a:pt x="-465" y="65271"/>
                    <a:pt x="160" y="64147"/>
                    <a:pt x="909" y="63585"/>
                  </a:cubicBezTo>
                  <a:cubicBezTo>
                    <a:pt x="6718" y="58588"/>
                    <a:pt x="9716" y="51530"/>
                    <a:pt x="16462" y="47220"/>
                  </a:cubicBezTo>
                  <a:cubicBezTo>
                    <a:pt x="18335" y="46033"/>
                    <a:pt x="19835" y="44972"/>
                    <a:pt x="18335" y="42223"/>
                  </a:cubicBezTo>
                  <a:cubicBezTo>
                    <a:pt x="17274" y="40225"/>
                    <a:pt x="20834" y="38538"/>
                    <a:pt x="21271" y="36227"/>
                  </a:cubicBezTo>
                  <a:cubicBezTo>
                    <a:pt x="20584" y="38101"/>
                    <a:pt x="19147" y="39538"/>
                    <a:pt x="18086" y="41162"/>
                  </a:cubicBezTo>
                  <a:cubicBezTo>
                    <a:pt x="17461" y="42098"/>
                    <a:pt x="16899" y="43473"/>
                    <a:pt x="15400" y="42723"/>
                  </a:cubicBezTo>
                  <a:cubicBezTo>
                    <a:pt x="14088" y="42036"/>
                    <a:pt x="14713" y="40724"/>
                    <a:pt x="15025" y="39663"/>
                  </a:cubicBezTo>
                  <a:cubicBezTo>
                    <a:pt x="15462" y="38288"/>
                    <a:pt x="16149" y="36977"/>
                    <a:pt x="16836" y="35665"/>
                  </a:cubicBezTo>
                  <a:cubicBezTo>
                    <a:pt x="21521" y="26983"/>
                    <a:pt x="26268" y="18363"/>
                    <a:pt x="25893" y="8307"/>
                  </a:cubicBezTo>
                  <a:cubicBezTo>
                    <a:pt x="25706" y="7121"/>
                    <a:pt x="25706" y="5871"/>
                    <a:pt x="26955" y="5122"/>
                  </a:cubicBezTo>
                  <a:close/>
                </a:path>
              </a:pathLst>
            </a:custGeom>
            <a:grpFill/>
            <a:ln w="6246" cap="flat">
              <a:noFill/>
              <a:prstDash val="solid"/>
              <a:miter/>
            </a:ln>
          </p:spPr>
          <p:txBody>
            <a:bodyPr rtlCol="0" anchor="ctr"/>
            <a:lstStyle/>
            <a:p>
              <a:endParaRPr lang="fr-FR" sz="2400"/>
            </a:p>
          </p:txBody>
        </p:sp>
        <p:sp>
          <p:nvSpPr>
            <p:cNvPr id="445" name="Freeform: Shape 444">
              <a:extLst>
                <a:ext uri="{FF2B5EF4-FFF2-40B4-BE49-F238E27FC236}">
                  <a16:creationId xmlns:a16="http://schemas.microsoft.com/office/drawing/2014/main" id="{1FFB381B-374C-4956-B477-E469C446E115}"/>
                </a:ext>
              </a:extLst>
            </p:cNvPr>
            <p:cNvSpPr/>
            <p:nvPr/>
          </p:nvSpPr>
          <p:spPr>
            <a:xfrm>
              <a:off x="1325758" y="564331"/>
              <a:ext cx="31230" cy="49969"/>
            </a:xfrm>
            <a:custGeom>
              <a:avLst/>
              <a:gdLst>
                <a:gd name="connsiteX0" fmla="*/ 28170 w 31230"/>
                <a:gd name="connsiteY0" fmla="*/ 0 h 49968"/>
                <a:gd name="connsiteX1" fmla="*/ 31355 w 31230"/>
                <a:gd name="connsiteY1" fmla="*/ 0 h 49968"/>
                <a:gd name="connsiteX2" fmla="*/ 32230 w 31230"/>
                <a:gd name="connsiteY2" fmla="*/ 10493 h 49968"/>
                <a:gd name="connsiteX3" fmla="*/ 31418 w 31230"/>
                <a:gd name="connsiteY3" fmla="*/ 15927 h 49968"/>
                <a:gd name="connsiteX4" fmla="*/ 30918 w 31230"/>
                <a:gd name="connsiteY4" fmla="*/ 17239 h 49968"/>
                <a:gd name="connsiteX5" fmla="*/ 29544 w 31230"/>
                <a:gd name="connsiteY5" fmla="*/ 21362 h 49968"/>
                <a:gd name="connsiteX6" fmla="*/ 21799 w 31230"/>
                <a:gd name="connsiteY6" fmla="*/ 34228 h 49968"/>
                <a:gd name="connsiteX7" fmla="*/ 16240 w 31230"/>
                <a:gd name="connsiteY7" fmla="*/ 42848 h 49968"/>
                <a:gd name="connsiteX8" fmla="*/ 14616 w 31230"/>
                <a:gd name="connsiteY8" fmla="*/ 44222 h 49968"/>
                <a:gd name="connsiteX9" fmla="*/ 6933 w 31230"/>
                <a:gd name="connsiteY9" fmla="*/ 51155 h 49968"/>
                <a:gd name="connsiteX10" fmla="*/ 0 w 31230"/>
                <a:gd name="connsiteY10" fmla="*/ 52592 h 49968"/>
                <a:gd name="connsiteX11" fmla="*/ 5059 w 31230"/>
                <a:gd name="connsiteY11" fmla="*/ 46721 h 49968"/>
                <a:gd name="connsiteX12" fmla="*/ 10243 w 31230"/>
                <a:gd name="connsiteY12" fmla="*/ 39225 h 49968"/>
                <a:gd name="connsiteX13" fmla="*/ 17614 w 31230"/>
                <a:gd name="connsiteY13" fmla="*/ 26858 h 49968"/>
                <a:gd name="connsiteX14" fmla="*/ 23548 w 31230"/>
                <a:gd name="connsiteY14" fmla="*/ 13741 h 49968"/>
                <a:gd name="connsiteX15" fmla="*/ 28170 w 31230"/>
                <a:gd name="connsiteY15" fmla="*/ 0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30" h="49968">
                  <a:moveTo>
                    <a:pt x="28170" y="0"/>
                  </a:moveTo>
                  <a:cubicBezTo>
                    <a:pt x="29232" y="562"/>
                    <a:pt x="30293" y="562"/>
                    <a:pt x="31355" y="0"/>
                  </a:cubicBezTo>
                  <a:cubicBezTo>
                    <a:pt x="34166" y="3310"/>
                    <a:pt x="30606" y="7058"/>
                    <a:pt x="32230" y="10493"/>
                  </a:cubicBezTo>
                  <a:cubicBezTo>
                    <a:pt x="32479" y="12367"/>
                    <a:pt x="31730" y="14116"/>
                    <a:pt x="31418" y="15927"/>
                  </a:cubicBezTo>
                  <a:cubicBezTo>
                    <a:pt x="31293" y="16365"/>
                    <a:pt x="31105" y="16802"/>
                    <a:pt x="30918" y="17239"/>
                  </a:cubicBezTo>
                  <a:cubicBezTo>
                    <a:pt x="30293" y="18551"/>
                    <a:pt x="29606" y="19862"/>
                    <a:pt x="29544" y="21362"/>
                  </a:cubicBezTo>
                  <a:cubicBezTo>
                    <a:pt x="29294" y="26796"/>
                    <a:pt x="26671" y="30856"/>
                    <a:pt x="21799" y="34228"/>
                  </a:cubicBezTo>
                  <a:cubicBezTo>
                    <a:pt x="18926" y="36227"/>
                    <a:pt x="18926" y="40350"/>
                    <a:pt x="16240" y="42848"/>
                  </a:cubicBezTo>
                  <a:cubicBezTo>
                    <a:pt x="15740" y="43348"/>
                    <a:pt x="15240" y="43847"/>
                    <a:pt x="14616" y="44222"/>
                  </a:cubicBezTo>
                  <a:cubicBezTo>
                    <a:pt x="11555" y="46096"/>
                    <a:pt x="9994" y="49344"/>
                    <a:pt x="6933" y="51155"/>
                  </a:cubicBezTo>
                  <a:cubicBezTo>
                    <a:pt x="4622" y="51717"/>
                    <a:pt x="3185" y="55590"/>
                    <a:pt x="0" y="52592"/>
                  </a:cubicBezTo>
                  <a:cubicBezTo>
                    <a:pt x="562" y="49844"/>
                    <a:pt x="3310" y="48657"/>
                    <a:pt x="5059" y="46721"/>
                  </a:cubicBezTo>
                  <a:cubicBezTo>
                    <a:pt x="7183" y="44410"/>
                    <a:pt x="9681" y="42348"/>
                    <a:pt x="10243" y="39225"/>
                  </a:cubicBezTo>
                  <a:cubicBezTo>
                    <a:pt x="11805" y="34666"/>
                    <a:pt x="15740" y="31293"/>
                    <a:pt x="17614" y="26858"/>
                  </a:cubicBezTo>
                  <a:cubicBezTo>
                    <a:pt x="23173" y="23798"/>
                    <a:pt x="24734" y="19300"/>
                    <a:pt x="23548" y="13741"/>
                  </a:cubicBezTo>
                  <a:cubicBezTo>
                    <a:pt x="25172" y="9182"/>
                    <a:pt x="25734" y="4310"/>
                    <a:pt x="28170" y="0"/>
                  </a:cubicBezTo>
                  <a:close/>
                </a:path>
              </a:pathLst>
            </a:custGeom>
            <a:grpFill/>
            <a:ln w="6246" cap="flat">
              <a:noFill/>
              <a:prstDash val="solid"/>
              <a:miter/>
            </a:ln>
          </p:spPr>
          <p:txBody>
            <a:bodyPr rtlCol="0" anchor="ctr"/>
            <a:lstStyle/>
            <a:p>
              <a:endParaRPr lang="fr-FR" sz="2400"/>
            </a:p>
          </p:txBody>
        </p:sp>
        <p:sp>
          <p:nvSpPr>
            <p:cNvPr id="446" name="Freeform: Shape 445">
              <a:extLst>
                <a:ext uri="{FF2B5EF4-FFF2-40B4-BE49-F238E27FC236}">
                  <a16:creationId xmlns:a16="http://schemas.microsoft.com/office/drawing/2014/main" id="{A5920B30-D314-4347-BC24-D98EEB05BE9E}"/>
                </a:ext>
              </a:extLst>
            </p:cNvPr>
            <p:cNvSpPr/>
            <p:nvPr/>
          </p:nvSpPr>
          <p:spPr>
            <a:xfrm>
              <a:off x="1354536" y="555711"/>
              <a:ext cx="12492" cy="31230"/>
            </a:xfrm>
            <a:custGeom>
              <a:avLst/>
              <a:gdLst>
                <a:gd name="connsiteX0" fmla="*/ 1515 w 12492"/>
                <a:gd name="connsiteY0" fmla="*/ 36664 h 31230"/>
                <a:gd name="connsiteX1" fmla="*/ 1515 w 12492"/>
                <a:gd name="connsiteY1" fmla="*/ 35728 h 31230"/>
                <a:gd name="connsiteX2" fmla="*/ 1515 w 12492"/>
                <a:gd name="connsiteY2" fmla="*/ 25109 h 31230"/>
                <a:gd name="connsiteX3" fmla="*/ 1515 w 12492"/>
                <a:gd name="connsiteY3" fmla="*/ 25109 h 31230"/>
                <a:gd name="connsiteX4" fmla="*/ 5388 w 12492"/>
                <a:gd name="connsiteY4" fmla="*/ 14866 h 31230"/>
                <a:gd name="connsiteX5" fmla="*/ 4701 w 12492"/>
                <a:gd name="connsiteY5" fmla="*/ 8057 h 31230"/>
                <a:gd name="connsiteX6" fmla="*/ 4701 w 12492"/>
                <a:gd name="connsiteY6" fmla="*/ 0 h 31230"/>
                <a:gd name="connsiteX7" fmla="*/ 5763 w 12492"/>
                <a:gd name="connsiteY7" fmla="*/ 0 h 31230"/>
                <a:gd name="connsiteX8" fmla="*/ 8948 w 12492"/>
                <a:gd name="connsiteY8" fmla="*/ 3873 h 31230"/>
                <a:gd name="connsiteX9" fmla="*/ 10947 w 12492"/>
                <a:gd name="connsiteY9" fmla="*/ 6121 h 31230"/>
                <a:gd name="connsiteX10" fmla="*/ 5388 w 12492"/>
                <a:gd name="connsiteY10" fmla="*/ 23298 h 31230"/>
                <a:gd name="connsiteX11" fmla="*/ 5763 w 12492"/>
                <a:gd name="connsiteY11" fmla="*/ 24859 h 31230"/>
                <a:gd name="connsiteX12" fmla="*/ 7574 w 12492"/>
                <a:gd name="connsiteY12" fmla="*/ 24360 h 31230"/>
                <a:gd name="connsiteX13" fmla="*/ 11072 w 12492"/>
                <a:gd name="connsiteY13" fmla="*/ 17489 h 31230"/>
                <a:gd name="connsiteX14" fmla="*/ 12883 w 12492"/>
                <a:gd name="connsiteY14" fmla="*/ 11992 h 31230"/>
                <a:gd name="connsiteX15" fmla="*/ 13195 w 12492"/>
                <a:gd name="connsiteY15" fmla="*/ 16052 h 31230"/>
                <a:gd name="connsiteX16" fmla="*/ 16381 w 12492"/>
                <a:gd name="connsiteY16" fmla="*/ 12617 h 31230"/>
                <a:gd name="connsiteX17" fmla="*/ 11072 w 12492"/>
                <a:gd name="connsiteY17" fmla="*/ 24734 h 31230"/>
                <a:gd name="connsiteX18" fmla="*/ 9823 w 12492"/>
                <a:gd name="connsiteY18" fmla="*/ 28295 h 31230"/>
                <a:gd name="connsiteX19" fmla="*/ 5638 w 12492"/>
                <a:gd name="connsiteY19" fmla="*/ 31980 h 31230"/>
                <a:gd name="connsiteX20" fmla="*/ 1515 w 12492"/>
                <a:gd name="connsiteY20" fmla="*/ 3666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492" h="31230">
                  <a:moveTo>
                    <a:pt x="1515" y="36664"/>
                  </a:moveTo>
                  <a:cubicBezTo>
                    <a:pt x="1515" y="36352"/>
                    <a:pt x="1515" y="36040"/>
                    <a:pt x="1515" y="35728"/>
                  </a:cubicBezTo>
                  <a:cubicBezTo>
                    <a:pt x="-1483" y="32167"/>
                    <a:pt x="766" y="28607"/>
                    <a:pt x="1515" y="25109"/>
                  </a:cubicBezTo>
                  <a:lnTo>
                    <a:pt x="1515" y="25109"/>
                  </a:lnTo>
                  <a:cubicBezTo>
                    <a:pt x="3202" y="21799"/>
                    <a:pt x="3389" y="18114"/>
                    <a:pt x="5388" y="14866"/>
                  </a:cubicBezTo>
                  <a:cubicBezTo>
                    <a:pt x="6699" y="12804"/>
                    <a:pt x="6325" y="10244"/>
                    <a:pt x="4701" y="8057"/>
                  </a:cubicBezTo>
                  <a:cubicBezTo>
                    <a:pt x="4201" y="5372"/>
                    <a:pt x="2702" y="2686"/>
                    <a:pt x="4701" y="0"/>
                  </a:cubicBezTo>
                  <a:cubicBezTo>
                    <a:pt x="5075" y="0"/>
                    <a:pt x="5388" y="0"/>
                    <a:pt x="5763" y="0"/>
                  </a:cubicBezTo>
                  <a:cubicBezTo>
                    <a:pt x="8011" y="500"/>
                    <a:pt x="7574" y="2811"/>
                    <a:pt x="8948" y="3873"/>
                  </a:cubicBezTo>
                  <a:cubicBezTo>
                    <a:pt x="10447" y="3997"/>
                    <a:pt x="11634" y="4997"/>
                    <a:pt x="10947" y="6121"/>
                  </a:cubicBezTo>
                  <a:cubicBezTo>
                    <a:pt x="7511" y="11430"/>
                    <a:pt x="10635" y="18488"/>
                    <a:pt x="5388" y="23298"/>
                  </a:cubicBezTo>
                  <a:cubicBezTo>
                    <a:pt x="4826" y="23797"/>
                    <a:pt x="5013" y="24672"/>
                    <a:pt x="5763" y="24859"/>
                  </a:cubicBezTo>
                  <a:cubicBezTo>
                    <a:pt x="6325" y="24984"/>
                    <a:pt x="7386" y="24734"/>
                    <a:pt x="7574" y="24360"/>
                  </a:cubicBezTo>
                  <a:cubicBezTo>
                    <a:pt x="8761" y="22111"/>
                    <a:pt x="11197" y="20362"/>
                    <a:pt x="11072" y="17489"/>
                  </a:cubicBezTo>
                  <a:cubicBezTo>
                    <a:pt x="11009" y="15553"/>
                    <a:pt x="11634" y="13741"/>
                    <a:pt x="12883" y="11992"/>
                  </a:cubicBezTo>
                  <a:cubicBezTo>
                    <a:pt x="14320" y="13367"/>
                    <a:pt x="12196" y="14741"/>
                    <a:pt x="13195" y="16052"/>
                  </a:cubicBezTo>
                  <a:cubicBezTo>
                    <a:pt x="14819" y="15303"/>
                    <a:pt x="14382" y="12992"/>
                    <a:pt x="16381" y="12617"/>
                  </a:cubicBezTo>
                  <a:cubicBezTo>
                    <a:pt x="15007" y="16802"/>
                    <a:pt x="15007" y="21424"/>
                    <a:pt x="11072" y="24734"/>
                  </a:cubicBezTo>
                  <a:cubicBezTo>
                    <a:pt x="9947" y="25671"/>
                    <a:pt x="10260" y="27108"/>
                    <a:pt x="9823" y="28295"/>
                  </a:cubicBezTo>
                  <a:cubicBezTo>
                    <a:pt x="9198" y="30106"/>
                    <a:pt x="9010" y="32604"/>
                    <a:pt x="5638" y="31980"/>
                  </a:cubicBezTo>
                  <a:cubicBezTo>
                    <a:pt x="3327" y="32729"/>
                    <a:pt x="5138" y="36664"/>
                    <a:pt x="1515" y="36664"/>
                  </a:cubicBezTo>
                  <a:close/>
                </a:path>
              </a:pathLst>
            </a:custGeom>
            <a:grpFill/>
            <a:ln w="6246" cap="flat">
              <a:noFill/>
              <a:prstDash val="solid"/>
              <a:miter/>
            </a:ln>
          </p:spPr>
          <p:txBody>
            <a:bodyPr rtlCol="0" anchor="ctr"/>
            <a:lstStyle/>
            <a:p>
              <a:endParaRPr lang="fr-FR" sz="2400"/>
            </a:p>
          </p:txBody>
        </p:sp>
        <p:sp>
          <p:nvSpPr>
            <p:cNvPr id="447" name="Freeform: Shape 446">
              <a:extLst>
                <a:ext uri="{FF2B5EF4-FFF2-40B4-BE49-F238E27FC236}">
                  <a16:creationId xmlns:a16="http://schemas.microsoft.com/office/drawing/2014/main" id="{2E39EE2F-98A0-4468-8D0B-B3D2357C2F0C}"/>
                </a:ext>
              </a:extLst>
            </p:cNvPr>
            <p:cNvSpPr/>
            <p:nvPr/>
          </p:nvSpPr>
          <p:spPr>
            <a:xfrm>
              <a:off x="1338053" y="560458"/>
              <a:ext cx="12492" cy="24984"/>
            </a:xfrm>
            <a:custGeom>
              <a:avLst/>
              <a:gdLst>
                <a:gd name="connsiteX0" fmla="*/ 15874 w 12492"/>
                <a:gd name="connsiteY0" fmla="*/ 3873 h 24984"/>
                <a:gd name="connsiteX1" fmla="*/ 12688 w 12492"/>
                <a:gd name="connsiteY1" fmla="*/ 18363 h 24984"/>
                <a:gd name="connsiteX2" fmla="*/ 10877 w 12492"/>
                <a:gd name="connsiteY2" fmla="*/ 24734 h 24984"/>
                <a:gd name="connsiteX3" fmla="*/ 6630 w 12492"/>
                <a:gd name="connsiteY3" fmla="*/ 26358 h 24984"/>
                <a:gd name="connsiteX4" fmla="*/ 6255 w 12492"/>
                <a:gd name="connsiteY4" fmla="*/ 26921 h 24984"/>
                <a:gd name="connsiteX5" fmla="*/ 196 w 12492"/>
                <a:gd name="connsiteY5" fmla="*/ 25921 h 24984"/>
                <a:gd name="connsiteX6" fmla="*/ 2257 w 12492"/>
                <a:gd name="connsiteY6" fmla="*/ 19175 h 24984"/>
                <a:gd name="connsiteX7" fmla="*/ 5755 w 12492"/>
                <a:gd name="connsiteY7" fmla="*/ 18051 h 24984"/>
                <a:gd name="connsiteX8" fmla="*/ 8503 w 12492"/>
                <a:gd name="connsiteY8" fmla="*/ 12992 h 24984"/>
                <a:gd name="connsiteX9" fmla="*/ 12751 w 12492"/>
                <a:gd name="connsiteY9" fmla="*/ 3873 h 24984"/>
                <a:gd name="connsiteX10" fmla="*/ 15936 w 12492"/>
                <a:gd name="connsiteY10" fmla="*/ 0 h 24984"/>
                <a:gd name="connsiteX11" fmla="*/ 15874 w 12492"/>
                <a:gd name="connsiteY11" fmla="*/ 3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92" h="24984">
                  <a:moveTo>
                    <a:pt x="15874" y="3873"/>
                  </a:moveTo>
                  <a:cubicBezTo>
                    <a:pt x="17061" y="9119"/>
                    <a:pt x="13438" y="13491"/>
                    <a:pt x="12688" y="18363"/>
                  </a:cubicBezTo>
                  <a:cubicBezTo>
                    <a:pt x="11814" y="20425"/>
                    <a:pt x="11876" y="22673"/>
                    <a:pt x="10877" y="24734"/>
                  </a:cubicBezTo>
                  <a:cubicBezTo>
                    <a:pt x="9753" y="26921"/>
                    <a:pt x="9815" y="26921"/>
                    <a:pt x="6630" y="26358"/>
                  </a:cubicBezTo>
                  <a:cubicBezTo>
                    <a:pt x="5880" y="26233"/>
                    <a:pt x="6317" y="26733"/>
                    <a:pt x="6255" y="26921"/>
                  </a:cubicBezTo>
                  <a:cubicBezTo>
                    <a:pt x="3194" y="31730"/>
                    <a:pt x="1883" y="27857"/>
                    <a:pt x="196" y="25921"/>
                  </a:cubicBezTo>
                  <a:cubicBezTo>
                    <a:pt x="-304" y="23360"/>
                    <a:pt x="71" y="21049"/>
                    <a:pt x="2257" y="19175"/>
                  </a:cubicBezTo>
                  <a:cubicBezTo>
                    <a:pt x="3694" y="19862"/>
                    <a:pt x="4943" y="19550"/>
                    <a:pt x="5755" y="18051"/>
                  </a:cubicBezTo>
                  <a:cubicBezTo>
                    <a:pt x="6692" y="16365"/>
                    <a:pt x="10377" y="15927"/>
                    <a:pt x="8503" y="12992"/>
                  </a:cubicBezTo>
                  <a:cubicBezTo>
                    <a:pt x="8816" y="9556"/>
                    <a:pt x="9066" y="6059"/>
                    <a:pt x="12751" y="3873"/>
                  </a:cubicBezTo>
                  <a:cubicBezTo>
                    <a:pt x="14562" y="3123"/>
                    <a:pt x="13875" y="625"/>
                    <a:pt x="15936" y="0"/>
                  </a:cubicBezTo>
                  <a:cubicBezTo>
                    <a:pt x="15874" y="1312"/>
                    <a:pt x="15874" y="2623"/>
                    <a:pt x="15874" y="3873"/>
                  </a:cubicBezTo>
                  <a:close/>
                </a:path>
              </a:pathLst>
            </a:custGeom>
            <a:grpFill/>
            <a:ln w="6246" cap="flat">
              <a:noFill/>
              <a:prstDash val="solid"/>
              <a:miter/>
            </a:ln>
          </p:spPr>
          <p:txBody>
            <a:bodyPr rtlCol="0" anchor="ctr"/>
            <a:lstStyle/>
            <a:p>
              <a:endParaRPr lang="fr-FR" sz="2400"/>
            </a:p>
          </p:txBody>
        </p:sp>
        <p:sp>
          <p:nvSpPr>
            <p:cNvPr id="448" name="Freeform: Shape 447">
              <a:extLst>
                <a:ext uri="{FF2B5EF4-FFF2-40B4-BE49-F238E27FC236}">
                  <a16:creationId xmlns:a16="http://schemas.microsoft.com/office/drawing/2014/main" id="{7F1F21C0-E24E-46FA-BAAD-9CA8D38B46FE}"/>
                </a:ext>
              </a:extLst>
            </p:cNvPr>
            <p:cNvSpPr/>
            <p:nvPr/>
          </p:nvSpPr>
          <p:spPr>
            <a:xfrm>
              <a:off x="1356074" y="554650"/>
              <a:ext cx="6246" cy="18738"/>
            </a:xfrm>
            <a:custGeom>
              <a:avLst/>
              <a:gdLst>
                <a:gd name="connsiteX0" fmla="*/ 3163 w 0"/>
                <a:gd name="connsiteY0" fmla="*/ 999 h 18738"/>
                <a:gd name="connsiteX1" fmla="*/ 4225 w 0"/>
                <a:gd name="connsiteY1" fmla="*/ 9681 h 18738"/>
                <a:gd name="connsiteX2" fmla="*/ 1039 w 0"/>
                <a:gd name="connsiteY2" fmla="*/ 20300 h 18738"/>
                <a:gd name="connsiteX3" fmla="*/ 1039 w 0"/>
                <a:gd name="connsiteY3" fmla="*/ 9681 h 18738"/>
                <a:gd name="connsiteX4" fmla="*/ 2476 w 0"/>
                <a:gd name="connsiteY4" fmla="*/ 0 h 18738"/>
                <a:gd name="connsiteX5" fmla="*/ 2913 w 0"/>
                <a:gd name="connsiteY5" fmla="*/ 125 h 18738"/>
                <a:gd name="connsiteX6" fmla="*/ 3163 w 0"/>
                <a:gd name="connsiteY6"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18738">
                  <a:moveTo>
                    <a:pt x="3163" y="999"/>
                  </a:moveTo>
                  <a:cubicBezTo>
                    <a:pt x="3537" y="3873"/>
                    <a:pt x="3850" y="6808"/>
                    <a:pt x="4225" y="9681"/>
                  </a:cubicBezTo>
                  <a:cubicBezTo>
                    <a:pt x="4849" y="13679"/>
                    <a:pt x="4037" y="17239"/>
                    <a:pt x="1039" y="20300"/>
                  </a:cubicBezTo>
                  <a:cubicBezTo>
                    <a:pt x="-1584" y="16739"/>
                    <a:pt x="1664" y="13179"/>
                    <a:pt x="1039" y="9681"/>
                  </a:cubicBezTo>
                  <a:cubicBezTo>
                    <a:pt x="-523" y="6184"/>
                    <a:pt x="852" y="3061"/>
                    <a:pt x="2476" y="0"/>
                  </a:cubicBezTo>
                  <a:cubicBezTo>
                    <a:pt x="2476" y="0"/>
                    <a:pt x="2850" y="62"/>
                    <a:pt x="2913" y="125"/>
                  </a:cubicBezTo>
                  <a:cubicBezTo>
                    <a:pt x="3038" y="375"/>
                    <a:pt x="3100" y="687"/>
                    <a:pt x="3163" y="999"/>
                  </a:cubicBezTo>
                  <a:close/>
                </a:path>
              </a:pathLst>
            </a:custGeom>
            <a:grpFill/>
            <a:ln w="6246" cap="flat">
              <a:noFill/>
              <a:prstDash val="solid"/>
              <a:miter/>
            </a:ln>
          </p:spPr>
          <p:txBody>
            <a:bodyPr rtlCol="0" anchor="ctr"/>
            <a:lstStyle/>
            <a:p>
              <a:endParaRPr lang="fr-FR" sz="2400"/>
            </a:p>
          </p:txBody>
        </p:sp>
        <p:sp>
          <p:nvSpPr>
            <p:cNvPr id="449" name="Freeform: Shape 448">
              <a:extLst>
                <a:ext uri="{FF2B5EF4-FFF2-40B4-BE49-F238E27FC236}">
                  <a16:creationId xmlns:a16="http://schemas.microsoft.com/office/drawing/2014/main" id="{049EA2AF-0F4D-4DD7-B810-650E84419F27}"/>
                </a:ext>
              </a:extLst>
            </p:cNvPr>
            <p:cNvSpPr/>
            <p:nvPr/>
          </p:nvSpPr>
          <p:spPr>
            <a:xfrm>
              <a:off x="1360361" y="540721"/>
              <a:ext cx="6246" cy="18738"/>
            </a:xfrm>
            <a:custGeom>
              <a:avLst/>
              <a:gdLst>
                <a:gd name="connsiteX0" fmla="*/ 3186 w 0"/>
                <a:gd name="connsiteY0" fmla="*/ 18801 h 18738"/>
                <a:gd name="connsiteX1" fmla="*/ 0 w 0"/>
                <a:gd name="connsiteY1" fmla="*/ 14928 h 18738"/>
                <a:gd name="connsiteX2" fmla="*/ 1062 w 0"/>
                <a:gd name="connsiteY2" fmla="*/ 7058 h 18738"/>
                <a:gd name="connsiteX3" fmla="*/ 3748 w 0"/>
                <a:gd name="connsiteY3" fmla="*/ 0 h 18738"/>
                <a:gd name="connsiteX4" fmla="*/ 3186 w 0"/>
                <a:gd name="connsiteY4" fmla="*/ 18801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3186" y="18801"/>
                  </a:moveTo>
                  <a:cubicBezTo>
                    <a:pt x="500" y="18613"/>
                    <a:pt x="1124" y="16177"/>
                    <a:pt x="0" y="14928"/>
                  </a:cubicBezTo>
                  <a:cubicBezTo>
                    <a:pt x="2124" y="12492"/>
                    <a:pt x="687" y="9681"/>
                    <a:pt x="1062" y="7058"/>
                  </a:cubicBezTo>
                  <a:cubicBezTo>
                    <a:pt x="1374" y="4685"/>
                    <a:pt x="1999" y="2436"/>
                    <a:pt x="3748" y="0"/>
                  </a:cubicBezTo>
                  <a:cubicBezTo>
                    <a:pt x="5434" y="6683"/>
                    <a:pt x="2873" y="12742"/>
                    <a:pt x="3186" y="18801"/>
                  </a:cubicBezTo>
                  <a:close/>
                </a:path>
              </a:pathLst>
            </a:custGeom>
            <a:grpFill/>
            <a:ln w="6246" cap="flat">
              <a:noFill/>
              <a:prstDash val="solid"/>
              <a:miter/>
            </a:ln>
          </p:spPr>
          <p:txBody>
            <a:bodyPr rtlCol="0" anchor="ctr"/>
            <a:lstStyle/>
            <a:p>
              <a:endParaRPr lang="fr-FR" sz="2400"/>
            </a:p>
          </p:txBody>
        </p:sp>
        <p:sp>
          <p:nvSpPr>
            <p:cNvPr id="450" name="Freeform: Shape 449">
              <a:extLst>
                <a:ext uri="{FF2B5EF4-FFF2-40B4-BE49-F238E27FC236}">
                  <a16:creationId xmlns:a16="http://schemas.microsoft.com/office/drawing/2014/main" id="{E03C2339-9E93-465E-A66C-3C504ED108FD}"/>
                </a:ext>
              </a:extLst>
            </p:cNvPr>
            <p:cNvSpPr/>
            <p:nvPr/>
          </p:nvSpPr>
          <p:spPr>
            <a:xfrm>
              <a:off x="1367837" y="535176"/>
              <a:ext cx="6246" cy="12492"/>
            </a:xfrm>
            <a:custGeom>
              <a:avLst/>
              <a:gdLst>
                <a:gd name="connsiteX0" fmla="*/ 3142 w 0"/>
                <a:gd name="connsiteY0" fmla="*/ 173 h 12492"/>
                <a:gd name="connsiteX1" fmla="*/ 3142 w 0"/>
                <a:gd name="connsiteY1" fmla="*/ 2110 h 12492"/>
                <a:gd name="connsiteX2" fmla="*/ 1518 w 0"/>
                <a:gd name="connsiteY2" fmla="*/ 16600 h 12492"/>
                <a:gd name="connsiteX3" fmla="*/ 1018 w 0"/>
                <a:gd name="connsiteY3" fmla="*/ 1110 h 12492"/>
                <a:gd name="connsiteX4" fmla="*/ 3142 w 0"/>
                <a:gd name="connsiteY4" fmla="*/ 17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2492">
                  <a:moveTo>
                    <a:pt x="3142" y="173"/>
                  </a:moveTo>
                  <a:cubicBezTo>
                    <a:pt x="3142" y="798"/>
                    <a:pt x="3142" y="1485"/>
                    <a:pt x="3142" y="2110"/>
                  </a:cubicBezTo>
                  <a:cubicBezTo>
                    <a:pt x="1205" y="6482"/>
                    <a:pt x="2704" y="11229"/>
                    <a:pt x="1518" y="16600"/>
                  </a:cubicBezTo>
                  <a:cubicBezTo>
                    <a:pt x="-1980" y="10917"/>
                    <a:pt x="1768" y="5920"/>
                    <a:pt x="1018" y="1110"/>
                  </a:cubicBezTo>
                  <a:cubicBezTo>
                    <a:pt x="1643" y="548"/>
                    <a:pt x="1955" y="-389"/>
                    <a:pt x="3142" y="173"/>
                  </a:cubicBezTo>
                  <a:close/>
                </a:path>
              </a:pathLst>
            </a:custGeom>
            <a:grpFill/>
            <a:ln w="6246" cap="flat">
              <a:noFill/>
              <a:prstDash val="solid"/>
              <a:miter/>
            </a:ln>
          </p:spPr>
          <p:txBody>
            <a:bodyPr rtlCol="0" anchor="ctr"/>
            <a:lstStyle/>
            <a:p>
              <a:endParaRPr lang="fr-FR" sz="2400"/>
            </a:p>
          </p:txBody>
        </p:sp>
        <p:sp>
          <p:nvSpPr>
            <p:cNvPr id="451" name="Freeform: Shape 450">
              <a:extLst>
                <a:ext uri="{FF2B5EF4-FFF2-40B4-BE49-F238E27FC236}">
                  <a16:creationId xmlns:a16="http://schemas.microsoft.com/office/drawing/2014/main" id="{B33864C8-3897-4FDB-80F7-F957109BA47E}"/>
                </a:ext>
              </a:extLst>
            </p:cNvPr>
            <p:cNvSpPr/>
            <p:nvPr/>
          </p:nvSpPr>
          <p:spPr>
            <a:xfrm>
              <a:off x="1367356" y="557985"/>
              <a:ext cx="6246" cy="6246"/>
            </a:xfrm>
            <a:custGeom>
              <a:avLst/>
              <a:gdLst>
                <a:gd name="connsiteX0" fmla="*/ 5809 w 0"/>
                <a:gd name="connsiteY0" fmla="*/ 1537 h 6246"/>
                <a:gd name="connsiteX1" fmla="*/ 3685 w 0"/>
                <a:gd name="connsiteY1" fmla="*/ 9282 h 6246"/>
                <a:gd name="connsiteX2" fmla="*/ 0 w 0"/>
                <a:gd name="connsiteY2" fmla="*/ 7783 h 6246"/>
                <a:gd name="connsiteX3" fmla="*/ 2998 w 0"/>
                <a:gd name="connsiteY3" fmla="*/ 1786 h 6246"/>
                <a:gd name="connsiteX4" fmla="*/ 5809 w 0"/>
                <a:gd name="connsiteY4" fmla="*/ 153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5809" y="1537"/>
                  </a:moveTo>
                  <a:cubicBezTo>
                    <a:pt x="5996" y="4285"/>
                    <a:pt x="5996" y="7033"/>
                    <a:pt x="3685" y="9282"/>
                  </a:cubicBezTo>
                  <a:cubicBezTo>
                    <a:pt x="2561" y="8845"/>
                    <a:pt x="1499" y="8407"/>
                    <a:pt x="0" y="7783"/>
                  </a:cubicBezTo>
                  <a:cubicBezTo>
                    <a:pt x="1749" y="6034"/>
                    <a:pt x="3623" y="4910"/>
                    <a:pt x="2998" y="1786"/>
                  </a:cubicBezTo>
                  <a:cubicBezTo>
                    <a:pt x="2311" y="-1836"/>
                    <a:pt x="4685" y="1099"/>
                    <a:pt x="5809" y="1537"/>
                  </a:cubicBezTo>
                  <a:close/>
                </a:path>
              </a:pathLst>
            </a:custGeom>
            <a:grpFill/>
            <a:ln w="6246" cap="flat">
              <a:noFill/>
              <a:prstDash val="solid"/>
              <a:miter/>
            </a:ln>
          </p:spPr>
          <p:txBody>
            <a:bodyPr rtlCol="0" anchor="ctr"/>
            <a:lstStyle/>
            <a:p>
              <a:endParaRPr lang="fr-FR" sz="2400"/>
            </a:p>
          </p:txBody>
        </p:sp>
        <p:sp>
          <p:nvSpPr>
            <p:cNvPr id="452" name="Freeform: Shape 451">
              <a:extLst>
                <a:ext uri="{FF2B5EF4-FFF2-40B4-BE49-F238E27FC236}">
                  <a16:creationId xmlns:a16="http://schemas.microsoft.com/office/drawing/2014/main" id="{2129DDB5-3900-4AD9-B5AF-A7ADF12194B5}"/>
                </a:ext>
              </a:extLst>
            </p:cNvPr>
            <p:cNvSpPr/>
            <p:nvPr/>
          </p:nvSpPr>
          <p:spPr>
            <a:xfrm>
              <a:off x="1368777" y="533399"/>
              <a:ext cx="6246" cy="6246"/>
            </a:xfrm>
            <a:custGeom>
              <a:avLst/>
              <a:gdLst>
                <a:gd name="connsiteX0" fmla="*/ 2202 w 0"/>
                <a:gd name="connsiteY0" fmla="*/ 1950 h 0"/>
                <a:gd name="connsiteX1" fmla="*/ 79 w 0"/>
                <a:gd name="connsiteY1" fmla="*/ 2887 h 0"/>
                <a:gd name="connsiteX2" fmla="*/ 641 w 0"/>
                <a:gd name="connsiteY2" fmla="*/ 14 h 0"/>
                <a:gd name="connsiteX3" fmla="*/ 2140 w 0"/>
                <a:gd name="connsiteY3" fmla="*/ 951 h 0"/>
                <a:gd name="connsiteX4" fmla="*/ 2202 w 0"/>
                <a:gd name="connsiteY4" fmla="*/ 195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202" y="1950"/>
                  </a:moveTo>
                  <a:cubicBezTo>
                    <a:pt x="1515" y="2262"/>
                    <a:pt x="766" y="2575"/>
                    <a:pt x="79" y="2887"/>
                  </a:cubicBezTo>
                  <a:cubicBezTo>
                    <a:pt x="329" y="1950"/>
                    <a:pt x="-546" y="763"/>
                    <a:pt x="641" y="14"/>
                  </a:cubicBezTo>
                  <a:cubicBezTo>
                    <a:pt x="828" y="-111"/>
                    <a:pt x="1640" y="639"/>
                    <a:pt x="2140" y="951"/>
                  </a:cubicBezTo>
                  <a:cubicBezTo>
                    <a:pt x="2202" y="1326"/>
                    <a:pt x="2202" y="1638"/>
                    <a:pt x="2202" y="1950"/>
                  </a:cubicBezTo>
                  <a:close/>
                </a:path>
              </a:pathLst>
            </a:custGeom>
            <a:grpFill/>
            <a:ln w="6246" cap="flat">
              <a:noFill/>
              <a:prstDash val="solid"/>
              <a:miter/>
            </a:ln>
          </p:spPr>
          <p:txBody>
            <a:bodyPr rtlCol="0" anchor="ctr"/>
            <a:lstStyle/>
            <a:p>
              <a:endParaRPr lang="fr-FR" sz="2400"/>
            </a:p>
          </p:txBody>
        </p:sp>
        <p:sp>
          <p:nvSpPr>
            <p:cNvPr id="453" name="Freeform: Shape 452">
              <a:extLst>
                <a:ext uri="{FF2B5EF4-FFF2-40B4-BE49-F238E27FC236}">
                  <a16:creationId xmlns:a16="http://schemas.microsoft.com/office/drawing/2014/main" id="{B146A23A-174A-4A48-86A4-6338AA8D9E61}"/>
                </a:ext>
              </a:extLst>
            </p:cNvPr>
            <p:cNvSpPr/>
            <p:nvPr/>
          </p:nvSpPr>
          <p:spPr>
            <a:xfrm>
              <a:off x="1160174" y="435725"/>
              <a:ext cx="206120" cy="193628"/>
            </a:xfrm>
            <a:custGeom>
              <a:avLst/>
              <a:gdLst>
                <a:gd name="connsiteX0" fmla="*/ 129543 w 206120"/>
                <a:gd name="connsiteY0" fmla="*/ 47408 h 193628"/>
                <a:gd name="connsiteX1" fmla="*/ 127420 w 206120"/>
                <a:gd name="connsiteY1" fmla="*/ 49344 h 193628"/>
                <a:gd name="connsiteX2" fmla="*/ 123984 w 206120"/>
                <a:gd name="connsiteY2" fmla="*/ 54840 h 193628"/>
                <a:gd name="connsiteX3" fmla="*/ 124109 w 206120"/>
                <a:gd name="connsiteY3" fmla="*/ 58651 h 193628"/>
                <a:gd name="connsiteX4" fmla="*/ 125671 w 206120"/>
                <a:gd name="connsiteY4" fmla="*/ 59900 h 193628"/>
                <a:gd name="connsiteX5" fmla="*/ 125671 w 206120"/>
                <a:gd name="connsiteY5" fmla="*/ 61774 h 193628"/>
                <a:gd name="connsiteX6" fmla="*/ 120986 w 206120"/>
                <a:gd name="connsiteY6" fmla="*/ 62586 h 193628"/>
                <a:gd name="connsiteX7" fmla="*/ 113991 w 206120"/>
                <a:gd name="connsiteY7" fmla="*/ 62211 h 193628"/>
                <a:gd name="connsiteX8" fmla="*/ 101686 w 206120"/>
                <a:gd name="connsiteY8" fmla="*/ 70830 h 193628"/>
                <a:gd name="connsiteX9" fmla="*/ 99500 w 206120"/>
                <a:gd name="connsiteY9" fmla="*/ 70206 h 193628"/>
                <a:gd name="connsiteX10" fmla="*/ 92005 w 206120"/>
                <a:gd name="connsiteY10" fmla="*/ 69769 h 193628"/>
                <a:gd name="connsiteX11" fmla="*/ 77514 w 206120"/>
                <a:gd name="connsiteY11" fmla="*/ 69831 h 193628"/>
                <a:gd name="connsiteX12" fmla="*/ 72142 w 206120"/>
                <a:gd name="connsiteY12" fmla="*/ 74953 h 193628"/>
                <a:gd name="connsiteX13" fmla="*/ 63585 w 206120"/>
                <a:gd name="connsiteY13" fmla="*/ 94253 h 193628"/>
                <a:gd name="connsiteX14" fmla="*/ 61836 w 206120"/>
                <a:gd name="connsiteY14" fmla="*/ 113304 h 193628"/>
                <a:gd name="connsiteX15" fmla="*/ 63148 w 206120"/>
                <a:gd name="connsiteY15" fmla="*/ 122985 h 193628"/>
                <a:gd name="connsiteX16" fmla="*/ 64147 w 206120"/>
                <a:gd name="connsiteY16" fmla="*/ 125296 h 193628"/>
                <a:gd name="connsiteX17" fmla="*/ 67208 w 206120"/>
                <a:gd name="connsiteY17" fmla="*/ 129231 h 193628"/>
                <a:gd name="connsiteX18" fmla="*/ 73641 w 206120"/>
                <a:gd name="connsiteY18" fmla="*/ 135102 h 193628"/>
                <a:gd name="connsiteX19" fmla="*/ 74765 w 206120"/>
                <a:gd name="connsiteY19" fmla="*/ 138663 h 193628"/>
                <a:gd name="connsiteX20" fmla="*/ 73391 w 206120"/>
                <a:gd name="connsiteY20" fmla="*/ 139475 h 193628"/>
                <a:gd name="connsiteX21" fmla="*/ 87382 w 206120"/>
                <a:gd name="connsiteY21" fmla="*/ 144971 h 193628"/>
                <a:gd name="connsiteX22" fmla="*/ 90880 w 206120"/>
                <a:gd name="connsiteY22" fmla="*/ 147220 h 193628"/>
                <a:gd name="connsiteX23" fmla="*/ 86820 w 206120"/>
                <a:gd name="connsiteY23" fmla="*/ 149281 h 193628"/>
                <a:gd name="connsiteX24" fmla="*/ 77888 w 206120"/>
                <a:gd name="connsiteY24" fmla="*/ 148094 h 193628"/>
                <a:gd name="connsiteX25" fmla="*/ 72704 w 206120"/>
                <a:gd name="connsiteY25" fmla="*/ 148531 h 193628"/>
                <a:gd name="connsiteX26" fmla="*/ 61274 w 206120"/>
                <a:gd name="connsiteY26" fmla="*/ 143097 h 193628"/>
                <a:gd name="connsiteX27" fmla="*/ 67145 w 206120"/>
                <a:gd name="connsiteY27" fmla="*/ 146033 h 193628"/>
                <a:gd name="connsiteX28" fmla="*/ 68769 w 206120"/>
                <a:gd name="connsiteY28" fmla="*/ 149531 h 193628"/>
                <a:gd name="connsiteX29" fmla="*/ 64584 w 206120"/>
                <a:gd name="connsiteY29" fmla="*/ 150343 h 193628"/>
                <a:gd name="connsiteX30" fmla="*/ 54840 w 206120"/>
                <a:gd name="connsiteY30" fmla="*/ 145533 h 193628"/>
                <a:gd name="connsiteX31" fmla="*/ 72579 w 206120"/>
                <a:gd name="connsiteY31" fmla="*/ 151842 h 193628"/>
                <a:gd name="connsiteX32" fmla="*/ 84634 w 206120"/>
                <a:gd name="connsiteY32" fmla="*/ 151217 h 193628"/>
                <a:gd name="connsiteX33" fmla="*/ 99812 w 206120"/>
                <a:gd name="connsiteY33" fmla="*/ 151405 h 193628"/>
                <a:gd name="connsiteX34" fmla="*/ 105558 w 206120"/>
                <a:gd name="connsiteY34" fmla="*/ 152092 h 193628"/>
                <a:gd name="connsiteX35" fmla="*/ 105558 w 206120"/>
                <a:gd name="connsiteY35" fmla="*/ 150655 h 193628"/>
                <a:gd name="connsiteX36" fmla="*/ 112866 w 206120"/>
                <a:gd name="connsiteY36" fmla="*/ 148844 h 193628"/>
                <a:gd name="connsiteX37" fmla="*/ 124796 w 206120"/>
                <a:gd name="connsiteY37" fmla="*/ 149843 h 193628"/>
                <a:gd name="connsiteX38" fmla="*/ 129294 w 206120"/>
                <a:gd name="connsiteY38" fmla="*/ 152904 h 193628"/>
                <a:gd name="connsiteX39" fmla="*/ 123547 w 206120"/>
                <a:gd name="connsiteY39" fmla="*/ 156152 h 193628"/>
                <a:gd name="connsiteX40" fmla="*/ 115740 w 206120"/>
                <a:gd name="connsiteY40" fmla="*/ 155589 h 193628"/>
                <a:gd name="connsiteX41" fmla="*/ 114678 w 206120"/>
                <a:gd name="connsiteY41" fmla="*/ 156651 h 193628"/>
                <a:gd name="connsiteX42" fmla="*/ 99250 w 206120"/>
                <a:gd name="connsiteY42" fmla="*/ 161461 h 193628"/>
                <a:gd name="connsiteX43" fmla="*/ 119799 w 206120"/>
                <a:gd name="connsiteY43" fmla="*/ 157026 h 193628"/>
                <a:gd name="connsiteX44" fmla="*/ 121299 w 206120"/>
                <a:gd name="connsiteY44" fmla="*/ 158588 h 193628"/>
                <a:gd name="connsiteX45" fmla="*/ 116052 w 206120"/>
                <a:gd name="connsiteY45" fmla="*/ 162585 h 193628"/>
                <a:gd name="connsiteX46" fmla="*/ 108057 w 206120"/>
                <a:gd name="connsiteY46" fmla="*/ 164584 h 193628"/>
                <a:gd name="connsiteX47" fmla="*/ 104934 w 206120"/>
                <a:gd name="connsiteY47" fmla="*/ 167769 h 193628"/>
                <a:gd name="connsiteX48" fmla="*/ 101499 w 206120"/>
                <a:gd name="connsiteY48" fmla="*/ 169143 h 193628"/>
                <a:gd name="connsiteX49" fmla="*/ 68832 w 206120"/>
                <a:gd name="connsiteY49" fmla="*/ 163959 h 193628"/>
                <a:gd name="connsiteX50" fmla="*/ 56964 w 206120"/>
                <a:gd name="connsiteY50" fmla="*/ 160337 h 193628"/>
                <a:gd name="connsiteX51" fmla="*/ 53217 w 206120"/>
                <a:gd name="connsiteY51" fmla="*/ 161960 h 193628"/>
                <a:gd name="connsiteX52" fmla="*/ 52155 w 206120"/>
                <a:gd name="connsiteY52" fmla="*/ 161960 h 193628"/>
                <a:gd name="connsiteX53" fmla="*/ 51780 w 206120"/>
                <a:gd name="connsiteY53" fmla="*/ 162148 h 193628"/>
                <a:gd name="connsiteX54" fmla="*/ 64272 w 206120"/>
                <a:gd name="connsiteY54" fmla="*/ 169518 h 193628"/>
                <a:gd name="connsiteX55" fmla="*/ 98813 w 206120"/>
                <a:gd name="connsiteY55" fmla="*/ 174390 h 193628"/>
                <a:gd name="connsiteX56" fmla="*/ 114116 w 206120"/>
                <a:gd name="connsiteY56" fmla="*/ 173703 h 193628"/>
                <a:gd name="connsiteX57" fmla="*/ 120299 w 206120"/>
                <a:gd name="connsiteY57" fmla="*/ 174640 h 193628"/>
                <a:gd name="connsiteX58" fmla="*/ 121174 w 206120"/>
                <a:gd name="connsiteY58" fmla="*/ 175889 h 193628"/>
                <a:gd name="connsiteX59" fmla="*/ 116864 w 206120"/>
                <a:gd name="connsiteY59" fmla="*/ 178575 h 193628"/>
                <a:gd name="connsiteX60" fmla="*/ 83572 w 206120"/>
                <a:gd name="connsiteY60" fmla="*/ 180074 h 193628"/>
                <a:gd name="connsiteX61" fmla="*/ 79013 w 206120"/>
                <a:gd name="connsiteY61" fmla="*/ 179012 h 193628"/>
                <a:gd name="connsiteX62" fmla="*/ 91005 w 206120"/>
                <a:gd name="connsiteY62" fmla="*/ 180199 h 193628"/>
                <a:gd name="connsiteX63" fmla="*/ 101124 w 206120"/>
                <a:gd name="connsiteY63" fmla="*/ 181448 h 193628"/>
                <a:gd name="connsiteX64" fmla="*/ 97813 w 206120"/>
                <a:gd name="connsiteY64" fmla="*/ 183947 h 193628"/>
                <a:gd name="connsiteX65" fmla="*/ 93004 w 206120"/>
                <a:gd name="connsiteY65" fmla="*/ 183322 h 193628"/>
                <a:gd name="connsiteX66" fmla="*/ 92629 w 206120"/>
                <a:gd name="connsiteY66" fmla="*/ 183697 h 193628"/>
                <a:gd name="connsiteX67" fmla="*/ 93004 w 206120"/>
                <a:gd name="connsiteY67" fmla="*/ 183385 h 193628"/>
                <a:gd name="connsiteX68" fmla="*/ 96065 w 206120"/>
                <a:gd name="connsiteY68" fmla="*/ 184384 h 193628"/>
                <a:gd name="connsiteX69" fmla="*/ 93316 w 206120"/>
                <a:gd name="connsiteY69" fmla="*/ 186820 h 193628"/>
                <a:gd name="connsiteX70" fmla="*/ 80637 w 206120"/>
                <a:gd name="connsiteY70" fmla="*/ 187195 h 193628"/>
                <a:gd name="connsiteX71" fmla="*/ 63585 w 206120"/>
                <a:gd name="connsiteY71" fmla="*/ 186882 h 193628"/>
                <a:gd name="connsiteX72" fmla="*/ 68457 w 206120"/>
                <a:gd name="connsiteY72" fmla="*/ 189693 h 193628"/>
                <a:gd name="connsiteX73" fmla="*/ 71767 w 206120"/>
                <a:gd name="connsiteY73" fmla="*/ 191629 h 193628"/>
                <a:gd name="connsiteX74" fmla="*/ 73329 w 206120"/>
                <a:gd name="connsiteY74" fmla="*/ 192004 h 193628"/>
                <a:gd name="connsiteX75" fmla="*/ 78763 w 206120"/>
                <a:gd name="connsiteY75" fmla="*/ 194190 h 193628"/>
                <a:gd name="connsiteX76" fmla="*/ 73204 w 206120"/>
                <a:gd name="connsiteY76" fmla="*/ 195752 h 193628"/>
                <a:gd name="connsiteX77" fmla="*/ 49656 w 206120"/>
                <a:gd name="connsiteY77" fmla="*/ 185008 h 193628"/>
                <a:gd name="connsiteX78" fmla="*/ 49531 w 206120"/>
                <a:gd name="connsiteY78" fmla="*/ 188381 h 193628"/>
                <a:gd name="connsiteX79" fmla="*/ 46096 w 206120"/>
                <a:gd name="connsiteY79" fmla="*/ 188007 h 193628"/>
                <a:gd name="connsiteX80" fmla="*/ 34603 w 206120"/>
                <a:gd name="connsiteY80" fmla="*/ 180199 h 193628"/>
                <a:gd name="connsiteX81" fmla="*/ 12492 w 206120"/>
                <a:gd name="connsiteY81" fmla="*/ 157089 h 193628"/>
                <a:gd name="connsiteX82" fmla="*/ 6246 w 206120"/>
                <a:gd name="connsiteY82" fmla="*/ 148781 h 193628"/>
                <a:gd name="connsiteX83" fmla="*/ 4247 w 206120"/>
                <a:gd name="connsiteY83" fmla="*/ 146095 h 193628"/>
                <a:gd name="connsiteX84" fmla="*/ 4247 w 206120"/>
                <a:gd name="connsiteY84" fmla="*/ 146095 h 193628"/>
                <a:gd name="connsiteX85" fmla="*/ 1062 w 206120"/>
                <a:gd name="connsiteY85" fmla="*/ 138350 h 193628"/>
                <a:gd name="connsiteX86" fmla="*/ 0 w 206120"/>
                <a:gd name="connsiteY86" fmla="*/ 130605 h 193628"/>
                <a:gd name="connsiteX87" fmla="*/ 2124 w 206120"/>
                <a:gd name="connsiteY87" fmla="*/ 127732 h 193628"/>
                <a:gd name="connsiteX88" fmla="*/ 6621 w 206120"/>
                <a:gd name="connsiteY88" fmla="*/ 122860 h 193628"/>
                <a:gd name="connsiteX89" fmla="*/ 8057 w 206120"/>
                <a:gd name="connsiteY89" fmla="*/ 102373 h 193628"/>
                <a:gd name="connsiteX90" fmla="*/ 11805 w 206120"/>
                <a:gd name="connsiteY90" fmla="*/ 98688 h 193628"/>
                <a:gd name="connsiteX91" fmla="*/ 13304 w 206120"/>
                <a:gd name="connsiteY91" fmla="*/ 101748 h 193628"/>
                <a:gd name="connsiteX92" fmla="*/ 17989 w 206120"/>
                <a:gd name="connsiteY92" fmla="*/ 77639 h 193628"/>
                <a:gd name="connsiteX93" fmla="*/ 21486 w 206120"/>
                <a:gd name="connsiteY93" fmla="*/ 65771 h 193628"/>
                <a:gd name="connsiteX94" fmla="*/ 22548 w 206120"/>
                <a:gd name="connsiteY94" fmla="*/ 61898 h 193628"/>
                <a:gd name="connsiteX95" fmla="*/ 23610 w 206120"/>
                <a:gd name="connsiteY95" fmla="*/ 61898 h 193628"/>
                <a:gd name="connsiteX96" fmla="*/ 24672 w 206120"/>
                <a:gd name="connsiteY96" fmla="*/ 66708 h 193628"/>
                <a:gd name="connsiteX97" fmla="*/ 24672 w 206120"/>
                <a:gd name="connsiteY97" fmla="*/ 70581 h 193628"/>
                <a:gd name="connsiteX98" fmla="*/ 27857 w 206120"/>
                <a:gd name="connsiteY98" fmla="*/ 70581 h 193628"/>
                <a:gd name="connsiteX99" fmla="*/ 32042 w 206120"/>
                <a:gd name="connsiteY99" fmla="*/ 61461 h 193628"/>
                <a:gd name="connsiteX100" fmla="*/ 34291 w 206120"/>
                <a:gd name="connsiteY100" fmla="*/ 58963 h 193628"/>
                <a:gd name="connsiteX101" fmla="*/ 35353 w 206120"/>
                <a:gd name="connsiteY101" fmla="*/ 59900 h 193628"/>
                <a:gd name="connsiteX102" fmla="*/ 32292 w 206120"/>
                <a:gd name="connsiteY102" fmla="*/ 70768 h 193628"/>
                <a:gd name="connsiteX103" fmla="*/ 43035 w 206120"/>
                <a:gd name="connsiteY103" fmla="*/ 46721 h 193628"/>
                <a:gd name="connsiteX104" fmla="*/ 48469 w 206120"/>
                <a:gd name="connsiteY104" fmla="*/ 38476 h 193628"/>
                <a:gd name="connsiteX105" fmla="*/ 50218 w 206120"/>
                <a:gd name="connsiteY105" fmla="*/ 37414 h 193628"/>
                <a:gd name="connsiteX106" fmla="*/ 51967 w 206120"/>
                <a:gd name="connsiteY106" fmla="*/ 39413 h 193628"/>
                <a:gd name="connsiteX107" fmla="*/ 51218 w 206120"/>
                <a:gd name="connsiteY107" fmla="*/ 41974 h 193628"/>
                <a:gd name="connsiteX108" fmla="*/ 51343 w 206120"/>
                <a:gd name="connsiteY108" fmla="*/ 42036 h 193628"/>
                <a:gd name="connsiteX109" fmla="*/ 51530 w 206120"/>
                <a:gd name="connsiteY109" fmla="*/ 41724 h 193628"/>
                <a:gd name="connsiteX110" fmla="*/ 52904 w 206120"/>
                <a:gd name="connsiteY110" fmla="*/ 40662 h 193628"/>
                <a:gd name="connsiteX111" fmla="*/ 56090 w 206120"/>
                <a:gd name="connsiteY111" fmla="*/ 41287 h 193628"/>
                <a:gd name="connsiteX112" fmla="*/ 54591 w 206120"/>
                <a:gd name="connsiteY112" fmla="*/ 44659 h 193628"/>
                <a:gd name="connsiteX113" fmla="*/ 46658 w 206120"/>
                <a:gd name="connsiteY113" fmla="*/ 54153 h 193628"/>
                <a:gd name="connsiteX114" fmla="*/ 60212 w 206120"/>
                <a:gd name="connsiteY114" fmla="*/ 41224 h 193628"/>
                <a:gd name="connsiteX115" fmla="*/ 68207 w 206120"/>
                <a:gd name="connsiteY115" fmla="*/ 35103 h 193628"/>
                <a:gd name="connsiteX116" fmla="*/ 77139 w 206120"/>
                <a:gd name="connsiteY116" fmla="*/ 31230 h 193628"/>
                <a:gd name="connsiteX117" fmla="*/ 79200 w 206120"/>
                <a:gd name="connsiteY117" fmla="*/ 32355 h 193628"/>
                <a:gd name="connsiteX118" fmla="*/ 76264 w 206120"/>
                <a:gd name="connsiteY118" fmla="*/ 34791 h 193628"/>
                <a:gd name="connsiteX119" fmla="*/ 75515 w 206120"/>
                <a:gd name="connsiteY119" fmla="*/ 35290 h 193628"/>
                <a:gd name="connsiteX120" fmla="*/ 76514 w 206120"/>
                <a:gd name="connsiteY120" fmla="*/ 34666 h 193628"/>
                <a:gd name="connsiteX121" fmla="*/ 80199 w 206120"/>
                <a:gd name="connsiteY121" fmla="*/ 34166 h 193628"/>
                <a:gd name="connsiteX122" fmla="*/ 78950 w 206120"/>
                <a:gd name="connsiteY122" fmla="*/ 36914 h 193628"/>
                <a:gd name="connsiteX123" fmla="*/ 67208 w 206120"/>
                <a:gd name="connsiteY123" fmla="*/ 44847 h 193628"/>
                <a:gd name="connsiteX124" fmla="*/ 59025 w 206120"/>
                <a:gd name="connsiteY124" fmla="*/ 50780 h 193628"/>
                <a:gd name="connsiteX125" fmla="*/ 48407 w 206120"/>
                <a:gd name="connsiteY125" fmla="*/ 60837 h 193628"/>
                <a:gd name="connsiteX126" fmla="*/ 47845 w 206120"/>
                <a:gd name="connsiteY126" fmla="*/ 61649 h 193628"/>
                <a:gd name="connsiteX127" fmla="*/ 48282 w 206120"/>
                <a:gd name="connsiteY127" fmla="*/ 61087 h 193628"/>
                <a:gd name="connsiteX128" fmla="*/ 51343 w 206120"/>
                <a:gd name="connsiteY128" fmla="*/ 58775 h 193628"/>
                <a:gd name="connsiteX129" fmla="*/ 53092 w 206120"/>
                <a:gd name="connsiteY129" fmla="*/ 60399 h 193628"/>
                <a:gd name="connsiteX130" fmla="*/ 61586 w 206120"/>
                <a:gd name="connsiteY130" fmla="*/ 52529 h 193628"/>
                <a:gd name="connsiteX131" fmla="*/ 87320 w 206120"/>
                <a:gd name="connsiteY131" fmla="*/ 34353 h 193628"/>
                <a:gd name="connsiteX132" fmla="*/ 93191 w 206120"/>
                <a:gd name="connsiteY132" fmla="*/ 32417 h 193628"/>
                <a:gd name="connsiteX133" fmla="*/ 91442 w 206120"/>
                <a:gd name="connsiteY133" fmla="*/ 36914 h 193628"/>
                <a:gd name="connsiteX134" fmla="*/ 80824 w 206120"/>
                <a:gd name="connsiteY134" fmla="*/ 42411 h 193628"/>
                <a:gd name="connsiteX135" fmla="*/ 66208 w 206120"/>
                <a:gd name="connsiteY135" fmla="*/ 55278 h 193628"/>
                <a:gd name="connsiteX136" fmla="*/ 59712 w 206120"/>
                <a:gd name="connsiteY136" fmla="*/ 65396 h 193628"/>
                <a:gd name="connsiteX137" fmla="*/ 50905 w 206120"/>
                <a:gd name="connsiteY137" fmla="*/ 78513 h 193628"/>
                <a:gd name="connsiteX138" fmla="*/ 51030 w 206120"/>
                <a:gd name="connsiteY138" fmla="*/ 79387 h 193628"/>
                <a:gd name="connsiteX139" fmla="*/ 55403 w 206120"/>
                <a:gd name="connsiteY139" fmla="*/ 75640 h 193628"/>
                <a:gd name="connsiteX140" fmla="*/ 54778 w 206120"/>
                <a:gd name="connsiteY140" fmla="*/ 80637 h 193628"/>
                <a:gd name="connsiteX141" fmla="*/ 53279 w 206120"/>
                <a:gd name="connsiteY141" fmla="*/ 85071 h 193628"/>
                <a:gd name="connsiteX142" fmla="*/ 55652 w 206120"/>
                <a:gd name="connsiteY142" fmla="*/ 79637 h 193628"/>
                <a:gd name="connsiteX143" fmla="*/ 58963 w 206120"/>
                <a:gd name="connsiteY143" fmla="*/ 78013 h 193628"/>
                <a:gd name="connsiteX144" fmla="*/ 60712 w 206120"/>
                <a:gd name="connsiteY144" fmla="*/ 79387 h 193628"/>
                <a:gd name="connsiteX145" fmla="*/ 58651 w 206120"/>
                <a:gd name="connsiteY145" fmla="*/ 89194 h 193628"/>
                <a:gd name="connsiteX146" fmla="*/ 58838 w 206120"/>
                <a:gd name="connsiteY146" fmla="*/ 90068 h 193628"/>
                <a:gd name="connsiteX147" fmla="*/ 58713 w 206120"/>
                <a:gd name="connsiteY147" fmla="*/ 89631 h 193628"/>
                <a:gd name="connsiteX148" fmla="*/ 72205 w 206120"/>
                <a:gd name="connsiteY148" fmla="*/ 67208 h 193628"/>
                <a:gd name="connsiteX149" fmla="*/ 74266 w 206120"/>
                <a:gd name="connsiteY149" fmla="*/ 62711 h 193628"/>
                <a:gd name="connsiteX150" fmla="*/ 79325 w 206120"/>
                <a:gd name="connsiteY150" fmla="*/ 60462 h 193628"/>
                <a:gd name="connsiteX151" fmla="*/ 87258 w 206120"/>
                <a:gd name="connsiteY151" fmla="*/ 57214 h 193628"/>
                <a:gd name="connsiteX152" fmla="*/ 98438 w 206120"/>
                <a:gd name="connsiteY152" fmla="*/ 39225 h 193628"/>
                <a:gd name="connsiteX153" fmla="*/ 113429 w 206120"/>
                <a:gd name="connsiteY153" fmla="*/ 28170 h 193628"/>
                <a:gd name="connsiteX154" fmla="*/ 116302 w 206120"/>
                <a:gd name="connsiteY154" fmla="*/ 28045 h 193628"/>
                <a:gd name="connsiteX155" fmla="*/ 115677 w 206120"/>
                <a:gd name="connsiteY155" fmla="*/ 30980 h 193628"/>
                <a:gd name="connsiteX156" fmla="*/ 110868 w 206120"/>
                <a:gd name="connsiteY156" fmla="*/ 35728 h 193628"/>
                <a:gd name="connsiteX157" fmla="*/ 121486 w 206120"/>
                <a:gd name="connsiteY157" fmla="*/ 30293 h 193628"/>
                <a:gd name="connsiteX158" fmla="*/ 127357 w 206120"/>
                <a:gd name="connsiteY158" fmla="*/ 28794 h 193628"/>
                <a:gd name="connsiteX159" fmla="*/ 138725 w 206120"/>
                <a:gd name="connsiteY159" fmla="*/ 25921 h 193628"/>
                <a:gd name="connsiteX160" fmla="*/ 141224 w 206120"/>
                <a:gd name="connsiteY160" fmla="*/ 27358 h 193628"/>
                <a:gd name="connsiteX161" fmla="*/ 139350 w 206120"/>
                <a:gd name="connsiteY161" fmla="*/ 29232 h 193628"/>
                <a:gd name="connsiteX162" fmla="*/ 133354 w 206120"/>
                <a:gd name="connsiteY162" fmla="*/ 32167 h 193628"/>
                <a:gd name="connsiteX163" fmla="*/ 121486 w 206120"/>
                <a:gd name="connsiteY163" fmla="*/ 38538 h 193628"/>
                <a:gd name="connsiteX164" fmla="*/ 126233 w 206120"/>
                <a:gd name="connsiteY164" fmla="*/ 37476 h 193628"/>
                <a:gd name="connsiteX165" fmla="*/ 124297 w 206120"/>
                <a:gd name="connsiteY165" fmla="*/ 41411 h 193628"/>
                <a:gd name="connsiteX166" fmla="*/ 118550 w 206120"/>
                <a:gd name="connsiteY166" fmla="*/ 47283 h 193628"/>
                <a:gd name="connsiteX167" fmla="*/ 125796 w 206120"/>
                <a:gd name="connsiteY167" fmla="*/ 40350 h 193628"/>
                <a:gd name="connsiteX168" fmla="*/ 127919 w 206120"/>
                <a:gd name="connsiteY168" fmla="*/ 36290 h 193628"/>
                <a:gd name="connsiteX169" fmla="*/ 133728 w 206120"/>
                <a:gd name="connsiteY169" fmla="*/ 31917 h 193628"/>
                <a:gd name="connsiteX170" fmla="*/ 155027 w 206120"/>
                <a:gd name="connsiteY170" fmla="*/ 27795 h 193628"/>
                <a:gd name="connsiteX171" fmla="*/ 139974 w 206120"/>
                <a:gd name="connsiteY171" fmla="*/ 25671 h 193628"/>
                <a:gd name="connsiteX172" fmla="*/ 124984 w 206120"/>
                <a:gd name="connsiteY172" fmla="*/ 29481 h 193628"/>
                <a:gd name="connsiteX173" fmla="*/ 124796 w 206120"/>
                <a:gd name="connsiteY173" fmla="*/ 25297 h 193628"/>
                <a:gd name="connsiteX174" fmla="*/ 133354 w 206120"/>
                <a:gd name="connsiteY174" fmla="*/ 21924 h 193628"/>
                <a:gd name="connsiteX175" fmla="*/ 131355 w 206120"/>
                <a:gd name="connsiteY175" fmla="*/ 21049 h 193628"/>
                <a:gd name="connsiteX176" fmla="*/ 134165 w 206120"/>
                <a:gd name="connsiteY176" fmla="*/ 19050 h 193628"/>
                <a:gd name="connsiteX177" fmla="*/ 145096 w 206120"/>
                <a:gd name="connsiteY177" fmla="*/ 18738 h 193628"/>
                <a:gd name="connsiteX178" fmla="*/ 143035 w 206120"/>
                <a:gd name="connsiteY178" fmla="*/ 16927 h 193628"/>
                <a:gd name="connsiteX179" fmla="*/ 142972 w 206120"/>
                <a:gd name="connsiteY179" fmla="*/ 13929 h 193628"/>
                <a:gd name="connsiteX180" fmla="*/ 145221 w 206120"/>
                <a:gd name="connsiteY180" fmla="*/ 13679 h 193628"/>
                <a:gd name="connsiteX181" fmla="*/ 152779 w 206120"/>
                <a:gd name="connsiteY181" fmla="*/ 16240 h 193628"/>
                <a:gd name="connsiteX182" fmla="*/ 154153 w 206120"/>
                <a:gd name="connsiteY182" fmla="*/ 16677 h 193628"/>
                <a:gd name="connsiteX183" fmla="*/ 159774 w 206120"/>
                <a:gd name="connsiteY183" fmla="*/ 16927 h 193628"/>
                <a:gd name="connsiteX184" fmla="*/ 140724 w 206120"/>
                <a:gd name="connsiteY184" fmla="*/ 10993 h 193628"/>
                <a:gd name="connsiteX185" fmla="*/ 138413 w 206120"/>
                <a:gd name="connsiteY185" fmla="*/ 10556 h 193628"/>
                <a:gd name="connsiteX186" fmla="*/ 97314 w 206120"/>
                <a:gd name="connsiteY186" fmla="*/ 15303 h 193628"/>
                <a:gd name="connsiteX187" fmla="*/ 79762 w 206120"/>
                <a:gd name="connsiteY187" fmla="*/ 22736 h 193628"/>
                <a:gd name="connsiteX188" fmla="*/ 80262 w 206120"/>
                <a:gd name="connsiteY188" fmla="*/ 19238 h 193628"/>
                <a:gd name="connsiteX189" fmla="*/ 83822 w 206120"/>
                <a:gd name="connsiteY189" fmla="*/ 15803 h 193628"/>
                <a:gd name="connsiteX190" fmla="*/ 87757 w 206120"/>
                <a:gd name="connsiteY190" fmla="*/ 13554 h 193628"/>
                <a:gd name="connsiteX191" fmla="*/ 92067 w 206120"/>
                <a:gd name="connsiteY191" fmla="*/ 8745 h 193628"/>
                <a:gd name="connsiteX192" fmla="*/ 97439 w 206120"/>
                <a:gd name="connsiteY192" fmla="*/ 6808 h 193628"/>
                <a:gd name="connsiteX193" fmla="*/ 94378 w 206120"/>
                <a:gd name="connsiteY193" fmla="*/ 11430 h 193628"/>
                <a:gd name="connsiteX194" fmla="*/ 141911 w 206120"/>
                <a:gd name="connsiteY194" fmla="*/ 0 h 193628"/>
                <a:gd name="connsiteX195" fmla="*/ 138663 w 206120"/>
                <a:gd name="connsiteY195" fmla="*/ 1999 h 193628"/>
                <a:gd name="connsiteX196" fmla="*/ 150967 w 206120"/>
                <a:gd name="connsiteY196" fmla="*/ 6871 h 193628"/>
                <a:gd name="connsiteX197" fmla="*/ 162897 w 206120"/>
                <a:gd name="connsiteY197" fmla="*/ 11805 h 193628"/>
                <a:gd name="connsiteX198" fmla="*/ 170330 w 206120"/>
                <a:gd name="connsiteY198" fmla="*/ 14678 h 193628"/>
                <a:gd name="connsiteX199" fmla="*/ 172641 w 206120"/>
                <a:gd name="connsiteY199" fmla="*/ 16427 h 193628"/>
                <a:gd name="connsiteX200" fmla="*/ 185696 w 206120"/>
                <a:gd name="connsiteY200" fmla="*/ 29544 h 193628"/>
                <a:gd name="connsiteX201" fmla="*/ 181698 w 206120"/>
                <a:gd name="connsiteY201" fmla="*/ 26421 h 193628"/>
                <a:gd name="connsiteX202" fmla="*/ 180074 w 206120"/>
                <a:gd name="connsiteY202" fmla="*/ 23423 h 193628"/>
                <a:gd name="connsiteX203" fmla="*/ 183822 w 206120"/>
                <a:gd name="connsiteY203" fmla="*/ 23610 h 193628"/>
                <a:gd name="connsiteX204" fmla="*/ 177201 w 206120"/>
                <a:gd name="connsiteY204" fmla="*/ 19363 h 193628"/>
                <a:gd name="connsiteX205" fmla="*/ 172704 w 206120"/>
                <a:gd name="connsiteY205" fmla="*/ 15927 h 193628"/>
                <a:gd name="connsiteX206" fmla="*/ 172329 w 206120"/>
                <a:gd name="connsiteY206" fmla="*/ 12117 h 193628"/>
                <a:gd name="connsiteX207" fmla="*/ 184759 w 206120"/>
                <a:gd name="connsiteY207" fmla="*/ 17989 h 193628"/>
                <a:gd name="connsiteX208" fmla="*/ 173516 w 206120"/>
                <a:gd name="connsiteY208" fmla="*/ 12180 h 193628"/>
                <a:gd name="connsiteX209" fmla="*/ 169143 w 206120"/>
                <a:gd name="connsiteY209" fmla="*/ 6808 h 193628"/>
                <a:gd name="connsiteX210" fmla="*/ 173890 w 206120"/>
                <a:gd name="connsiteY210" fmla="*/ 6996 h 193628"/>
                <a:gd name="connsiteX211" fmla="*/ 189818 w 206120"/>
                <a:gd name="connsiteY211" fmla="*/ 16240 h 193628"/>
                <a:gd name="connsiteX212" fmla="*/ 199187 w 206120"/>
                <a:gd name="connsiteY212" fmla="*/ 21174 h 193628"/>
                <a:gd name="connsiteX213" fmla="*/ 204496 w 206120"/>
                <a:gd name="connsiteY213" fmla="*/ 26109 h 193628"/>
                <a:gd name="connsiteX214" fmla="*/ 205121 w 206120"/>
                <a:gd name="connsiteY214" fmla="*/ 29169 h 193628"/>
                <a:gd name="connsiteX215" fmla="*/ 197001 w 206120"/>
                <a:gd name="connsiteY215" fmla="*/ 28045 h 193628"/>
                <a:gd name="connsiteX216" fmla="*/ 193691 w 206120"/>
                <a:gd name="connsiteY216" fmla="*/ 26483 h 193628"/>
                <a:gd name="connsiteX217" fmla="*/ 195939 w 206120"/>
                <a:gd name="connsiteY217" fmla="*/ 28982 h 193628"/>
                <a:gd name="connsiteX218" fmla="*/ 194877 w 206120"/>
                <a:gd name="connsiteY218" fmla="*/ 31855 h 193628"/>
                <a:gd name="connsiteX219" fmla="*/ 198063 w 206120"/>
                <a:gd name="connsiteY219" fmla="*/ 36664 h 193628"/>
                <a:gd name="connsiteX220" fmla="*/ 203247 w 206120"/>
                <a:gd name="connsiteY220" fmla="*/ 40225 h 193628"/>
                <a:gd name="connsiteX221" fmla="*/ 205183 w 206120"/>
                <a:gd name="connsiteY221" fmla="*/ 46408 h 193628"/>
                <a:gd name="connsiteX222" fmla="*/ 204933 w 206120"/>
                <a:gd name="connsiteY222" fmla="*/ 55340 h 193628"/>
                <a:gd name="connsiteX223" fmla="*/ 201248 w 206120"/>
                <a:gd name="connsiteY223" fmla="*/ 57901 h 193628"/>
                <a:gd name="connsiteX224" fmla="*/ 194502 w 206120"/>
                <a:gd name="connsiteY224" fmla="*/ 50218 h 193628"/>
                <a:gd name="connsiteX225" fmla="*/ 174952 w 206120"/>
                <a:gd name="connsiteY225" fmla="*/ 38163 h 193628"/>
                <a:gd name="connsiteX226" fmla="*/ 173203 w 206120"/>
                <a:gd name="connsiteY226" fmla="*/ 37289 h 193628"/>
                <a:gd name="connsiteX227" fmla="*/ 172891 w 206120"/>
                <a:gd name="connsiteY227" fmla="*/ 35915 h 193628"/>
                <a:gd name="connsiteX228" fmla="*/ 170268 w 206120"/>
                <a:gd name="connsiteY228" fmla="*/ 33791 h 193628"/>
                <a:gd name="connsiteX229" fmla="*/ 168644 w 206120"/>
                <a:gd name="connsiteY229" fmla="*/ 30980 h 193628"/>
                <a:gd name="connsiteX230" fmla="*/ 161960 w 206120"/>
                <a:gd name="connsiteY230" fmla="*/ 29356 h 193628"/>
                <a:gd name="connsiteX231" fmla="*/ 168269 w 206120"/>
                <a:gd name="connsiteY231" fmla="*/ 30918 h 193628"/>
                <a:gd name="connsiteX232" fmla="*/ 169768 w 206120"/>
                <a:gd name="connsiteY232" fmla="*/ 34166 h 193628"/>
                <a:gd name="connsiteX233" fmla="*/ 163709 w 206120"/>
                <a:gd name="connsiteY233" fmla="*/ 34416 h 193628"/>
                <a:gd name="connsiteX234" fmla="*/ 145346 w 206120"/>
                <a:gd name="connsiteY234" fmla="*/ 37851 h 193628"/>
                <a:gd name="connsiteX235" fmla="*/ 129543 w 206120"/>
                <a:gd name="connsiteY235" fmla="*/ 47408 h 1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206120" h="193628">
                  <a:moveTo>
                    <a:pt x="129543" y="47408"/>
                  </a:moveTo>
                  <a:cubicBezTo>
                    <a:pt x="128856" y="48032"/>
                    <a:pt x="128107" y="48719"/>
                    <a:pt x="127420" y="49344"/>
                  </a:cubicBezTo>
                  <a:cubicBezTo>
                    <a:pt x="126858" y="51468"/>
                    <a:pt x="125546" y="53216"/>
                    <a:pt x="123984" y="54840"/>
                  </a:cubicBezTo>
                  <a:cubicBezTo>
                    <a:pt x="122798" y="56152"/>
                    <a:pt x="121986" y="57401"/>
                    <a:pt x="124109" y="58651"/>
                  </a:cubicBezTo>
                  <a:cubicBezTo>
                    <a:pt x="124734" y="58963"/>
                    <a:pt x="125296" y="59338"/>
                    <a:pt x="125671" y="59900"/>
                  </a:cubicBezTo>
                  <a:cubicBezTo>
                    <a:pt x="125983" y="60524"/>
                    <a:pt x="125983" y="61149"/>
                    <a:pt x="125671" y="61774"/>
                  </a:cubicBezTo>
                  <a:cubicBezTo>
                    <a:pt x="124297" y="62773"/>
                    <a:pt x="122610" y="62586"/>
                    <a:pt x="120986" y="62586"/>
                  </a:cubicBezTo>
                  <a:cubicBezTo>
                    <a:pt x="118675" y="62523"/>
                    <a:pt x="116489" y="60150"/>
                    <a:pt x="113991" y="62211"/>
                  </a:cubicBezTo>
                  <a:cubicBezTo>
                    <a:pt x="109993" y="65209"/>
                    <a:pt x="107932" y="70456"/>
                    <a:pt x="101686" y="70830"/>
                  </a:cubicBezTo>
                  <a:cubicBezTo>
                    <a:pt x="100936" y="70768"/>
                    <a:pt x="100187" y="70581"/>
                    <a:pt x="99500" y="70206"/>
                  </a:cubicBezTo>
                  <a:cubicBezTo>
                    <a:pt x="97126" y="68207"/>
                    <a:pt x="94440" y="68832"/>
                    <a:pt x="92005" y="69769"/>
                  </a:cubicBezTo>
                  <a:cubicBezTo>
                    <a:pt x="87133" y="71642"/>
                    <a:pt x="82386" y="71517"/>
                    <a:pt x="77514" y="69831"/>
                  </a:cubicBezTo>
                  <a:cubicBezTo>
                    <a:pt x="74141" y="70206"/>
                    <a:pt x="73579" y="72954"/>
                    <a:pt x="72142" y="74953"/>
                  </a:cubicBezTo>
                  <a:cubicBezTo>
                    <a:pt x="66458" y="80387"/>
                    <a:pt x="64897" y="87258"/>
                    <a:pt x="63585" y="94253"/>
                  </a:cubicBezTo>
                  <a:cubicBezTo>
                    <a:pt x="62398" y="100562"/>
                    <a:pt x="60712" y="106808"/>
                    <a:pt x="61836" y="113304"/>
                  </a:cubicBezTo>
                  <a:cubicBezTo>
                    <a:pt x="60150" y="116739"/>
                    <a:pt x="61461" y="119862"/>
                    <a:pt x="63148" y="122985"/>
                  </a:cubicBezTo>
                  <a:cubicBezTo>
                    <a:pt x="63522" y="123735"/>
                    <a:pt x="63835" y="124547"/>
                    <a:pt x="64147" y="125296"/>
                  </a:cubicBezTo>
                  <a:cubicBezTo>
                    <a:pt x="64647" y="126920"/>
                    <a:pt x="65896" y="128044"/>
                    <a:pt x="67208" y="129231"/>
                  </a:cubicBezTo>
                  <a:cubicBezTo>
                    <a:pt x="69081" y="131417"/>
                    <a:pt x="71080" y="133478"/>
                    <a:pt x="73641" y="135102"/>
                  </a:cubicBezTo>
                  <a:cubicBezTo>
                    <a:pt x="74516" y="136164"/>
                    <a:pt x="75890" y="137101"/>
                    <a:pt x="74765" y="138663"/>
                  </a:cubicBezTo>
                  <a:cubicBezTo>
                    <a:pt x="74578" y="139350"/>
                    <a:pt x="72642" y="139287"/>
                    <a:pt x="73391" y="139475"/>
                  </a:cubicBezTo>
                  <a:cubicBezTo>
                    <a:pt x="78451" y="140599"/>
                    <a:pt x="81386" y="145846"/>
                    <a:pt x="87382" y="144971"/>
                  </a:cubicBezTo>
                  <a:cubicBezTo>
                    <a:pt x="88881" y="144721"/>
                    <a:pt x="90943" y="145596"/>
                    <a:pt x="90880" y="147220"/>
                  </a:cubicBezTo>
                  <a:cubicBezTo>
                    <a:pt x="90818" y="149406"/>
                    <a:pt x="88507" y="149094"/>
                    <a:pt x="86820" y="149281"/>
                  </a:cubicBezTo>
                  <a:cubicBezTo>
                    <a:pt x="83760" y="149531"/>
                    <a:pt x="80887" y="148531"/>
                    <a:pt x="77888" y="148094"/>
                  </a:cubicBezTo>
                  <a:cubicBezTo>
                    <a:pt x="76015" y="147844"/>
                    <a:pt x="74391" y="148032"/>
                    <a:pt x="72704" y="148531"/>
                  </a:cubicBezTo>
                  <a:cubicBezTo>
                    <a:pt x="68332" y="147345"/>
                    <a:pt x="65084" y="144222"/>
                    <a:pt x="61274" y="143097"/>
                  </a:cubicBezTo>
                  <a:cubicBezTo>
                    <a:pt x="62835" y="144034"/>
                    <a:pt x="65146" y="144784"/>
                    <a:pt x="67145" y="146033"/>
                  </a:cubicBezTo>
                  <a:cubicBezTo>
                    <a:pt x="68644" y="146907"/>
                    <a:pt x="69769" y="147907"/>
                    <a:pt x="68769" y="149531"/>
                  </a:cubicBezTo>
                  <a:cubicBezTo>
                    <a:pt x="67832" y="151155"/>
                    <a:pt x="66208" y="150967"/>
                    <a:pt x="64584" y="150343"/>
                  </a:cubicBezTo>
                  <a:cubicBezTo>
                    <a:pt x="61149" y="149031"/>
                    <a:pt x="58026" y="147220"/>
                    <a:pt x="54840" y="145533"/>
                  </a:cubicBezTo>
                  <a:cubicBezTo>
                    <a:pt x="60337" y="148531"/>
                    <a:pt x="65771" y="151654"/>
                    <a:pt x="72579" y="151842"/>
                  </a:cubicBezTo>
                  <a:cubicBezTo>
                    <a:pt x="76577" y="151967"/>
                    <a:pt x="80199" y="153091"/>
                    <a:pt x="84634" y="151217"/>
                  </a:cubicBezTo>
                  <a:cubicBezTo>
                    <a:pt x="89006" y="149406"/>
                    <a:pt x="94815" y="149968"/>
                    <a:pt x="99812" y="151405"/>
                  </a:cubicBezTo>
                  <a:cubicBezTo>
                    <a:pt x="101748" y="151967"/>
                    <a:pt x="103622" y="152279"/>
                    <a:pt x="105558" y="152092"/>
                  </a:cubicBezTo>
                  <a:cubicBezTo>
                    <a:pt x="107183" y="151967"/>
                    <a:pt x="104934" y="151155"/>
                    <a:pt x="105558" y="150655"/>
                  </a:cubicBezTo>
                  <a:cubicBezTo>
                    <a:pt x="107370" y="147969"/>
                    <a:pt x="110680" y="150405"/>
                    <a:pt x="112866" y="148844"/>
                  </a:cubicBezTo>
                  <a:cubicBezTo>
                    <a:pt x="116989" y="148094"/>
                    <a:pt x="120861" y="149406"/>
                    <a:pt x="124796" y="149843"/>
                  </a:cubicBezTo>
                  <a:cubicBezTo>
                    <a:pt x="126483" y="150718"/>
                    <a:pt x="129731" y="150280"/>
                    <a:pt x="129294" y="152904"/>
                  </a:cubicBezTo>
                  <a:cubicBezTo>
                    <a:pt x="128919" y="155527"/>
                    <a:pt x="126046" y="156027"/>
                    <a:pt x="123547" y="156152"/>
                  </a:cubicBezTo>
                  <a:cubicBezTo>
                    <a:pt x="120924" y="156277"/>
                    <a:pt x="118238" y="156464"/>
                    <a:pt x="115740" y="155589"/>
                  </a:cubicBezTo>
                  <a:cubicBezTo>
                    <a:pt x="113866" y="154902"/>
                    <a:pt x="114865" y="156152"/>
                    <a:pt x="114678" y="156651"/>
                  </a:cubicBezTo>
                  <a:cubicBezTo>
                    <a:pt x="109556" y="159150"/>
                    <a:pt x="103747" y="159712"/>
                    <a:pt x="99250" y="161461"/>
                  </a:cubicBezTo>
                  <a:cubicBezTo>
                    <a:pt x="105434" y="159525"/>
                    <a:pt x="112554" y="157901"/>
                    <a:pt x="119799" y="157026"/>
                  </a:cubicBezTo>
                  <a:cubicBezTo>
                    <a:pt x="120612" y="157338"/>
                    <a:pt x="121111" y="157776"/>
                    <a:pt x="121299" y="158588"/>
                  </a:cubicBezTo>
                  <a:cubicBezTo>
                    <a:pt x="120861" y="161336"/>
                    <a:pt x="118176" y="161711"/>
                    <a:pt x="116052" y="162585"/>
                  </a:cubicBezTo>
                  <a:cubicBezTo>
                    <a:pt x="113366" y="163147"/>
                    <a:pt x="110743" y="164084"/>
                    <a:pt x="108057" y="164584"/>
                  </a:cubicBezTo>
                  <a:cubicBezTo>
                    <a:pt x="105996" y="164959"/>
                    <a:pt x="105184" y="166083"/>
                    <a:pt x="104934" y="167769"/>
                  </a:cubicBezTo>
                  <a:cubicBezTo>
                    <a:pt x="104122" y="168831"/>
                    <a:pt x="102935" y="169206"/>
                    <a:pt x="101499" y="169143"/>
                  </a:cubicBezTo>
                  <a:cubicBezTo>
                    <a:pt x="90880" y="166208"/>
                    <a:pt x="79512" y="166895"/>
                    <a:pt x="68832" y="163959"/>
                  </a:cubicBezTo>
                  <a:cubicBezTo>
                    <a:pt x="64834" y="162835"/>
                    <a:pt x="61399" y="160212"/>
                    <a:pt x="56964" y="160337"/>
                  </a:cubicBezTo>
                  <a:cubicBezTo>
                    <a:pt x="55652" y="160711"/>
                    <a:pt x="54528" y="161586"/>
                    <a:pt x="53217" y="161960"/>
                  </a:cubicBezTo>
                  <a:cubicBezTo>
                    <a:pt x="52904" y="162023"/>
                    <a:pt x="52529" y="161960"/>
                    <a:pt x="52155" y="161960"/>
                  </a:cubicBezTo>
                  <a:cubicBezTo>
                    <a:pt x="52030" y="161960"/>
                    <a:pt x="51905" y="162085"/>
                    <a:pt x="51780" y="162148"/>
                  </a:cubicBezTo>
                  <a:cubicBezTo>
                    <a:pt x="55840" y="164709"/>
                    <a:pt x="58900" y="168706"/>
                    <a:pt x="64272" y="169518"/>
                  </a:cubicBezTo>
                  <a:cubicBezTo>
                    <a:pt x="75390" y="173516"/>
                    <a:pt x="86758" y="176014"/>
                    <a:pt x="98813" y="174390"/>
                  </a:cubicBezTo>
                  <a:cubicBezTo>
                    <a:pt x="103935" y="174765"/>
                    <a:pt x="109056" y="173828"/>
                    <a:pt x="114116" y="173703"/>
                  </a:cubicBezTo>
                  <a:cubicBezTo>
                    <a:pt x="116239" y="173641"/>
                    <a:pt x="118363" y="173641"/>
                    <a:pt x="120299" y="174640"/>
                  </a:cubicBezTo>
                  <a:cubicBezTo>
                    <a:pt x="120799" y="174952"/>
                    <a:pt x="121111" y="175389"/>
                    <a:pt x="121174" y="175889"/>
                  </a:cubicBezTo>
                  <a:cubicBezTo>
                    <a:pt x="120861" y="178263"/>
                    <a:pt x="118675" y="178450"/>
                    <a:pt x="116864" y="178575"/>
                  </a:cubicBezTo>
                  <a:cubicBezTo>
                    <a:pt x="105746" y="179200"/>
                    <a:pt x="94690" y="180574"/>
                    <a:pt x="83572" y="180074"/>
                  </a:cubicBezTo>
                  <a:cubicBezTo>
                    <a:pt x="81761" y="180012"/>
                    <a:pt x="80324" y="178950"/>
                    <a:pt x="79013" y="179012"/>
                  </a:cubicBezTo>
                  <a:cubicBezTo>
                    <a:pt x="82510" y="180761"/>
                    <a:pt x="86820" y="179762"/>
                    <a:pt x="91005" y="180199"/>
                  </a:cubicBezTo>
                  <a:cubicBezTo>
                    <a:pt x="94316" y="181198"/>
                    <a:pt x="97938" y="179824"/>
                    <a:pt x="101124" y="181448"/>
                  </a:cubicBezTo>
                  <a:cubicBezTo>
                    <a:pt x="101998" y="184384"/>
                    <a:pt x="99437" y="184072"/>
                    <a:pt x="97813" y="183947"/>
                  </a:cubicBezTo>
                  <a:cubicBezTo>
                    <a:pt x="96127" y="183884"/>
                    <a:pt x="94440" y="183260"/>
                    <a:pt x="93004" y="183322"/>
                  </a:cubicBezTo>
                  <a:cubicBezTo>
                    <a:pt x="92005" y="183260"/>
                    <a:pt x="92754" y="184321"/>
                    <a:pt x="92629" y="183697"/>
                  </a:cubicBezTo>
                  <a:cubicBezTo>
                    <a:pt x="92567" y="183447"/>
                    <a:pt x="92692" y="183322"/>
                    <a:pt x="93004" y="183385"/>
                  </a:cubicBezTo>
                  <a:cubicBezTo>
                    <a:pt x="94066" y="183634"/>
                    <a:pt x="95877" y="182822"/>
                    <a:pt x="96065" y="184384"/>
                  </a:cubicBezTo>
                  <a:cubicBezTo>
                    <a:pt x="96252" y="185883"/>
                    <a:pt x="94753" y="186570"/>
                    <a:pt x="93316" y="186820"/>
                  </a:cubicBezTo>
                  <a:cubicBezTo>
                    <a:pt x="89131" y="187569"/>
                    <a:pt x="84884" y="187132"/>
                    <a:pt x="80637" y="187195"/>
                  </a:cubicBezTo>
                  <a:cubicBezTo>
                    <a:pt x="74828" y="187257"/>
                    <a:pt x="69081" y="186320"/>
                    <a:pt x="63585" y="186882"/>
                  </a:cubicBezTo>
                  <a:cubicBezTo>
                    <a:pt x="65022" y="187757"/>
                    <a:pt x="67270" y="187944"/>
                    <a:pt x="68457" y="189693"/>
                  </a:cubicBezTo>
                  <a:cubicBezTo>
                    <a:pt x="67520" y="191255"/>
                    <a:pt x="67520" y="191255"/>
                    <a:pt x="71767" y="191629"/>
                  </a:cubicBezTo>
                  <a:cubicBezTo>
                    <a:pt x="72267" y="191754"/>
                    <a:pt x="72767" y="191879"/>
                    <a:pt x="73329" y="192004"/>
                  </a:cubicBezTo>
                  <a:cubicBezTo>
                    <a:pt x="75328" y="192504"/>
                    <a:pt x="78888" y="191504"/>
                    <a:pt x="78763" y="194190"/>
                  </a:cubicBezTo>
                  <a:cubicBezTo>
                    <a:pt x="78638" y="196126"/>
                    <a:pt x="75265" y="195627"/>
                    <a:pt x="73204" y="195752"/>
                  </a:cubicBezTo>
                  <a:cubicBezTo>
                    <a:pt x="63210" y="196126"/>
                    <a:pt x="55028" y="193128"/>
                    <a:pt x="49656" y="185008"/>
                  </a:cubicBezTo>
                  <a:cubicBezTo>
                    <a:pt x="50156" y="186258"/>
                    <a:pt x="50968" y="187382"/>
                    <a:pt x="49531" y="188381"/>
                  </a:cubicBezTo>
                  <a:cubicBezTo>
                    <a:pt x="48282" y="189256"/>
                    <a:pt x="47095" y="188694"/>
                    <a:pt x="46096" y="188007"/>
                  </a:cubicBezTo>
                  <a:cubicBezTo>
                    <a:pt x="42161" y="185508"/>
                    <a:pt x="38226" y="183072"/>
                    <a:pt x="34603" y="180199"/>
                  </a:cubicBezTo>
                  <a:cubicBezTo>
                    <a:pt x="25546" y="173766"/>
                    <a:pt x="19238" y="165208"/>
                    <a:pt x="12492" y="157089"/>
                  </a:cubicBezTo>
                  <a:cubicBezTo>
                    <a:pt x="10244" y="154403"/>
                    <a:pt x="7870" y="151842"/>
                    <a:pt x="6246" y="148781"/>
                  </a:cubicBezTo>
                  <a:cubicBezTo>
                    <a:pt x="5559" y="147907"/>
                    <a:pt x="4934" y="146970"/>
                    <a:pt x="4247" y="146095"/>
                  </a:cubicBezTo>
                  <a:lnTo>
                    <a:pt x="4247" y="146095"/>
                  </a:lnTo>
                  <a:cubicBezTo>
                    <a:pt x="3185" y="143535"/>
                    <a:pt x="2623" y="140786"/>
                    <a:pt x="1062" y="138350"/>
                  </a:cubicBezTo>
                  <a:cubicBezTo>
                    <a:pt x="-375" y="135914"/>
                    <a:pt x="437" y="133166"/>
                    <a:pt x="0" y="130605"/>
                  </a:cubicBezTo>
                  <a:cubicBezTo>
                    <a:pt x="1499" y="130106"/>
                    <a:pt x="2561" y="129356"/>
                    <a:pt x="2124" y="127732"/>
                  </a:cubicBezTo>
                  <a:cubicBezTo>
                    <a:pt x="5809" y="127795"/>
                    <a:pt x="6996" y="126171"/>
                    <a:pt x="6621" y="122860"/>
                  </a:cubicBezTo>
                  <a:cubicBezTo>
                    <a:pt x="5746" y="115989"/>
                    <a:pt x="9744" y="109431"/>
                    <a:pt x="8057" y="102373"/>
                  </a:cubicBezTo>
                  <a:cubicBezTo>
                    <a:pt x="7683" y="100874"/>
                    <a:pt x="10119" y="99625"/>
                    <a:pt x="11805" y="98688"/>
                  </a:cubicBezTo>
                  <a:cubicBezTo>
                    <a:pt x="13866" y="99562"/>
                    <a:pt x="13242" y="101249"/>
                    <a:pt x="13304" y="101748"/>
                  </a:cubicBezTo>
                  <a:cubicBezTo>
                    <a:pt x="11680" y="93878"/>
                    <a:pt x="15053" y="85821"/>
                    <a:pt x="17989" y="77639"/>
                  </a:cubicBezTo>
                  <a:cubicBezTo>
                    <a:pt x="19363" y="73766"/>
                    <a:pt x="21799" y="70081"/>
                    <a:pt x="21486" y="65771"/>
                  </a:cubicBezTo>
                  <a:cubicBezTo>
                    <a:pt x="21362" y="64397"/>
                    <a:pt x="21861" y="63085"/>
                    <a:pt x="22548" y="61898"/>
                  </a:cubicBezTo>
                  <a:cubicBezTo>
                    <a:pt x="22923" y="61461"/>
                    <a:pt x="23235" y="61461"/>
                    <a:pt x="23610" y="61898"/>
                  </a:cubicBezTo>
                  <a:cubicBezTo>
                    <a:pt x="23860" y="63522"/>
                    <a:pt x="22985" y="65396"/>
                    <a:pt x="24672" y="66708"/>
                  </a:cubicBezTo>
                  <a:cubicBezTo>
                    <a:pt x="25734" y="68020"/>
                    <a:pt x="23610" y="69269"/>
                    <a:pt x="24672" y="70581"/>
                  </a:cubicBezTo>
                  <a:cubicBezTo>
                    <a:pt x="25734" y="73516"/>
                    <a:pt x="26796" y="70268"/>
                    <a:pt x="27857" y="70581"/>
                  </a:cubicBezTo>
                  <a:cubicBezTo>
                    <a:pt x="29919" y="67770"/>
                    <a:pt x="30668" y="64522"/>
                    <a:pt x="32042" y="61461"/>
                  </a:cubicBezTo>
                  <a:cubicBezTo>
                    <a:pt x="32480" y="60462"/>
                    <a:pt x="32042" y="58651"/>
                    <a:pt x="34291" y="58963"/>
                  </a:cubicBezTo>
                  <a:cubicBezTo>
                    <a:pt x="34666" y="59275"/>
                    <a:pt x="34978" y="59587"/>
                    <a:pt x="35353" y="59900"/>
                  </a:cubicBezTo>
                  <a:cubicBezTo>
                    <a:pt x="36727" y="63772"/>
                    <a:pt x="33292" y="66396"/>
                    <a:pt x="32292" y="70768"/>
                  </a:cubicBezTo>
                  <a:cubicBezTo>
                    <a:pt x="35665" y="61961"/>
                    <a:pt x="39225" y="54341"/>
                    <a:pt x="43035" y="46721"/>
                  </a:cubicBezTo>
                  <a:cubicBezTo>
                    <a:pt x="44472" y="43785"/>
                    <a:pt x="46096" y="40974"/>
                    <a:pt x="48469" y="38476"/>
                  </a:cubicBezTo>
                  <a:cubicBezTo>
                    <a:pt x="48907" y="37914"/>
                    <a:pt x="49344" y="37351"/>
                    <a:pt x="50218" y="37414"/>
                  </a:cubicBezTo>
                  <a:cubicBezTo>
                    <a:pt x="51218" y="37789"/>
                    <a:pt x="51655" y="38538"/>
                    <a:pt x="51967" y="39413"/>
                  </a:cubicBezTo>
                  <a:cubicBezTo>
                    <a:pt x="52217" y="40412"/>
                    <a:pt x="51655" y="41162"/>
                    <a:pt x="51218" y="41974"/>
                  </a:cubicBezTo>
                  <a:cubicBezTo>
                    <a:pt x="50905" y="42098"/>
                    <a:pt x="50968" y="42223"/>
                    <a:pt x="51343" y="42036"/>
                  </a:cubicBezTo>
                  <a:cubicBezTo>
                    <a:pt x="51967" y="41724"/>
                    <a:pt x="50781" y="41786"/>
                    <a:pt x="51530" y="41724"/>
                  </a:cubicBezTo>
                  <a:cubicBezTo>
                    <a:pt x="51905" y="41224"/>
                    <a:pt x="52342" y="40912"/>
                    <a:pt x="52904" y="40662"/>
                  </a:cubicBezTo>
                  <a:cubicBezTo>
                    <a:pt x="54091" y="40287"/>
                    <a:pt x="55528" y="39850"/>
                    <a:pt x="56090" y="41287"/>
                  </a:cubicBezTo>
                  <a:cubicBezTo>
                    <a:pt x="56652" y="42661"/>
                    <a:pt x="55590" y="43660"/>
                    <a:pt x="54591" y="44659"/>
                  </a:cubicBezTo>
                  <a:cubicBezTo>
                    <a:pt x="51592" y="47657"/>
                    <a:pt x="47720" y="50093"/>
                    <a:pt x="46658" y="54153"/>
                  </a:cubicBezTo>
                  <a:cubicBezTo>
                    <a:pt x="48782" y="47970"/>
                    <a:pt x="54903" y="44972"/>
                    <a:pt x="60212" y="41224"/>
                  </a:cubicBezTo>
                  <a:cubicBezTo>
                    <a:pt x="62461" y="38726"/>
                    <a:pt x="65646" y="37227"/>
                    <a:pt x="68207" y="35103"/>
                  </a:cubicBezTo>
                  <a:cubicBezTo>
                    <a:pt x="71080" y="33604"/>
                    <a:pt x="73828" y="31855"/>
                    <a:pt x="77139" y="31230"/>
                  </a:cubicBezTo>
                  <a:cubicBezTo>
                    <a:pt x="78013" y="31293"/>
                    <a:pt x="79200" y="31418"/>
                    <a:pt x="79200" y="32355"/>
                  </a:cubicBezTo>
                  <a:cubicBezTo>
                    <a:pt x="79138" y="33916"/>
                    <a:pt x="77139" y="33854"/>
                    <a:pt x="76264" y="34791"/>
                  </a:cubicBezTo>
                  <a:cubicBezTo>
                    <a:pt x="76015" y="34978"/>
                    <a:pt x="75765" y="35103"/>
                    <a:pt x="75515" y="35290"/>
                  </a:cubicBezTo>
                  <a:cubicBezTo>
                    <a:pt x="75827" y="35040"/>
                    <a:pt x="76202" y="34853"/>
                    <a:pt x="76514" y="34666"/>
                  </a:cubicBezTo>
                  <a:cubicBezTo>
                    <a:pt x="77701" y="34291"/>
                    <a:pt x="78950" y="32667"/>
                    <a:pt x="80199" y="34166"/>
                  </a:cubicBezTo>
                  <a:cubicBezTo>
                    <a:pt x="81136" y="35290"/>
                    <a:pt x="79887" y="36290"/>
                    <a:pt x="78950" y="36914"/>
                  </a:cubicBezTo>
                  <a:cubicBezTo>
                    <a:pt x="74890" y="39413"/>
                    <a:pt x="71767" y="43035"/>
                    <a:pt x="67208" y="44847"/>
                  </a:cubicBezTo>
                  <a:cubicBezTo>
                    <a:pt x="63460" y="45659"/>
                    <a:pt x="61586" y="48594"/>
                    <a:pt x="59025" y="50780"/>
                  </a:cubicBezTo>
                  <a:cubicBezTo>
                    <a:pt x="55278" y="53966"/>
                    <a:pt x="51842" y="57401"/>
                    <a:pt x="48407" y="60837"/>
                  </a:cubicBezTo>
                  <a:cubicBezTo>
                    <a:pt x="48220" y="61087"/>
                    <a:pt x="47970" y="61336"/>
                    <a:pt x="47845" y="61649"/>
                  </a:cubicBezTo>
                  <a:cubicBezTo>
                    <a:pt x="47970" y="61461"/>
                    <a:pt x="48095" y="61274"/>
                    <a:pt x="48282" y="61087"/>
                  </a:cubicBezTo>
                  <a:cubicBezTo>
                    <a:pt x="49157" y="60150"/>
                    <a:pt x="49594" y="58775"/>
                    <a:pt x="51343" y="58775"/>
                  </a:cubicBezTo>
                  <a:cubicBezTo>
                    <a:pt x="52155" y="59088"/>
                    <a:pt x="52592" y="59775"/>
                    <a:pt x="53092" y="60399"/>
                  </a:cubicBezTo>
                  <a:cubicBezTo>
                    <a:pt x="57464" y="59088"/>
                    <a:pt x="58963" y="55278"/>
                    <a:pt x="61586" y="52529"/>
                  </a:cubicBezTo>
                  <a:cubicBezTo>
                    <a:pt x="68957" y="45097"/>
                    <a:pt x="77451" y="38975"/>
                    <a:pt x="87320" y="34353"/>
                  </a:cubicBezTo>
                  <a:cubicBezTo>
                    <a:pt x="89194" y="33479"/>
                    <a:pt x="90943" y="32292"/>
                    <a:pt x="93191" y="32417"/>
                  </a:cubicBezTo>
                  <a:cubicBezTo>
                    <a:pt x="96002" y="34978"/>
                    <a:pt x="93129" y="36040"/>
                    <a:pt x="91442" y="36914"/>
                  </a:cubicBezTo>
                  <a:cubicBezTo>
                    <a:pt x="87945" y="38851"/>
                    <a:pt x="84197" y="40350"/>
                    <a:pt x="80824" y="42411"/>
                  </a:cubicBezTo>
                  <a:cubicBezTo>
                    <a:pt x="75140" y="45909"/>
                    <a:pt x="69331" y="49406"/>
                    <a:pt x="66208" y="55278"/>
                  </a:cubicBezTo>
                  <a:cubicBezTo>
                    <a:pt x="66583" y="59962"/>
                    <a:pt x="63835" y="63023"/>
                    <a:pt x="59712" y="65396"/>
                  </a:cubicBezTo>
                  <a:cubicBezTo>
                    <a:pt x="54091" y="68332"/>
                    <a:pt x="51030" y="72579"/>
                    <a:pt x="50905" y="78513"/>
                  </a:cubicBezTo>
                  <a:cubicBezTo>
                    <a:pt x="51093" y="78763"/>
                    <a:pt x="51030" y="79450"/>
                    <a:pt x="51030" y="79387"/>
                  </a:cubicBezTo>
                  <a:cubicBezTo>
                    <a:pt x="52092" y="77639"/>
                    <a:pt x="52842" y="74578"/>
                    <a:pt x="55403" y="75640"/>
                  </a:cubicBezTo>
                  <a:cubicBezTo>
                    <a:pt x="57839" y="76639"/>
                    <a:pt x="55278" y="78888"/>
                    <a:pt x="54778" y="80637"/>
                  </a:cubicBezTo>
                  <a:cubicBezTo>
                    <a:pt x="54341" y="82198"/>
                    <a:pt x="53779" y="83635"/>
                    <a:pt x="53279" y="85071"/>
                  </a:cubicBezTo>
                  <a:cubicBezTo>
                    <a:pt x="54278" y="83385"/>
                    <a:pt x="54341" y="81324"/>
                    <a:pt x="55652" y="79637"/>
                  </a:cubicBezTo>
                  <a:cubicBezTo>
                    <a:pt x="56589" y="78763"/>
                    <a:pt x="57464" y="77888"/>
                    <a:pt x="58963" y="78013"/>
                  </a:cubicBezTo>
                  <a:cubicBezTo>
                    <a:pt x="59712" y="78263"/>
                    <a:pt x="60274" y="78700"/>
                    <a:pt x="60712" y="79387"/>
                  </a:cubicBezTo>
                  <a:cubicBezTo>
                    <a:pt x="62336" y="83322"/>
                    <a:pt x="58526" y="86321"/>
                    <a:pt x="58651" y="89194"/>
                  </a:cubicBezTo>
                  <a:cubicBezTo>
                    <a:pt x="58401" y="90630"/>
                    <a:pt x="59525" y="89943"/>
                    <a:pt x="58838" y="90068"/>
                  </a:cubicBezTo>
                  <a:cubicBezTo>
                    <a:pt x="58713" y="90068"/>
                    <a:pt x="58651" y="89943"/>
                    <a:pt x="58713" y="89631"/>
                  </a:cubicBezTo>
                  <a:cubicBezTo>
                    <a:pt x="61024" y="81074"/>
                    <a:pt x="64834" y="73204"/>
                    <a:pt x="72205" y="67208"/>
                  </a:cubicBezTo>
                  <a:cubicBezTo>
                    <a:pt x="73891" y="65834"/>
                    <a:pt x="74578" y="64584"/>
                    <a:pt x="74266" y="62711"/>
                  </a:cubicBezTo>
                  <a:cubicBezTo>
                    <a:pt x="75078" y="60399"/>
                    <a:pt x="76327" y="59025"/>
                    <a:pt x="79325" y="60462"/>
                  </a:cubicBezTo>
                  <a:cubicBezTo>
                    <a:pt x="83385" y="62398"/>
                    <a:pt x="85446" y="60150"/>
                    <a:pt x="87258" y="57214"/>
                  </a:cubicBezTo>
                  <a:cubicBezTo>
                    <a:pt x="91005" y="51218"/>
                    <a:pt x="94128" y="44909"/>
                    <a:pt x="98438" y="39225"/>
                  </a:cubicBezTo>
                  <a:cubicBezTo>
                    <a:pt x="102186" y="34228"/>
                    <a:pt x="108119" y="31480"/>
                    <a:pt x="113429" y="28170"/>
                  </a:cubicBezTo>
                  <a:cubicBezTo>
                    <a:pt x="114303" y="27608"/>
                    <a:pt x="115490" y="27233"/>
                    <a:pt x="116302" y="28045"/>
                  </a:cubicBezTo>
                  <a:cubicBezTo>
                    <a:pt x="117426" y="29107"/>
                    <a:pt x="116302" y="30044"/>
                    <a:pt x="115677" y="30980"/>
                  </a:cubicBezTo>
                  <a:cubicBezTo>
                    <a:pt x="114365" y="32792"/>
                    <a:pt x="111305" y="33229"/>
                    <a:pt x="110868" y="35728"/>
                  </a:cubicBezTo>
                  <a:cubicBezTo>
                    <a:pt x="114678" y="34291"/>
                    <a:pt x="116989" y="30543"/>
                    <a:pt x="121486" y="30293"/>
                  </a:cubicBezTo>
                  <a:cubicBezTo>
                    <a:pt x="123735" y="30731"/>
                    <a:pt x="125483" y="29794"/>
                    <a:pt x="127357" y="28794"/>
                  </a:cubicBezTo>
                  <a:cubicBezTo>
                    <a:pt x="130793" y="26921"/>
                    <a:pt x="134415" y="25172"/>
                    <a:pt x="138725" y="25921"/>
                  </a:cubicBezTo>
                  <a:cubicBezTo>
                    <a:pt x="139724" y="26109"/>
                    <a:pt x="140974" y="26296"/>
                    <a:pt x="141224" y="27358"/>
                  </a:cubicBezTo>
                  <a:cubicBezTo>
                    <a:pt x="141536" y="28607"/>
                    <a:pt x="140287" y="28919"/>
                    <a:pt x="139350" y="29232"/>
                  </a:cubicBezTo>
                  <a:cubicBezTo>
                    <a:pt x="137226" y="29981"/>
                    <a:pt x="135290" y="31105"/>
                    <a:pt x="133354" y="32167"/>
                  </a:cubicBezTo>
                  <a:cubicBezTo>
                    <a:pt x="129294" y="34166"/>
                    <a:pt x="125983" y="37227"/>
                    <a:pt x="121486" y="38538"/>
                  </a:cubicBezTo>
                  <a:cubicBezTo>
                    <a:pt x="123047" y="37914"/>
                    <a:pt x="124297" y="36664"/>
                    <a:pt x="126233" y="37476"/>
                  </a:cubicBezTo>
                  <a:cubicBezTo>
                    <a:pt x="127295" y="39475"/>
                    <a:pt x="125546" y="40350"/>
                    <a:pt x="124297" y="41411"/>
                  </a:cubicBezTo>
                  <a:cubicBezTo>
                    <a:pt x="122173" y="43223"/>
                    <a:pt x="120424" y="45284"/>
                    <a:pt x="118550" y="47283"/>
                  </a:cubicBezTo>
                  <a:cubicBezTo>
                    <a:pt x="120799" y="44847"/>
                    <a:pt x="122860" y="42223"/>
                    <a:pt x="125796" y="40350"/>
                  </a:cubicBezTo>
                  <a:cubicBezTo>
                    <a:pt x="127357" y="39350"/>
                    <a:pt x="128232" y="38101"/>
                    <a:pt x="127919" y="36290"/>
                  </a:cubicBezTo>
                  <a:cubicBezTo>
                    <a:pt x="128919" y="33791"/>
                    <a:pt x="131667" y="33229"/>
                    <a:pt x="133728" y="31917"/>
                  </a:cubicBezTo>
                  <a:cubicBezTo>
                    <a:pt x="140349" y="28607"/>
                    <a:pt x="147095" y="25609"/>
                    <a:pt x="155027" y="27795"/>
                  </a:cubicBezTo>
                  <a:cubicBezTo>
                    <a:pt x="150155" y="26296"/>
                    <a:pt x="144909" y="26733"/>
                    <a:pt x="139974" y="25671"/>
                  </a:cubicBezTo>
                  <a:cubicBezTo>
                    <a:pt x="134290" y="24485"/>
                    <a:pt x="129856" y="27733"/>
                    <a:pt x="124984" y="29481"/>
                  </a:cubicBezTo>
                  <a:cubicBezTo>
                    <a:pt x="122610" y="28170"/>
                    <a:pt x="124609" y="26671"/>
                    <a:pt x="124796" y="25297"/>
                  </a:cubicBezTo>
                  <a:cubicBezTo>
                    <a:pt x="126983" y="22174"/>
                    <a:pt x="130793" y="22361"/>
                    <a:pt x="133354" y="21924"/>
                  </a:cubicBezTo>
                  <a:cubicBezTo>
                    <a:pt x="133041" y="22049"/>
                    <a:pt x="132104" y="21986"/>
                    <a:pt x="131355" y="21049"/>
                  </a:cubicBezTo>
                  <a:cubicBezTo>
                    <a:pt x="131605" y="19550"/>
                    <a:pt x="132854" y="19300"/>
                    <a:pt x="134165" y="19050"/>
                  </a:cubicBezTo>
                  <a:cubicBezTo>
                    <a:pt x="137788" y="18676"/>
                    <a:pt x="141473" y="20550"/>
                    <a:pt x="145096" y="18738"/>
                  </a:cubicBezTo>
                  <a:cubicBezTo>
                    <a:pt x="144971" y="17739"/>
                    <a:pt x="143597" y="17676"/>
                    <a:pt x="143035" y="16927"/>
                  </a:cubicBezTo>
                  <a:cubicBezTo>
                    <a:pt x="142223" y="15927"/>
                    <a:pt x="141473" y="14928"/>
                    <a:pt x="142972" y="13929"/>
                  </a:cubicBezTo>
                  <a:cubicBezTo>
                    <a:pt x="143722" y="13616"/>
                    <a:pt x="144472" y="13554"/>
                    <a:pt x="145221" y="13679"/>
                  </a:cubicBezTo>
                  <a:cubicBezTo>
                    <a:pt x="147782" y="14428"/>
                    <a:pt x="150218" y="15490"/>
                    <a:pt x="152779" y="16240"/>
                  </a:cubicBezTo>
                  <a:cubicBezTo>
                    <a:pt x="153216" y="16365"/>
                    <a:pt x="153716" y="16552"/>
                    <a:pt x="154153" y="16677"/>
                  </a:cubicBezTo>
                  <a:cubicBezTo>
                    <a:pt x="155839" y="16927"/>
                    <a:pt x="157463" y="17676"/>
                    <a:pt x="159774" y="16927"/>
                  </a:cubicBezTo>
                  <a:cubicBezTo>
                    <a:pt x="154840" y="10493"/>
                    <a:pt x="146970" y="12804"/>
                    <a:pt x="140724" y="10993"/>
                  </a:cubicBezTo>
                  <a:cubicBezTo>
                    <a:pt x="139912" y="10931"/>
                    <a:pt x="139162" y="10743"/>
                    <a:pt x="138413" y="10556"/>
                  </a:cubicBezTo>
                  <a:cubicBezTo>
                    <a:pt x="123859" y="6059"/>
                    <a:pt x="110430" y="9931"/>
                    <a:pt x="97314" y="15303"/>
                  </a:cubicBezTo>
                  <a:cubicBezTo>
                    <a:pt x="91068" y="17052"/>
                    <a:pt x="86196" y="21362"/>
                    <a:pt x="79762" y="22736"/>
                  </a:cubicBezTo>
                  <a:cubicBezTo>
                    <a:pt x="77701" y="21362"/>
                    <a:pt x="79387" y="20237"/>
                    <a:pt x="80262" y="19238"/>
                  </a:cubicBezTo>
                  <a:cubicBezTo>
                    <a:pt x="81324" y="17989"/>
                    <a:pt x="83073" y="17302"/>
                    <a:pt x="83822" y="15803"/>
                  </a:cubicBezTo>
                  <a:cubicBezTo>
                    <a:pt x="84509" y="14116"/>
                    <a:pt x="86446" y="14303"/>
                    <a:pt x="87757" y="13554"/>
                  </a:cubicBezTo>
                  <a:cubicBezTo>
                    <a:pt x="91005" y="13242"/>
                    <a:pt x="90693" y="10368"/>
                    <a:pt x="92067" y="8745"/>
                  </a:cubicBezTo>
                  <a:cubicBezTo>
                    <a:pt x="93878" y="8120"/>
                    <a:pt x="95627" y="7433"/>
                    <a:pt x="97439" y="6808"/>
                  </a:cubicBezTo>
                  <a:cubicBezTo>
                    <a:pt x="97688" y="8745"/>
                    <a:pt x="95377" y="9244"/>
                    <a:pt x="94378" y="11430"/>
                  </a:cubicBezTo>
                  <a:cubicBezTo>
                    <a:pt x="109681" y="4435"/>
                    <a:pt x="125358" y="1437"/>
                    <a:pt x="141911" y="0"/>
                  </a:cubicBezTo>
                  <a:cubicBezTo>
                    <a:pt x="141348" y="2686"/>
                    <a:pt x="139537" y="625"/>
                    <a:pt x="138663" y="1999"/>
                  </a:cubicBezTo>
                  <a:cubicBezTo>
                    <a:pt x="141536" y="5996"/>
                    <a:pt x="147095" y="4872"/>
                    <a:pt x="150967" y="6871"/>
                  </a:cubicBezTo>
                  <a:cubicBezTo>
                    <a:pt x="154653" y="9119"/>
                    <a:pt x="159087" y="9869"/>
                    <a:pt x="162897" y="11805"/>
                  </a:cubicBezTo>
                  <a:cubicBezTo>
                    <a:pt x="165271" y="12929"/>
                    <a:pt x="167894" y="13616"/>
                    <a:pt x="170330" y="14678"/>
                  </a:cubicBezTo>
                  <a:cubicBezTo>
                    <a:pt x="171205" y="15115"/>
                    <a:pt x="172017" y="15678"/>
                    <a:pt x="172641" y="16427"/>
                  </a:cubicBezTo>
                  <a:cubicBezTo>
                    <a:pt x="174203" y="23048"/>
                    <a:pt x="181198" y="25297"/>
                    <a:pt x="185696" y="29544"/>
                  </a:cubicBezTo>
                  <a:cubicBezTo>
                    <a:pt x="184446" y="28420"/>
                    <a:pt x="183197" y="27295"/>
                    <a:pt x="181698" y="26421"/>
                  </a:cubicBezTo>
                  <a:cubicBezTo>
                    <a:pt x="180511" y="25734"/>
                    <a:pt x="179012" y="24797"/>
                    <a:pt x="180074" y="23423"/>
                  </a:cubicBezTo>
                  <a:cubicBezTo>
                    <a:pt x="181136" y="22049"/>
                    <a:pt x="182573" y="22986"/>
                    <a:pt x="183822" y="23610"/>
                  </a:cubicBezTo>
                  <a:cubicBezTo>
                    <a:pt x="181573" y="22236"/>
                    <a:pt x="179012" y="21299"/>
                    <a:pt x="177201" y="19363"/>
                  </a:cubicBezTo>
                  <a:cubicBezTo>
                    <a:pt x="175889" y="17989"/>
                    <a:pt x="174078" y="17239"/>
                    <a:pt x="172704" y="15927"/>
                  </a:cubicBezTo>
                  <a:cubicBezTo>
                    <a:pt x="171704" y="14741"/>
                    <a:pt x="169768" y="13616"/>
                    <a:pt x="172329" y="12117"/>
                  </a:cubicBezTo>
                  <a:cubicBezTo>
                    <a:pt x="177013" y="13554"/>
                    <a:pt x="181136" y="16052"/>
                    <a:pt x="184759" y="17989"/>
                  </a:cubicBezTo>
                  <a:cubicBezTo>
                    <a:pt x="181761" y="15740"/>
                    <a:pt x="177388" y="14366"/>
                    <a:pt x="173516" y="12180"/>
                  </a:cubicBezTo>
                  <a:cubicBezTo>
                    <a:pt x="171205" y="10868"/>
                    <a:pt x="169206" y="9556"/>
                    <a:pt x="169143" y="6808"/>
                  </a:cubicBezTo>
                  <a:cubicBezTo>
                    <a:pt x="170830" y="5059"/>
                    <a:pt x="172391" y="6371"/>
                    <a:pt x="173890" y="6996"/>
                  </a:cubicBezTo>
                  <a:cubicBezTo>
                    <a:pt x="179699" y="9369"/>
                    <a:pt x="184696" y="12929"/>
                    <a:pt x="189818" y="16240"/>
                  </a:cubicBezTo>
                  <a:cubicBezTo>
                    <a:pt x="192691" y="18051"/>
                    <a:pt x="193628" y="22611"/>
                    <a:pt x="199187" y="21174"/>
                  </a:cubicBezTo>
                  <a:cubicBezTo>
                    <a:pt x="200311" y="20862"/>
                    <a:pt x="202685" y="24360"/>
                    <a:pt x="204496" y="26109"/>
                  </a:cubicBezTo>
                  <a:cubicBezTo>
                    <a:pt x="204683" y="27108"/>
                    <a:pt x="204933" y="28170"/>
                    <a:pt x="205121" y="29169"/>
                  </a:cubicBezTo>
                  <a:cubicBezTo>
                    <a:pt x="202123" y="29481"/>
                    <a:pt x="200748" y="22049"/>
                    <a:pt x="197001" y="28045"/>
                  </a:cubicBezTo>
                  <a:cubicBezTo>
                    <a:pt x="195190" y="28669"/>
                    <a:pt x="194752" y="27045"/>
                    <a:pt x="193691" y="26483"/>
                  </a:cubicBezTo>
                  <a:cubicBezTo>
                    <a:pt x="194440" y="27233"/>
                    <a:pt x="195439" y="27920"/>
                    <a:pt x="195939" y="28982"/>
                  </a:cubicBezTo>
                  <a:cubicBezTo>
                    <a:pt x="195564" y="29919"/>
                    <a:pt x="195252" y="30918"/>
                    <a:pt x="194877" y="31855"/>
                  </a:cubicBezTo>
                  <a:cubicBezTo>
                    <a:pt x="194253" y="34353"/>
                    <a:pt x="197501" y="34791"/>
                    <a:pt x="198063" y="36664"/>
                  </a:cubicBezTo>
                  <a:cubicBezTo>
                    <a:pt x="199312" y="38413"/>
                    <a:pt x="200686" y="39663"/>
                    <a:pt x="203247" y="40225"/>
                  </a:cubicBezTo>
                  <a:cubicBezTo>
                    <a:pt x="207369" y="41099"/>
                    <a:pt x="208119" y="43722"/>
                    <a:pt x="205183" y="46408"/>
                  </a:cubicBezTo>
                  <a:cubicBezTo>
                    <a:pt x="201810" y="49406"/>
                    <a:pt x="204809" y="52467"/>
                    <a:pt x="204933" y="55340"/>
                  </a:cubicBezTo>
                  <a:cubicBezTo>
                    <a:pt x="205121" y="58651"/>
                    <a:pt x="204309" y="59150"/>
                    <a:pt x="201248" y="57901"/>
                  </a:cubicBezTo>
                  <a:cubicBezTo>
                    <a:pt x="197563" y="56339"/>
                    <a:pt x="196439" y="52904"/>
                    <a:pt x="194502" y="50218"/>
                  </a:cubicBezTo>
                  <a:cubicBezTo>
                    <a:pt x="189756" y="43598"/>
                    <a:pt x="182885" y="40287"/>
                    <a:pt x="174952" y="38163"/>
                  </a:cubicBezTo>
                  <a:cubicBezTo>
                    <a:pt x="174265" y="37976"/>
                    <a:pt x="173578" y="37914"/>
                    <a:pt x="173203" y="37289"/>
                  </a:cubicBezTo>
                  <a:cubicBezTo>
                    <a:pt x="172017" y="37039"/>
                    <a:pt x="175702" y="35977"/>
                    <a:pt x="172891" y="35915"/>
                  </a:cubicBezTo>
                  <a:cubicBezTo>
                    <a:pt x="171517" y="35915"/>
                    <a:pt x="169955" y="35665"/>
                    <a:pt x="170268" y="33791"/>
                  </a:cubicBezTo>
                  <a:cubicBezTo>
                    <a:pt x="171455" y="32042"/>
                    <a:pt x="169955" y="31543"/>
                    <a:pt x="168644" y="30980"/>
                  </a:cubicBezTo>
                  <a:cubicBezTo>
                    <a:pt x="166520" y="30106"/>
                    <a:pt x="164271" y="29606"/>
                    <a:pt x="161960" y="29356"/>
                  </a:cubicBezTo>
                  <a:cubicBezTo>
                    <a:pt x="164147" y="29669"/>
                    <a:pt x="166333" y="29981"/>
                    <a:pt x="168269" y="30918"/>
                  </a:cubicBezTo>
                  <a:cubicBezTo>
                    <a:pt x="169706" y="31605"/>
                    <a:pt x="171267" y="32355"/>
                    <a:pt x="169768" y="34166"/>
                  </a:cubicBezTo>
                  <a:cubicBezTo>
                    <a:pt x="167769" y="35415"/>
                    <a:pt x="165771" y="34666"/>
                    <a:pt x="163709" y="34416"/>
                  </a:cubicBezTo>
                  <a:cubicBezTo>
                    <a:pt x="157151" y="33604"/>
                    <a:pt x="150967" y="34541"/>
                    <a:pt x="145346" y="37851"/>
                  </a:cubicBezTo>
                  <a:cubicBezTo>
                    <a:pt x="139974" y="41037"/>
                    <a:pt x="134540" y="43910"/>
                    <a:pt x="129543" y="47408"/>
                  </a:cubicBezTo>
                  <a:close/>
                </a:path>
              </a:pathLst>
            </a:custGeom>
            <a:grpFill/>
            <a:ln w="6246" cap="flat">
              <a:noFill/>
              <a:prstDash val="solid"/>
              <a:miter/>
            </a:ln>
          </p:spPr>
          <p:txBody>
            <a:bodyPr rtlCol="0" anchor="ctr"/>
            <a:lstStyle/>
            <a:p>
              <a:endParaRPr lang="fr-FR" sz="2400"/>
            </a:p>
          </p:txBody>
        </p:sp>
        <p:sp>
          <p:nvSpPr>
            <p:cNvPr id="454" name="Freeform: Shape 453">
              <a:extLst>
                <a:ext uri="{FF2B5EF4-FFF2-40B4-BE49-F238E27FC236}">
                  <a16:creationId xmlns:a16="http://schemas.microsoft.com/office/drawing/2014/main" id="{3476B50F-E9BC-41AC-861C-0E1183CA01E8}"/>
                </a:ext>
              </a:extLst>
            </p:cNvPr>
            <p:cNvSpPr/>
            <p:nvPr/>
          </p:nvSpPr>
          <p:spPr>
            <a:xfrm>
              <a:off x="1312020" y="469402"/>
              <a:ext cx="43722" cy="24984"/>
            </a:xfrm>
            <a:custGeom>
              <a:avLst/>
              <a:gdLst>
                <a:gd name="connsiteX0" fmla="*/ 21545 w 43722"/>
                <a:gd name="connsiteY0" fmla="*/ 3111 h 24984"/>
                <a:gd name="connsiteX1" fmla="*/ 49340 w 43722"/>
                <a:gd name="connsiteY1" fmla="*/ 24411 h 24984"/>
                <a:gd name="connsiteX2" fmla="*/ 47217 w 43722"/>
                <a:gd name="connsiteY2" fmla="*/ 29220 h 24984"/>
                <a:gd name="connsiteX3" fmla="*/ 38535 w 43722"/>
                <a:gd name="connsiteY3" fmla="*/ 13917 h 24984"/>
                <a:gd name="connsiteX4" fmla="*/ 24044 w 43722"/>
                <a:gd name="connsiteY4" fmla="*/ 5735 h 24984"/>
                <a:gd name="connsiteX5" fmla="*/ 2307 w 43722"/>
                <a:gd name="connsiteY5" fmla="*/ 4048 h 24984"/>
                <a:gd name="connsiteX6" fmla="*/ 59 w 43722"/>
                <a:gd name="connsiteY6" fmla="*/ 2175 h 24984"/>
                <a:gd name="connsiteX7" fmla="*/ 21545 w 43722"/>
                <a:gd name="connsiteY7" fmla="*/ 3111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24984">
                  <a:moveTo>
                    <a:pt x="21545" y="3111"/>
                  </a:moveTo>
                  <a:cubicBezTo>
                    <a:pt x="34412" y="6359"/>
                    <a:pt x="43906" y="13168"/>
                    <a:pt x="49340" y="24411"/>
                  </a:cubicBezTo>
                  <a:cubicBezTo>
                    <a:pt x="48153" y="25847"/>
                    <a:pt x="51964" y="29095"/>
                    <a:pt x="47217" y="29220"/>
                  </a:cubicBezTo>
                  <a:cubicBezTo>
                    <a:pt x="43906" y="24286"/>
                    <a:pt x="41533" y="18976"/>
                    <a:pt x="38535" y="13917"/>
                  </a:cubicBezTo>
                  <a:cubicBezTo>
                    <a:pt x="35599" y="9045"/>
                    <a:pt x="29478" y="7484"/>
                    <a:pt x="24044" y="5735"/>
                  </a:cubicBezTo>
                  <a:cubicBezTo>
                    <a:pt x="17048" y="3486"/>
                    <a:pt x="9803" y="1737"/>
                    <a:pt x="2307" y="4048"/>
                  </a:cubicBezTo>
                  <a:cubicBezTo>
                    <a:pt x="1745" y="3236"/>
                    <a:pt x="-378" y="3986"/>
                    <a:pt x="59" y="2175"/>
                  </a:cubicBezTo>
                  <a:cubicBezTo>
                    <a:pt x="7429" y="-1948"/>
                    <a:pt x="14487" y="613"/>
                    <a:pt x="21545" y="3111"/>
                  </a:cubicBezTo>
                  <a:close/>
                </a:path>
              </a:pathLst>
            </a:custGeom>
            <a:grpFill/>
            <a:ln w="6246" cap="flat">
              <a:noFill/>
              <a:prstDash val="solid"/>
              <a:miter/>
            </a:ln>
          </p:spPr>
          <p:txBody>
            <a:bodyPr rtlCol="0" anchor="ctr"/>
            <a:lstStyle/>
            <a:p>
              <a:endParaRPr lang="fr-FR" sz="2400"/>
            </a:p>
          </p:txBody>
        </p:sp>
        <p:sp>
          <p:nvSpPr>
            <p:cNvPr id="455" name="Freeform: Shape 454">
              <a:extLst>
                <a:ext uri="{FF2B5EF4-FFF2-40B4-BE49-F238E27FC236}">
                  <a16:creationId xmlns:a16="http://schemas.microsoft.com/office/drawing/2014/main" id="{7A55B57E-32FC-4E65-9BB4-4354446BC315}"/>
                </a:ext>
              </a:extLst>
            </p:cNvPr>
            <p:cNvSpPr/>
            <p:nvPr/>
          </p:nvSpPr>
          <p:spPr>
            <a:xfrm>
              <a:off x="1360236" y="467313"/>
              <a:ext cx="6246" cy="6246"/>
            </a:xfrm>
            <a:custGeom>
              <a:avLst/>
              <a:gdLst>
                <a:gd name="connsiteX0" fmla="*/ 5059 w 0"/>
                <a:gd name="connsiteY0" fmla="*/ 5700 h 0"/>
                <a:gd name="connsiteX1" fmla="*/ 3373 w 0"/>
                <a:gd name="connsiteY1" fmla="*/ 4701 h 0"/>
                <a:gd name="connsiteX2" fmla="*/ 0 w 0"/>
                <a:gd name="connsiteY2" fmla="*/ 766 h 0"/>
                <a:gd name="connsiteX3" fmla="*/ 1749 w 0"/>
                <a:gd name="connsiteY3" fmla="*/ 16 h 0"/>
                <a:gd name="connsiteX4" fmla="*/ 5059 w 0"/>
                <a:gd name="connsiteY4" fmla="*/ 570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059" y="5700"/>
                  </a:moveTo>
                  <a:cubicBezTo>
                    <a:pt x="4185" y="5201"/>
                    <a:pt x="3623" y="5013"/>
                    <a:pt x="3373" y="4701"/>
                  </a:cubicBezTo>
                  <a:cubicBezTo>
                    <a:pt x="2248" y="3389"/>
                    <a:pt x="0" y="2765"/>
                    <a:pt x="0" y="766"/>
                  </a:cubicBezTo>
                  <a:cubicBezTo>
                    <a:pt x="0" y="516"/>
                    <a:pt x="1374" y="-109"/>
                    <a:pt x="1749" y="16"/>
                  </a:cubicBezTo>
                  <a:cubicBezTo>
                    <a:pt x="3998" y="1078"/>
                    <a:pt x="5871" y="2452"/>
                    <a:pt x="5059" y="5700"/>
                  </a:cubicBezTo>
                  <a:close/>
                </a:path>
              </a:pathLst>
            </a:custGeom>
            <a:grpFill/>
            <a:ln w="6246" cap="flat">
              <a:noFill/>
              <a:prstDash val="solid"/>
              <a:miter/>
            </a:ln>
          </p:spPr>
          <p:txBody>
            <a:bodyPr rtlCol="0" anchor="ctr"/>
            <a:lstStyle/>
            <a:p>
              <a:endParaRPr lang="fr-FR" sz="2400"/>
            </a:p>
          </p:txBody>
        </p:sp>
        <p:sp>
          <p:nvSpPr>
            <p:cNvPr id="456" name="Freeform: Shape 455">
              <a:extLst>
                <a:ext uri="{FF2B5EF4-FFF2-40B4-BE49-F238E27FC236}">
                  <a16:creationId xmlns:a16="http://schemas.microsoft.com/office/drawing/2014/main" id="{004F2F4A-803A-4BA0-9669-2104A8B9C7DF}"/>
                </a:ext>
              </a:extLst>
            </p:cNvPr>
            <p:cNvSpPr/>
            <p:nvPr/>
          </p:nvSpPr>
          <p:spPr>
            <a:xfrm>
              <a:off x="1350867" y="459147"/>
              <a:ext cx="6246" cy="6246"/>
            </a:xfrm>
            <a:custGeom>
              <a:avLst/>
              <a:gdLst>
                <a:gd name="connsiteX0" fmla="*/ 5184 w 6246"/>
                <a:gd name="connsiteY0" fmla="*/ 5621 h 0"/>
                <a:gd name="connsiteX1" fmla="*/ 0 w 6246"/>
                <a:gd name="connsiteY1" fmla="*/ 0 h 0"/>
                <a:gd name="connsiteX2" fmla="*/ 6246 w 6246"/>
                <a:gd name="connsiteY2" fmla="*/ 4685 h 0"/>
                <a:gd name="connsiteX3" fmla="*/ 5184 w 6246"/>
                <a:gd name="connsiteY3" fmla="*/ 5621 h 0"/>
              </a:gdLst>
              <a:ahLst/>
              <a:cxnLst>
                <a:cxn ang="0">
                  <a:pos x="connsiteX0" y="connsiteY0"/>
                </a:cxn>
                <a:cxn ang="0">
                  <a:pos x="connsiteX1" y="connsiteY1"/>
                </a:cxn>
                <a:cxn ang="0">
                  <a:pos x="connsiteX2" y="connsiteY2"/>
                </a:cxn>
                <a:cxn ang="0">
                  <a:pos x="connsiteX3" y="connsiteY3"/>
                </a:cxn>
              </a:cxnLst>
              <a:rect l="l" t="t" r="r" b="b"/>
              <a:pathLst>
                <a:path w="6246">
                  <a:moveTo>
                    <a:pt x="5184" y="5621"/>
                  </a:moveTo>
                  <a:cubicBezTo>
                    <a:pt x="2873" y="4247"/>
                    <a:pt x="999" y="2498"/>
                    <a:pt x="0" y="0"/>
                  </a:cubicBezTo>
                  <a:cubicBezTo>
                    <a:pt x="2061" y="1562"/>
                    <a:pt x="4185" y="3123"/>
                    <a:pt x="6246" y="4685"/>
                  </a:cubicBezTo>
                  <a:cubicBezTo>
                    <a:pt x="5871" y="4997"/>
                    <a:pt x="5559" y="5309"/>
                    <a:pt x="5184" y="5621"/>
                  </a:cubicBezTo>
                  <a:close/>
                </a:path>
              </a:pathLst>
            </a:custGeom>
            <a:grpFill/>
            <a:ln w="6246" cap="flat">
              <a:noFill/>
              <a:prstDash val="solid"/>
              <a:miter/>
            </a:ln>
          </p:spPr>
          <p:txBody>
            <a:bodyPr rtlCol="0" anchor="ctr"/>
            <a:lstStyle/>
            <a:p>
              <a:endParaRPr lang="fr-FR" sz="2400"/>
            </a:p>
          </p:txBody>
        </p:sp>
        <p:sp>
          <p:nvSpPr>
            <p:cNvPr id="457" name="Freeform: Shape 456">
              <a:extLst>
                <a:ext uri="{FF2B5EF4-FFF2-40B4-BE49-F238E27FC236}">
                  <a16:creationId xmlns:a16="http://schemas.microsoft.com/office/drawing/2014/main" id="{F58E4E4B-BA6D-449D-9E61-2753DC63C3FC}"/>
                </a:ext>
              </a:extLst>
            </p:cNvPr>
            <p:cNvSpPr/>
            <p:nvPr/>
          </p:nvSpPr>
          <p:spPr>
            <a:xfrm>
              <a:off x="1352510" y="467060"/>
              <a:ext cx="6246" cy="6246"/>
            </a:xfrm>
            <a:custGeom>
              <a:avLst/>
              <a:gdLst>
                <a:gd name="connsiteX0" fmla="*/ 5664 w 0"/>
                <a:gd name="connsiteY0" fmla="*/ 5454 h 0"/>
                <a:gd name="connsiteX1" fmla="*/ 667 w 0"/>
                <a:gd name="connsiteY1" fmla="*/ 1331 h 0"/>
                <a:gd name="connsiteX2" fmla="*/ 542 w 0"/>
                <a:gd name="connsiteY2" fmla="*/ 20 h 0"/>
                <a:gd name="connsiteX3" fmla="*/ 2479 w 0"/>
                <a:gd name="connsiteY3" fmla="*/ 582 h 0"/>
                <a:gd name="connsiteX4" fmla="*/ 5664 w 0"/>
                <a:gd name="connsiteY4" fmla="*/ 545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664" y="5454"/>
                  </a:moveTo>
                  <a:cubicBezTo>
                    <a:pt x="3978" y="4080"/>
                    <a:pt x="2291" y="2768"/>
                    <a:pt x="667" y="1331"/>
                  </a:cubicBezTo>
                  <a:cubicBezTo>
                    <a:pt x="230" y="957"/>
                    <a:pt x="-519" y="332"/>
                    <a:pt x="542" y="20"/>
                  </a:cubicBezTo>
                  <a:cubicBezTo>
                    <a:pt x="1042" y="-105"/>
                    <a:pt x="1792" y="395"/>
                    <a:pt x="2479" y="582"/>
                  </a:cubicBezTo>
                  <a:cubicBezTo>
                    <a:pt x="3228" y="2393"/>
                    <a:pt x="5727" y="3205"/>
                    <a:pt x="5664" y="5454"/>
                  </a:cubicBezTo>
                  <a:close/>
                </a:path>
              </a:pathLst>
            </a:custGeom>
            <a:grpFill/>
            <a:ln w="6246" cap="flat">
              <a:noFill/>
              <a:prstDash val="solid"/>
              <a:miter/>
            </a:ln>
          </p:spPr>
          <p:txBody>
            <a:bodyPr rtlCol="0" anchor="ctr"/>
            <a:lstStyle/>
            <a:p>
              <a:endParaRPr lang="fr-FR" sz="2400"/>
            </a:p>
          </p:txBody>
        </p:sp>
        <p:sp>
          <p:nvSpPr>
            <p:cNvPr id="458" name="Freeform: Shape 457">
              <a:extLst>
                <a:ext uri="{FF2B5EF4-FFF2-40B4-BE49-F238E27FC236}">
                  <a16:creationId xmlns:a16="http://schemas.microsoft.com/office/drawing/2014/main" id="{A0E8749D-4BCF-4529-B7D9-1E6233289E63}"/>
                </a:ext>
              </a:extLst>
            </p:cNvPr>
            <p:cNvSpPr/>
            <p:nvPr/>
          </p:nvSpPr>
          <p:spPr>
            <a:xfrm>
              <a:off x="1374227" y="484069"/>
              <a:ext cx="6246" cy="6246"/>
            </a:xfrm>
            <a:custGeom>
              <a:avLst/>
              <a:gdLst>
                <a:gd name="connsiteX0" fmla="*/ 0 w 0"/>
                <a:gd name="connsiteY0" fmla="*/ 1936 h 0"/>
                <a:gd name="connsiteX1" fmla="*/ 1062 w 0"/>
                <a:gd name="connsiteY1" fmla="*/ 0 h 0"/>
                <a:gd name="connsiteX2" fmla="*/ 2873 w 0"/>
                <a:gd name="connsiteY2" fmla="*/ 3435 h 0"/>
                <a:gd name="connsiteX3" fmla="*/ 1062 w 0"/>
                <a:gd name="connsiteY3" fmla="*/ 4809 h 0"/>
                <a:gd name="connsiteX4" fmla="*/ 0 w 0"/>
                <a:gd name="connsiteY4" fmla="*/ 193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1936"/>
                  </a:moveTo>
                  <a:cubicBezTo>
                    <a:pt x="63" y="1124"/>
                    <a:pt x="250" y="437"/>
                    <a:pt x="1062" y="0"/>
                  </a:cubicBezTo>
                  <a:cubicBezTo>
                    <a:pt x="1687" y="1124"/>
                    <a:pt x="2436" y="2249"/>
                    <a:pt x="2873" y="3435"/>
                  </a:cubicBezTo>
                  <a:cubicBezTo>
                    <a:pt x="3498" y="5122"/>
                    <a:pt x="2686" y="5434"/>
                    <a:pt x="1062" y="4809"/>
                  </a:cubicBezTo>
                  <a:cubicBezTo>
                    <a:pt x="687" y="3873"/>
                    <a:pt x="375" y="2936"/>
                    <a:pt x="0" y="1936"/>
                  </a:cubicBezTo>
                  <a:close/>
                </a:path>
              </a:pathLst>
            </a:custGeom>
            <a:grpFill/>
            <a:ln w="6246" cap="flat">
              <a:noFill/>
              <a:prstDash val="solid"/>
              <a:miter/>
            </a:ln>
          </p:spPr>
          <p:txBody>
            <a:bodyPr rtlCol="0" anchor="ctr"/>
            <a:lstStyle/>
            <a:p>
              <a:endParaRPr lang="fr-FR" sz="2400"/>
            </a:p>
          </p:txBody>
        </p:sp>
        <p:sp>
          <p:nvSpPr>
            <p:cNvPr id="459" name="Freeform: Shape 458">
              <a:extLst>
                <a:ext uri="{FF2B5EF4-FFF2-40B4-BE49-F238E27FC236}">
                  <a16:creationId xmlns:a16="http://schemas.microsoft.com/office/drawing/2014/main" id="{1E8FBA34-8597-4056-B808-C81755366870}"/>
                </a:ext>
              </a:extLst>
            </p:cNvPr>
            <p:cNvSpPr/>
            <p:nvPr/>
          </p:nvSpPr>
          <p:spPr>
            <a:xfrm>
              <a:off x="1285158" y="614357"/>
              <a:ext cx="56215" cy="24984"/>
            </a:xfrm>
            <a:custGeom>
              <a:avLst/>
              <a:gdLst>
                <a:gd name="connsiteX0" fmla="*/ 43035 w 56214"/>
                <a:gd name="connsiteY0" fmla="*/ 11873 h 24984"/>
                <a:gd name="connsiteX1" fmla="*/ 21736 w 56214"/>
                <a:gd name="connsiteY1" fmla="*/ 21492 h 24984"/>
                <a:gd name="connsiteX2" fmla="*/ 16302 w 56214"/>
                <a:gd name="connsiteY2" fmla="*/ 24427 h 24984"/>
                <a:gd name="connsiteX3" fmla="*/ 812 w 56214"/>
                <a:gd name="connsiteY3" fmla="*/ 28925 h 24984"/>
                <a:gd name="connsiteX4" fmla="*/ 1374 w 56214"/>
                <a:gd name="connsiteY4" fmla="*/ 26551 h 24984"/>
                <a:gd name="connsiteX5" fmla="*/ 3248 w 56214"/>
                <a:gd name="connsiteY5" fmla="*/ 25864 h 24984"/>
                <a:gd name="connsiteX6" fmla="*/ 1249 w 56214"/>
                <a:gd name="connsiteY6" fmla="*/ 26051 h 24984"/>
                <a:gd name="connsiteX7" fmla="*/ 0 w 56214"/>
                <a:gd name="connsiteY7" fmla="*/ 25302 h 24984"/>
                <a:gd name="connsiteX8" fmla="*/ 3935 w 56214"/>
                <a:gd name="connsiteY8" fmla="*/ 22241 h 24984"/>
                <a:gd name="connsiteX9" fmla="*/ 10681 w 56214"/>
                <a:gd name="connsiteY9" fmla="*/ 20430 h 24984"/>
                <a:gd name="connsiteX10" fmla="*/ 34853 w 56214"/>
                <a:gd name="connsiteY10" fmla="*/ 10124 h 24984"/>
                <a:gd name="connsiteX11" fmla="*/ 43535 w 56214"/>
                <a:gd name="connsiteY11" fmla="*/ 5252 h 24984"/>
                <a:gd name="connsiteX12" fmla="*/ 47720 w 56214"/>
                <a:gd name="connsiteY12" fmla="*/ 2941 h 24984"/>
                <a:gd name="connsiteX13" fmla="*/ 54778 w 56214"/>
                <a:gd name="connsiteY13" fmla="*/ 193 h 24984"/>
                <a:gd name="connsiteX14" fmla="*/ 55528 w 56214"/>
                <a:gd name="connsiteY14" fmla="*/ 2254 h 24984"/>
                <a:gd name="connsiteX15" fmla="*/ 45284 w 56214"/>
                <a:gd name="connsiteY15" fmla="*/ 8313 h 24984"/>
                <a:gd name="connsiteX16" fmla="*/ 43035 w 56214"/>
                <a:gd name="connsiteY16" fmla="*/ 1187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24984">
                  <a:moveTo>
                    <a:pt x="43035" y="11873"/>
                  </a:moveTo>
                  <a:cubicBezTo>
                    <a:pt x="36415" y="15995"/>
                    <a:pt x="28732" y="18119"/>
                    <a:pt x="21736" y="21492"/>
                  </a:cubicBezTo>
                  <a:cubicBezTo>
                    <a:pt x="19863" y="22366"/>
                    <a:pt x="17739" y="22866"/>
                    <a:pt x="16302" y="24427"/>
                  </a:cubicBezTo>
                  <a:cubicBezTo>
                    <a:pt x="11992" y="28362"/>
                    <a:pt x="6621" y="29174"/>
                    <a:pt x="812" y="28925"/>
                  </a:cubicBezTo>
                  <a:cubicBezTo>
                    <a:pt x="-687" y="27800"/>
                    <a:pt x="250" y="27176"/>
                    <a:pt x="1374" y="26551"/>
                  </a:cubicBezTo>
                  <a:cubicBezTo>
                    <a:pt x="1936" y="26239"/>
                    <a:pt x="2748" y="26364"/>
                    <a:pt x="3248" y="25864"/>
                  </a:cubicBezTo>
                  <a:cubicBezTo>
                    <a:pt x="2623" y="26176"/>
                    <a:pt x="1936" y="26176"/>
                    <a:pt x="1249" y="26051"/>
                  </a:cubicBezTo>
                  <a:cubicBezTo>
                    <a:pt x="750" y="25926"/>
                    <a:pt x="312" y="25677"/>
                    <a:pt x="0" y="25302"/>
                  </a:cubicBezTo>
                  <a:cubicBezTo>
                    <a:pt x="187" y="23053"/>
                    <a:pt x="2186" y="22741"/>
                    <a:pt x="3935" y="22241"/>
                  </a:cubicBezTo>
                  <a:cubicBezTo>
                    <a:pt x="6371" y="22241"/>
                    <a:pt x="8432" y="20992"/>
                    <a:pt x="10681" y="20430"/>
                  </a:cubicBezTo>
                  <a:cubicBezTo>
                    <a:pt x="19300" y="18119"/>
                    <a:pt x="27358" y="14621"/>
                    <a:pt x="34853" y="10124"/>
                  </a:cubicBezTo>
                  <a:cubicBezTo>
                    <a:pt x="37914" y="8750"/>
                    <a:pt x="40100" y="6064"/>
                    <a:pt x="43535" y="5252"/>
                  </a:cubicBezTo>
                  <a:cubicBezTo>
                    <a:pt x="45097" y="4690"/>
                    <a:pt x="46533" y="4065"/>
                    <a:pt x="47720" y="2941"/>
                  </a:cubicBezTo>
                  <a:cubicBezTo>
                    <a:pt x="49906" y="1629"/>
                    <a:pt x="51592" y="-682"/>
                    <a:pt x="54778" y="193"/>
                  </a:cubicBezTo>
                  <a:cubicBezTo>
                    <a:pt x="56402" y="505"/>
                    <a:pt x="57152" y="942"/>
                    <a:pt x="55528" y="2254"/>
                  </a:cubicBezTo>
                  <a:cubicBezTo>
                    <a:pt x="52467" y="4752"/>
                    <a:pt x="48719" y="6376"/>
                    <a:pt x="45284" y="8313"/>
                  </a:cubicBezTo>
                  <a:cubicBezTo>
                    <a:pt x="43847" y="9249"/>
                    <a:pt x="41724" y="9562"/>
                    <a:pt x="43035" y="11873"/>
                  </a:cubicBezTo>
                  <a:close/>
                </a:path>
              </a:pathLst>
            </a:custGeom>
            <a:grpFill/>
            <a:ln w="6246" cap="flat">
              <a:noFill/>
              <a:prstDash val="solid"/>
              <a:miter/>
            </a:ln>
          </p:spPr>
          <p:txBody>
            <a:bodyPr rtlCol="0" anchor="ctr"/>
            <a:lstStyle/>
            <a:p>
              <a:endParaRPr lang="fr-FR" sz="2400"/>
            </a:p>
          </p:txBody>
        </p:sp>
        <p:sp>
          <p:nvSpPr>
            <p:cNvPr id="460" name="Freeform: Shape 459">
              <a:extLst>
                <a:ext uri="{FF2B5EF4-FFF2-40B4-BE49-F238E27FC236}">
                  <a16:creationId xmlns:a16="http://schemas.microsoft.com/office/drawing/2014/main" id="{468D6889-E157-4C1F-9132-AB52ADFEABE8}"/>
                </a:ext>
              </a:extLst>
            </p:cNvPr>
            <p:cNvSpPr/>
            <p:nvPr/>
          </p:nvSpPr>
          <p:spPr>
            <a:xfrm>
              <a:off x="1329773" y="604799"/>
              <a:ext cx="12492" cy="12492"/>
            </a:xfrm>
            <a:custGeom>
              <a:avLst/>
              <a:gdLst>
                <a:gd name="connsiteX0" fmla="*/ 10226 w 12492"/>
                <a:gd name="connsiteY0" fmla="*/ 9813 h 12492"/>
                <a:gd name="connsiteX1" fmla="*/ 3793 w 12492"/>
                <a:gd name="connsiteY1" fmla="*/ 13685 h 12492"/>
                <a:gd name="connsiteX2" fmla="*/ 1044 w 12492"/>
                <a:gd name="connsiteY2" fmla="*/ 14247 h 12492"/>
                <a:gd name="connsiteX3" fmla="*/ 45 w 12492"/>
                <a:gd name="connsiteY3" fmla="*/ 13311 h 12492"/>
                <a:gd name="connsiteX4" fmla="*/ 3480 w 12492"/>
                <a:gd name="connsiteY4" fmla="*/ 9625 h 12492"/>
                <a:gd name="connsiteX5" fmla="*/ 7478 w 12492"/>
                <a:gd name="connsiteY5" fmla="*/ 6128 h 12492"/>
                <a:gd name="connsiteX6" fmla="*/ 11912 w 12492"/>
                <a:gd name="connsiteY6" fmla="*/ 1568 h 12492"/>
                <a:gd name="connsiteX7" fmla="*/ 15285 w 12492"/>
                <a:gd name="connsiteY7" fmla="*/ 194 h 12492"/>
                <a:gd name="connsiteX8" fmla="*/ 16222 w 12492"/>
                <a:gd name="connsiteY8" fmla="*/ 3941 h 12492"/>
                <a:gd name="connsiteX9" fmla="*/ 14411 w 12492"/>
                <a:gd name="connsiteY9" fmla="*/ 5940 h 12492"/>
                <a:gd name="connsiteX10" fmla="*/ 10226 w 12492"/>
                <a:gd name="connsiteY10" fmla="*/ 981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0226" y="9813"/>
                  </a:moveTo>
                  <a:cubicBezTo>
                    <a:pt x="7853" y="10812"/>
                    <a:pt x="5666" y="11999"/>
                    <a:pt x="3793" y="13685"/>
                  </a:cubicBezTo>
                  <a:cubicBezTo>
                    <a:pt x="2981" y="14310"/>
                    <a:pt x="1981" y="14185"/>
                    <a:pt x="1044" y="14247"/>
                  </a:cubicBezTo>
                  <a:cubicBezTo>
                    <a:pt x="607" y="14060"/>
                    <a:pt x="232" y="13748"/>
                    <a:pt x="45" y="13311"/>
                  </a:cubicBezTo>
                  <a:cubicBezTo>
                    <a:pt x="-392" y="10875"/>
                    <a:pt x="2481" y="10999"/>
                    <a:pt x="3480" y="9625"/>
                  </a:cubicBezTo>
                  <a:cubicBezTo>
                    <a:pt x="4792" y="8439"/>
                    <a:pt x="6041" y="7189"/>
                    <a:pt x="7478" y="6128"/>
                  </a:cubicBezTo>
                  <a:cubicBezTo>
                    <a:pt x="8852" y="4566"/>
                    <a:pt x="11350" y="3817"/>
                    <a:pt x="11912" y="1568"/>
                  </a:cubicBezTo>
                  <a:cubicBezTo>
                    <a:pt x="12787" y="569"/>
                    <a:pt x="14036" y="-431"/>
                    <a:pt x="15285" y="194"/>
                  </a:cubicBezTo>
                  <a:cubicBezTo>
                    <a:pt x="16909" y="943"/>
                    <a:pt x="16222" y="2630"/>
                    <a:pt x="16222" y="3941"/>
                  </a:cubicBezTo>
                  <a:cubicBezTo>
                    <a:pt x="16035" y="4941"/>
                    <a:pt x="15223" y="5378"/>
                    <a:pt x="14411" y="5940"/>
                  </a:cubicBezTo>
                  <a:cubicBezTo>
                    <a:pt x="12662" y="6877"/>
                    <a:pt x="11225" y="8189"/>
                    <a:pt x="10226" y="9813"/>
                  </a:cubicBezTo>
                  <a:close/>
                </a:path>
              </a:pathLst>
            </a:custGeom>
            <a:grpFill/>
            <a:ln w="6246" cap="flat">
              <a:noFill/>
              <a:prstDash val="solid"/>
              <a:miter/>
            </a:ln>
          </p:spPr>
          <p:txBody>
            <a:bodyPr rtlCol="0" anchor="ctr"/>
            <a:lstStyle/>
            <a:p>
              <a:endParaRPr lang="fr-FR" sz="2400"/>
            </a:p>
          </p:txBody>
        </p:sp>
        <p:sp>
          <p:nvSpPr>
            <p:cNvPr id="461" name="Freeform: Shape 460">
              <a:extLst>
                <a:ext uri="{FF2B5EF4-FFF2-40B4-BE49-F238E27FC236}">
                  <a16:creationId xmlns:a16="http://schemas.microsoft.com/office/drawing/2014/main" id="{3381145E-8785-438A-9699-7930014B9ADB}"/>
                </a:ext>
              </a:extLst>
            </p:cNvPr>
            <p:cNvSpPr/>
            <p:nvPr/>
          </p:nvSpPr>
          <p:spPr>
            <a:xfrm>
              <a:off x="1344246" y="604467"/>
              <a:ext cx="6246" cy="6246"/>
            </a:xfrm>
            <a:custGeom>
              <a:avLst/>
              <a:gdLst>
                <a:gd name="connsiteX0" fmla="*/ 0 w 6246"/>
                <a:gd name="connsiteY0" fmla="*/ 6272 h 6246"/>
                <a:gd name="connsiteX1" fmla="*/ 1062 w 6246"/>
                <a:gd name="connsiteY1" fmla="*/ 4336 h 6246"/>
                <a:gd name="connsiteX2" fmla="*/ 1811 w 6246"/>
                <a:gd name="connsiteY2" fmla="*/ 1900 h 6246"/>
                <a:gd name="connsiteX3" fmla="*/ 6371 w 6246"/>
                <a:gd name="connsiteY3" fmla="*/ 1463 h 6246"/>
                <a:gd name="connsiteX4" fmla="*/ 6371 w 6246"/>
                <a:gd name="connsiteY4" fmla="*/ 1463 h 6246"/>
                <a:gd name="connsiteX5" fmla="*/ 0 w 6246"/>
                <a:gd name="connsiteY5" fmla="*/ 62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0" y="6272"/>
                  </a:moveTo>
                  <a:cubicBezTo>
                    <a:pt x="375" y="5648"/>
                    <a:pt x="687" y="4961"/>
                    <a:pt x="1062" y="4336"/>
                  </a:cubicBezTo>
                  <a:cubicBezTo>
                    <a:pt x="437" y="3274"/>
                    <a:pt x="1437" y="2650"/>
                    <a:pt x="1811" y="1900"/>
                  </a:cubicBezTo>
                  <a:cubicBezTo>
                    <a:pt x="3123" y="-286"/>
                    <a:pt x="4560" y="-786"/>
                    <a:pt x="6371" y="1463"/>
                  </a:cubicBezTo>
                  <a:lnTo>
                    <a:pt x="6371" y="1463"/>
                  </a:lnTo>
                  <a:cubicBezTo>
                    <a:pt x="4747" y="3524"/>
                    <a:pt x="3186" y="5835"/>
                    <a:pt x="0" y="6272"/>
                  </a:cubicBezTo>
                  <a:close/>
                </a:path>
              </a:pathLst>
            </a:custGeom>
            <a:grpFill/>
            <a:ln w="6246" cap="flat">
              <a:noFill/>
              <a:prstDash val="solid"/>
              <a:miter/>
            </a:ln>
          </p:spPr>
          <p:txBody>
            <a:bodyPr rtlCol="0" anchor="ctr"/>
            <a:lstStyle/>
            <a:p>
              <a:endParaRPr lang="fr-FR" sz="2400"/>
            </a:p>
          </p:txBody>
        </p:sp>
        <p:sp>
          <p:nvSpPr>
            <p:cNvPr id="462" name="Freeform: Shape 461">
              <a:extLst>
                <a:ext uri="{FF2B5EF4-FFF2-40B4-BE49-F238E27FC236}">
                  <a16:creationId xmlns:a16="http://schemas.microsoft.com/office/drawing/2014/main" id="{CC2E47F2-6A40-44C3-AE5B-968DCFDA3684}"/>
                </a:ext>
              </a:extLst>
            </p:cNvPr>
            <p:cNvSpPr/>
            <p:nvPr/>
          </p:nvSpPr>
          <p:spPr>
            <a:xfrm>
              <a:off x="1341123" y="580758"/>
              <a:ext cx="12492" cy="24984"/>
            </a:xfrm>
            <a:custGeom>
              <a:avLst/>
              <a:gdLst>
                <a:gd name="connsiteX0" fmla="*/ 5309 w 12492"/>
                <a:gd name="connsiteY0" fmla="*/ 26109 h 24984"/>
                <a:gd name="connsiteX1" fmla="*/ 4247 w 12492"/>
                <a:gd name="connsiteY1" fmla="*/ 28045 h 24984"/>
                <a:gd name="connsiteX2" fmla="*/ 1062 w 12492"/>
                <a:gd name="connsiteY2" fmla="*/ 26109 h 24984"/>
                <a:gd name="connsiteX3" fmla="*/ 0 w 12492"/>
                <a:gd name="connsiteY3" fmla="*/ 26109 h 24984"/>
                <a:gd name="connsiteX4" fmla="*/ 7995 w 12492"/>
                <a:gd name="connsiteY4" fmla="*/ 15178 h 24984"/>
                <a:gd name="connsiteX5" fmla="*/ 12742 w 12492"/>
                <a:gd name="connsiteY5" fmla="*/ 5621 h 24984"/>
                <a:gd name="connsiteX6" fmla="*/ 14928 w 12492"/>
                <a:gd name="connsiteY6" fmla="*/ 0 h 24984"/>
                <a:gd name="connsiteX7" fmla="*/ 14928 w 12492"/>
                <a:gd name="connsiteY7" fmla="*/ 10618 h 24984"/>
                <a:gd name="connsiteX8" fmla="*/ 5309 w 12492"/>
                <a:gd name="connsiteY8" fmla="*/ 23173 h 24984"/>
                <a:gd name="connsiteX9" fmla="*/ 5309 w 12492"/>
                <a:gd name="connsiteY9" fmla="*/ 2610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5309" y="26109"/>
                  </a:moveTo>
                  <a:cubicBezTo>
                    <a:pt x="4934" y="26733"/>
                    <a:pt x="4622" y="27420"/>
                    <a:pt x="4247" y="28045"/>
                  </a:cubicBezTo>
                  <a:cubicBezTo>
                    <a:pt x="2436" y="28357"/>
                    <a:pt x="5684" y="21924"/>
                    <a:pt x="1062" y="26109"/>
                  </a:cubicBezTo>
                  <a:cubicBezTo>
                    <a:pt x="687" y="26483"/>
                    <a:pt x="375" y="26483"/>
                    <a:pt x="0" y="26109"/>
                  </a:cubicBezTo>
                  <a:cubicBezTo>
                    <a:pt x="2436" y="22361"/>
                    <a:pt x="3435" y="17926"/>
                    <a:pt x="7995" y="15178"/>
                  </a:cubicBezTo>
                  <a:cubicBezTo>
                    <a:pt x="11305" y="13179"/>
                    <a:pt x="12992" y="9619"/>
                    <a:pt x="12742" y="5621"/>
                  </a:cubicBezTo>
                  <a:cubicBezTo>
                    <a:pt x="12617" y="3560"/>
                    <a:pt x="12929" y="1437"/>
                    <a:pt x="14928" y="0"/>
                  </a:cubicBezTo>
                  <a:cubicBezTo>
                    <a:pt x="15678" y="3560"/>
                    <a:pt x="13616" y="7121"/>
                    <a:pt x="14928" y="10618"/>
                  </a:cubicBezTo>
                  <a:cubicBezTo>
                    <a:pt x="10931" y="14303"/>
                    <a:pt x="8682" y="19113"/>
                    <a:pt x="5309" y="23173"/>
                  </a:cubicBezTo>
                  <a:cubicBezTo>
                    <a:pt x="6059" y="24172"/>
                    <a:pt x="6059" y="25172"/>
                    <a:pt x="5309" y="26109"/>
                  </a:cubicBezTo>
                  <a:close/>
                </a:path>
              </a:pathLst>
            </a:custGeom>
            <a:grpFill/>
            <a:ln w="6246" cap="flat">
              <a:noFill/>
              <a:prstDash val="solid"/>
              <a:miter/>
            </a:ln>
          </p:spPr>
          <p:txBody>
            <a:bodyPr rtlCol="0" anchor="ctr"/>
            <a:lstStyle/>
            <a:p>
              <a:endParaRPr lang="fr-FR" sz="2400"/>
            </a:p>
          </p:txBody>
        </p:sp>
        <p:sp>
          <p:nvSpPr>
            <p:cNvPr id="463" name="Freeform: Shape 462">
              <a:extLst>
                <a:ext uri="{FF2B5EF4-FFF2-40B4-BE49-F238E27FC236}">
                  <a16:creationId xmlns:a16="http://schemas.microsoft.com/office/drawing/2014/main" id="{B8561F56-58D1-440A-95B1-00A930E1C5C6}"/>
                </a:ext>
              </a:extLst>
            </p:cNvPr>
            <p:cNvSpPr/>
            <p:nvPr/>
          </p:nvSpPr>
          <p:spPr>
            <a:xfrm>
              <a:off x="1352303" y="587484"/>
              <a:ext cx="6246" cy="12492"/>
            </a:xfrm>
            <a:custGeom>
              <a:avLst/>
              <a:gdLst>
                <a:gd name="connsiteX0" fmla="*/ 3747 w 6246"/>
                <a:gd name="connsiteY0" fmla="*/ 4892 h 12492"/>
                <a:gd name="connsiteX1" fmla="*/ 8057 w 6246"/>
                <a:gd name="connsiteY1" fmla="*/ 83 h 12492"/>
                <a:gd name="connsiteX2" fmla="*/ 0 w 6246"/>
                <a:gd name="connsiteY2" fmla="*/ 15198 h 12492"/>
                <a:gd name="connsiteX3" fmla="*/ 3747 w 6246"/>
                <a:gd name="connsiteY3" fmla="*/ 4892 h 12492"/>
              </a:gdLst>
              <a:ahLst/>
              <a:cxnLst>
                <a:cxn ang="0">
                  <a:pos x="connsiteX0" y="connsiteY0"/>
                </a:cxn>
                <a:cxn ang="0">
                  <a:pos x="connsiteX1" y="connsiteY1"/>
                </a:cxn>
                <a:cxn ang="0">
                  <a:pos x="connsiteX2" y="connsiteY2"/>
                </a:cxn>
                <a:cxn ang="0">
                  <a:pos x="connsiteX3" y="connsiteY3"/>
                </a:cxn>
              </a:cxnLst>
              <a:rect l="l" t="t" r="r" b="b"/>
              <a:pathLst>
                <a:path w="6246" h="12492">
                  <a:moveTo>
                    <a:pt x="3747" y="4892"/>
                  </a:moveTo>
                  <a:cubicBezTo>
                    <a:pt x="5996" y="3893"/>
                    <a:pt x="3373" y="-667"/>
                    <a:pt x="8057" y="83"/>
                  </a:cubicBezTo>
                  <a:cubicBezTo>
                    <a:pt x="7370" y="5454"/>
                    <a:pt x="4060" y="9702"/>
                    <a:pt x="0" y="15198"/>
                  </a:cubicBezTo>
                  <a:cubicBezTo>
                    <a:pt x="187" y="10451"/>
                    <a:pt x="3435" y="8140"/>
                    <a:pt x="3747" y="4892"/>
                  </a:cubicBezTo>
                  <a:close/>
                </a:path>
              </a:pathLst>
            </a:custGeom>
            <a:grpFill/>
            <a:ln w="6246" cap="flat">
              <a:noFill/>
              <a:prstDash val="solid"/>
              <a:miter/>
            </a:ln>
          </p:spPr>
          <p:txBody>
            <a:bodyPr rtlCol="0" anchor="ctr"/>
            <a:lstStyle/>
            <a:p>
              <a:endParaRPr lang="fr-FR" sz="2400"/>
            </a:p>
          </p:txBody>
        </p:sp>
        <p:sp>
          <p:nvSpPr>
            <p:cNvPr id="464" name="Freeform: Shape 463">
              <a:extLst>
                <a:ext uri="{FF2B5EF4-FFF2-40B4-BE49-F238E27FC236}">
                  <a16:creationId xmlns:a16="http://schemas.microsoft.com/office/drawing/2014/main" id="{6F02D86E-FD3D-43BE-9F5F-7A9051E156D6}"/>
                </a:ext>
              </a:extLst>
            </p:cNvPr>
            <p:cNvSpPr/>
            <p:nvPr/>
          </p:nvSpPr>
          <p:spPr>
            <a:xfrm>
              <a:off x="1346432" y="603931"/>
              <a:ext cx="6246" cy="6246"/>
            </a:xfrm>
            <a:custGeom>
              <a:avLst/>
              <a:gdLst>
                <a:gd name="connsiteX0" fmla="*/ 0 w 0"/>
                <a:gd name="connsiteY0" fmla="*/ 2936 h 0"/>
                <a:gd name="connsiteX1" fmla="*/ 0 w 0"/>
                <a:gd name="connsiteY1" fmla="*/ 0 h 0"/>
                <a:gd name="connsiteX2" fmla="*/ 4247 w 0"/>
                <a:gd name="connsiteY2" fmla="*/ 1936 h 0"/>
                <a:gd name="connsiteX3" fmla="*/ 0 w 0"/>
                <a:gd name="connsiteY3" fmla="*/ 2936 h 0"/>
              </a:gdLst>
              <a:ahLst/>
              <a:cxnLst>
                <a:cxn ang="0">
                  <a:pos x="connsiteX0" y="connsiteY0"/>
                </a:cxn>
                <a:cxn ang="0">
                  <a:pos x="connsiteX1" y="connsiteY1"/>
                </a:cxn>
                <a:cxn ang="0">
                  <a:pos x="connsiteX2" y="connsiteY2"/>
                </a:cxn>
                <a:cxn ang="0">
                  <a:pos x="connsiteX3" y="connsiteY3"/>
                </a:cxn>
              </a:cxnLst>
              <a:rect l="l" t="t" r="r" b="b"/>
              <a:pathLst>
                <a:path>
                  <a:moveTo>
                    <a:pt x="0" y="2936"/>
                  </a:moveTo>
                  <a:cubicBezTo>
                    <a:pt x="0" y="1936"/>
                    <a:pt x="0" y="999"/>
                    <a:pt x="0" y="0"/>
                  </a:cubicBezTo>
                  <a:cubicBezTo>
                    <a:pt x="1686" y="187"/>
                    <a:pt x="3873" y="-562"/>
                    <a:pt x="4247" y="1936"/>
                  </a:cubicBezTo>
                  <a:cubicBezTo>
                    <a:pt x="2374" y="687"/>
                    <a:pt x="1187" y="1811"/>
                    <a:pt x="0" y="2936"/>
                  </a:cubicBezTo>
                  <a:close/>
                </a:path>
              </a:pathLst>
            </a:custGeom>
            <a:grpFill/>
            <a:ln w="6246" cap="flat">
              <a:noFill/>
              <a:prstDash val="solid"/>
              <a:miter/>
            </a:ln>
          </p:spPr>
          <p:txBody>
            <a:bodyPr rtlCol="0" anchor="ctr"/>
            <a:lstStyle/>
            <a:p>
              <a:endParaRPr lang="fr-FR" sz="2400"/>
            </a:p>
          </p:txBody>
        </p:sp>
        <p:sp>
          <p:nvSpPr>
            <p:cNvPr id="465" name="Freeform: Shape 464">
              <a:extLst>
                <a:ext uri="{FF2B5EF4-FFF2-40B4-BE49-F238E27FC236}">
                  <a16:creationId xmlns:a16="http://schemas.microsoft.com/office/drawing/2014/main" id="{86FB85D0-DADB-404E-BFE6-4896FC0265A0}"/>
                </a:ext>
              </a:extLst>
            </p:cNvPr>
            <p:cNvSpPr/>
            <p:nvPr/>
          </p:nvSpPr>
          <p:spPr>
            <a:xfrm>
              <a:off x="1230880" y="435958"/>
              <a:ext cx="24984" cy="12492"/>
            </a:xfrm>
            <a:custGeom>
              <a:avLst/>
              <a:gdLst>
                <a:gd name="connsiteX0" fmla="*/ 16052 w 24984"/>
                <a:gd name="connsiteY0" fmla="*/ 6575 h 12492"/>
                <a:gd name="connsiteX1" fmla="*/ 3748 w 24984"/>
                <a:gd name="connsiteY1" fmla="*/ 12134 h 12492"/>
                <a:gd name="connsiteX2" fmla="*/ 0 w 24984"/>
                <a:gd name="connsiteY2" fmla="*/ 12384 h 12492"/>
                <a:gd name="connsiteX3" fmla="*/ 16989 w 24984"/>
                <a:gd name="connsiteY3" fmla="*/ 2390 h 12492"/>
                <a:gd name="connsiteX4" fmla="*/ 26796 w 24984"/>
                <a:gd name="connsiteY4" fmla="*/ 766 h 12492"/>
                <a:gd name="connsiteX5" fmla="*/ 26796 w 24984"/>
                <a:gd name="connsiteY5" fmla="*/ 766 h 12492"/>
                <a:gd name="connsiteX6" fmla="*/ 16052 w 24984"/>
                <a:gd name="connsiteY6" fmla="*/ 657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16052" y="6575"/>
                  </a:moveTo>
                  <a:cubicBezTo>
                    <a:pt x="11993" y="8449"/>
                    <a:pt x="7870" y="10323"/>
                    <a:pt x="3748" y="12134"/>
                  </a:cubicBezTo>
                  <a:cubicBezTo>
                    <a:pt x="2623" y="12634"/>
                    <a:pt x="1374" y="13883"/>
                    <a:pt x="0" y="12384"/>
                  </a:cubicBezTo>
                  <a:cubicBezTo>
                    <a:pt x="4185" y="7012"/>
                    <a:pt x="10931" y="5264"/>
                    <a:pt x="16989" y="2390"/>
                  </a:cubicBezTo>
                  <a:cubicBezTo>
                    <a:pt x="20300" y="2078"/>
                    <a:pt x="22923" y="-1545"/>
                    <a:pt x="26796" y="766"/>
                  </a:cubicBezTo>
                  <a:lnTo>
                    <a:pt x="26796" y="766"/>
                  </a:lnTo>
                  <a:cubicBezTo>
                    <a:pt x="23173" y="2703"/>
                    <a:pt x="19613" y="4639"/>
                    <a:pt x="16052" y="6575"/>
                  </a:cubicBezTo>
                  <a:close/>
                </a:path>
              </a:pathLst>
            </a:custGeom>
            <a:grpFill/>
            <a:ln w="6246" cap="flat">
              <a:noFill/>
              <a:prstDash val="solid"/>
              <a:miter/>
            </a:ln>
          </p:spPr>
          <p:txBody>
            <a:bodyPr rtlCol="0" anchor="ctr"/>
            <a:lstStyle/>
            <a:p>
              <a:endParaRPr lang="fr-FR" sz="2400"/>
            </a:p>
          </p:txBody>
        </p:sp>
        <p:sp>
          <p:nvSpPr>
            <p:cNvPr id="466" name="Freeform: Shape 465">
              <a:extLst>
                <a:ext uri="{FF2B5EF4-FFF2-40B4-BE49-F238E27FC236}">
                  <a16:creationId xmlns:a16="http://schemas.microsoft.com/office/drawing/2014/main" id="{7B0E226C-A02D-48ED-A263-C7C18C29561C}"/>
                </a:ext>
              </a:extLst>
            </p:cNvPr>
            <p:cNvSpPr/>
            <p:nvPr/>
          </p:nvSpPr>
          <p:spPr>
            <a:xfrm>
              <a:off x="1304271" y="436857"/>
              <a:ext cx="24984" cy="12492"/>
            </a:xfrm>
            <a:custGeom>
              <a:avLst/>
              <a:gdLst>
                <a:gd name="connsiteX0" fmla="*/ 28232 w 24984"/>
                <a:gd name="connsiteY0" fmla="*/ 11485 h 12492"/>
                <a:gd name="connsiteX1" fmla="*/ 29294 w 24984"/>
                <a:gd name="connsiteY1" fmla="*/ 14358 h 12492"/>
                <a:gd name="connsiteX2" fmla="*/ 28732 w 24984"/>
                <a:gd name="connsiteY2" fmla="*/ 15170 h 12492"/>
                <a:gd name="connsiteX3" fmla="*/ 28170 w 24984"/>
                <a:gd name="connsiteY3" fmla="*/ 15295 h 12492"/>
                <a:gd name="connsiteX4" fmla="*/ 26046 w 24984"/>
                <a:gd name="connsiteY4" fmla="*/ 14358 h 12492"/>
                <a:gd name="connsiteX5" fmla="*/ 18551 w 24984"/>
                <a:gd name="connsiteY5" fmla="*/ 11485 h 12492"/>
                <a:gd name="connsiteX6" fmla="*/ 6808 w 24984"/>
                <a:gd name="connsiteY6" fmla="*/ 5676 h 12492"/>
                <a:gd name="connsiteX7" fmla="*/ 20050 w 24984"/>
                <a:gd name="connsiteY7" fmla="*/ 8986 h 12492"/>
                <a:gd name="connsiteX8" fmla="*/ 0 w 24984"/>
                <a:gd name="connsiteY8" fmla="*/ 617 h 12492"/>
                <a:gd name="connsiteX9" fmla="*/ 18551 w 24984"/>
                <a:gd name="connsiteY9" fmla="*/ 2740 h 12492"/>
                <a:gd name="connsiteX10" fmla="*/ 22861 w 24984"/>
                <a:gd name="connsiteY10" fmla="*/ 5613 h 12492"/>
                <a:gd name="connsiteX11" fmla="*/ 28232 w 24984"/>
                <a:gd name="connsiteY11" fmla="*/ 1148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28232" y="11485"/>
                  </a:moveTo>
                  <a:cubicBezTo>
                    <a:pt x="26921" y="12921"/>
                    <a:pt x="29356" y="13296"/>
                    <a:pt x="29294" y="14358"/>
                  </a:cubicBezTo>
                  <a:cubicBezTo>
                    <a:pt x="29232" y="14670"/>
                    <a:pt x="29044" y="14983"/>
                    <a:pt x="28732" y="15170"/>
                  </a:cubicBezTo>
                  <a:cubicBezTo>
                    <a:pt x="28544" y="15232"/>
                    <a:pt x="28357" y="15232"/>
                    <a:pt x="28170" y="15295"/>
                  </a:cubicBezTo>
                  <a:cubicBezTo>
                    <a:pt x="27295" y="15295"/>
                    <a:pt x="26546" y="15045"/>
                    <a:pt x="26046" y="14358"/>
                  </a:cubicBezTo>
                  <a:cubicBezTo>
                    <a:pt x="23798" y="12859"/>
                    <a:pt x="21487" y="11547"/>
                    <a:pt x="18551" y="11485"/>
                  </a:cubicBezTo>
                  <a:cubicBezTo>
                    <a:pt x="14741" y="9361"/>
                    <a:pt x="9432" y="9736"/>
                    <a:pt x="6808" y="5676"/>
                  </a:cubicBezTo>
                  <a:cubicBezTo>
                    <a:pt x="11618" y="5426"/>
                    <a:pt x="15365" y="8861"/>
                    <a:pt x="20050" y="8986"/>
                  </a:cubicBezTo>
                  <a:cubicBezTo>
                    <a:pt x="14803" y="3240"/>
                    <a:pt x="6246" y="4427"/>
                    <a:pt x="0" y="617"/>
                  </a:cubicBezTo>
                  <a:cubicBezTo>
                    <a:pt x="6434" y="-508"/>
                    <a:pt x="12680" y="-258"/>
                    <a:pt x="18551" y="2740"/>
                  </a:cubicBezTo>
                  <a:cubicBezTo>
                    <a:pt x="18926" y="4989"/>
                    <a:pt x="20862" y="5301"/>
                    <a:pt x="22861" y="5613"/>
                  </a:cubicBezTo>
                  <a:cubicBezTo>
                    <a:pt x="25172" y="7237"/>
                    <a:pt x="27358" y="8861"/>
                    <a:pt x="28232" y="11485"/>
                  </a:cubicBezTo>
                  <a:close/>
                </a:path>
              </a:pathLst>
            </a:custGeom>
            <a:grpFill/>
            <a:ln w="6246" cap="flat">
              <a:noFill/>
              <a:prstDash val="solid"/>
              <a:miter/>
            </a:ln>
          </p:spPr>
          <p:txBody>
            <a:bodyPr rtlCol="0" anchor="ctr"/>
            <a:lstStyle/>
            <a:p>
              <a:endParaRPr lang="fr-FR" sz="2400"/>
            </a:p>
          </p:txBody>
        </p:sp>
        <p:sp>
          <p:nvSpPr>
            <p:cNvPr id="467" name="Freeform: Shape 466">
              <a:extLst>
                <a:ext uri="{FF2B5EF4-FFF2-40B4-BE49-F238E27FC236}">
                  <a16:creationId xmlns:a16="http://schemas.microsoft.com/office/drawing/2014/main" id="{29D8251D-7B74-4AA9-8A80-34B071020CF7}"/>
                </a:ext>
              </a:extLst>
            </p:cNvPr>
            <p:cNvSpPr/>
            <p:nvPr/>
          </p:nvSpPr>
          <p:spPr>
            <a:xfrm>
              <a:off x="1227195" y="432851"/>
              <a:ext cx="24984" cy="12492"/>
            </a:xfrm>
            <a:custGeom>
              <a:avLst/>
              <a:gdLst>
                <a:gd name="connsiteX0" fmla="*/ 20799 w 24984"/>
                <a:gd name="connsiteY0" fmla="*/ 6746 h 12492"/>
                <a:gd name="connsiteX1" fmla="*/ 3685 w 24984"/>
                <a:gd name="connsiteY1" fmla="*/ 15428 h 12492"/>
                <a:gd name="connsiteX2" fmla="*/ 0 w 24984"/>
                <a:gd name="connsiteY2" fmla="*/ 16802 h 12492"/>
                <a:gd name="connsiteX3" fmla="*/ 2623 w 24984"/>
                <a:gd name="connsiteY3" fmla="*/ 13491 h 12492"/>
                <a:gd name="connsiteX4" fmla="*/ 10119 w 24984"/>
                <a:gd name="connsiteY4" fmla="*/ 8682 h 12492"/>
                <a:gd name="connsiteX5" fmla="*/ 30418 w 24984"/>
                <a:gd name="connsiteY5" fmla="*/ 0 h 12492"/>
                <a:gd name="connsiteX6" fmla="*/ 29356 w 24984"/>
                <a:gd name="connsiteY6" fmla="*/ 1936 h 12492"/>
                <a:gd name="connsiteX7" fmla="*/ 20799 w 24984"/>
                <a:gd name="connsiteY7" fmla="*/ 6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20799" y="6746"/>
                  </a:moveTo>
                  <a:cubicBezTo>
                    <a:pt x="14179" y="8182"/>
                    <a:pt x="9681" y="12992"/>
                    <a:pt x="3685" y="15428"/>
                  </a:cubicBezTo>
                  <a:cubicBezTo>
                    <a:pt x="2436" y="15615"/>
                    <a:pt x="1874" y="17364"/>
                    <a:pt x="0" y="16802"/>
                  </a:cubicBezTo>
                  <a:cubicBezTo>
                    <a:pt x="937" y="15615"/>
                    <a:pt x="1749" y="14553"/>
                    <a:pt x="2623" y="13491"/>
                  </a:cubicBezTo>
                  <a:cubicBezTo>
                    <a:pt x="4372" y="10931"/>
                    <a:pt x="7245" y="9806"/>
                    <a:pt x="10119" y="8682"/>
                  </a:cubicBezTo>
                  <a:cubicBezTo>
                    <a:pt x="17302" y="6558"/>
                    <a:pt x="23110" y="1749"/>
                    <a:pt x="30418" y="0"/>
                  </a:cubicBezTo>
                  <a:cubicBezTo>
                    <a:pt x="31418" y="1249"/>
                    <a:pt x="29294" y="1124"/>
                    <a:pt x="29356" y="1936"/>
                  </a:cubicBezTo>
                  <a:cubicBezTo>
                    <a:pt x="27170" y="4497"/>
                    <a:pt x="23360" y="4747"/>
                    <a:pt x="20799" y="6746"/>
                  </a:cubicBezTo>
                  <a:close/>
                </a:path>
              </a:pathLst>
            </a:custGeom>
            <a:grpFill/>
            <a:ln w="6246" cap="flat">
              <a:noFill/>
              <a:prstDash val="solid"/>
              <a:miter/>
            </a:ln>
          </p:spPr>
          <p:txBody>
            <a:bodyPr rtlCol="0" anchor="ctr"/>
            <a:lstStyle/>
            <a:p>
              <a:endParaRPr lang="fr-FR" sz="2400"/>
            </a:p>
          </p:txBody>
        </p:sp>
        <p:sp>
          <p:nvSpPr>
            <p:cNvPr id="468" name="Freeform: Shape 467">
              <a:extLst>
                <a:ext uri="{FF2B5EF4-FFF2-40B4-BE49-F238E27FC236}">
                  <a16:creationId xmlns:a16="http://schemas.microsoft.com/office/drawing/2014/main" id="{626E845D-4EEF-4CCE-8BFD-34CF7504E62E}"/>
                </a:ext>
              </a:extLst>
            </p:cNvPr>
            <p:cNvSpPr/>
            <p:nvPr/>
          </p:nvSpPr>
          <p:spPr>
            <a:xfrm>
              <a:off x="1209391" y="440659"/>
              <a:ext cx="24984" cy="12492"/>
            </a:xfrm>
            <a:custGeom>
              <a:avLst/>
              <a:gdLst>
                <a:gd name="connsiteX0" fmla="*/ 27860 w 24984"/>
                <a:gd name="connsiteY0" fmla="*/ 937 h 12492"/>
                <a:gd name="connsiteX1" fmla="*/ 20365 w 24984"/>
                <a:gd name="connsiteY1" fmla="*/ 5746 h 12492"/>
                <a:gd name="connsiteX2" fmla="*/ 17492 w 24984"/>
                <a:gd name="connsiteY2" fmla="*/ 4934 h 12492"/>
                <a:gd name="connsiteX3" fmla="*/ 5437 w 24984"/>
                <a:gd name="connsiteY3" fmla="*/ 14179 h 12492"/>
                <a:gd name="connsiteX4" fmla="*/ 3 w 24984"/>
                <a:gd name="connsiteY4" fmla="*/ 15428 h 12492"/>
                <a:gd name="connsiteX5" fmla="*/ 3188 w 24984"/>
                <a:gd name="connsiteY5" fmla="*/ 12555 h 12492"/>
                <a:gd name="connsiteX6" fmla="*/ 10996 w 24984"/>
                <a:gd name="connsiteY6" fmla="*/ 7808 h 12492"/>
                <a:gd name="connsiteX7" fmla="*/ 23550 w 24984"/>
                <a:gd name="connsiteY7" fmla="*/ 0 h 12492"/>
                <a:gd name="connsiteX8" fmla="*/ 27860 w 24984"/>
                <a:gd name="connsiteY8"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2492">
                  <a:moveTo>
                    <a:pt x="27860" y="937"/>
                  </a:moveTo>
                  <a:cubicBezTo>
                    <a:pt x="25674" y="2998"/>
                    <a:pt x="23488" y="4997"/>
                    <a:pt x="20365" y="5746"/>
                  </a:cubicBezTo>
                  <a:cubicBezTo>
                    <a:pt x="20052" y="3685"/>
                    <a:pt x="18928" y="3873"/>
                    <a:pt x="17492" y="4934"/>
                  </a:cubicBezTo>
                  <a:cubicBezTo>
                    <a:pt x="13432" y="7995"/>
                    <a:pt x="8997" y="10743"/>
                    <a:pt x="5437" y="14179"/>
                  </a:cubicBezTo>
                  <a:cubicBezTo>
                    <a:pt x="3500" y="16052"/>
                    <a:pt x="2064" y="15865"/>
                    <a:pt x="3" y="15428"/>
                  </a:cubicBezTo>
                  <a:cubicBezTo>
                    <a:pt x="-60" y="13429"/>
                    <a:pt x="1002" y="12492"/>
                    <a:pt x="3188" y="12555"/>
                  </a:cubicBezTo>
                  <a:cubicBezTo>
                    <a:pt x="6623" y="12117"/>
                    <a:pt x="8622" y="9619"/>
                    <a:pt x="10996" y="7808"/>
                  </a:cubicBezTo>
                  <a:cubicBezTo>
                    <a:pt x="14868" y="4747"/>
                    <a:pt x="19053" y="2249"/>
                    <a:pt x="23550" y="0"/>
                  </a:cubicBezTo>
                  <a:cubicBezTo>
                    <a:pt x="24737" y="1312"/>
                    <a:pt x="26423" y="812"/>
                    <a:pt x="27860" y="937"/>
                  </a:cubicBezTo>
                  <a:close/>
                </a:path>
              </a:pathLst>
            </a:custGeom>
            <a:grpFill/>
            <a:ln w="6246" cap="flat">
              <a:noFill/>
              <a:prstDash val="solid"/>
              <a:miter/>
            </a:ln>
          </p:spPr>
          <p:txBody>
            <a:bodyPr rtlCol="0" anchor="ctr"/>
            <a:lstStyle/>
            <a:p>
              <a:endParaRPr lang="fr-FR" sz="2400"/>
            </a:p>
          </p:txBody>
        </p:sp>
        <p:sp>
          <p:nvSpPr>
            <p:cNvPr id="469" name="Freeform: Shape 468">
              <a:extLst>
                <a:ext uri="{FF2B5EF4-FFF2-40B4-BE49-F238E27FC236}">
                  <a16:creationId xmlns:a16="http://schemas.microsoft.com/office/drawing/2014/main" id="{8D234E3B-5C24-4AD2-82A4-AE92F61AE4A2}"/>
                </a:ext>
              </a:extLst>
            </p:cNvPr>
            <p:cNvSpPr/>
            <p:nvPr/>
          </p:nvSpPr>
          <p:spPr>
            <a:xfrm>
              <a:off x="1327132" y="442533"/>
              <a:ext cx="18738" cy="12492"/>
            </a:xfrm>
            <a:custGeom>
              <a:avLst/>
              <a:gdLst>
                <a:gd name="connsiteX0" fmla="*/ 5372 w 18738"/>
                <a:gd name="connsiteY0" fmla="*/ 5809 h 12492"/>
                <a:gd name="connsiteX1" fmla="*/ 0 w 18738"/>
                <a:gd name="connsiteY1" fmla="*/ 0 h 12492"/>
                <a:gd name="connsiteX2" fmla="*/ 2124 w 18738"/>
                <a:gd name="connsiteY2" fmla="*/ 0 h 12492"/>
                <a:gd name="connsiteX3" fmla="*/ 21861 w 18738"/>
                <a:gd name="connsiteY3" fmla="*/ 14678 h 12492"/>
                <a:gd name="connsiteX4" fmla="*/ 5372 w 18738"/>
                <a:gd name="connsiteY4" fmla="*/ 5809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5372" y="5809"/>
                  </a:moveTo>
                  <a:cubicBezTo>
                    <a:pt x="3560" y="3935"/>
                    <a:pt x="1062" y="2498"/>
                    <a:pt x="0" y="0"/>
                  </a:cubicBezTo>
                  <a:cubicBezTo>
                    <a:pt x="687" y="0"/>
                    <a:pt x="1436" y="0"/>
                    <a:pt x="2124" y="0"/>
                  </a:cubicBezTo>
                  <a:cubicBezTo>
                    <a:pt x="6871" y="6871"/>
                    <a:pt x="17239" y="7558"/>
                    <a:pt x="21861" y="14678"/>
                  </a:cubicBezTo>
                  <a:cubicBezTo>
                    <a:pt x="16552" y="11368"/>
                    <a:pt x="11055" y="8432"/>
                    <a:pt x="5372" y="5809"/>
                  </a:cubicBezTo>
                  <a:close/>
                </a:path>
              </a:pathLst>
            </a:custGeom>
            <a:grpFill/>
            <a:ln w="6246" cap="flat">
              <a:noFill/>
              <a:prstDash val="solid"/>
              <a:miter/>
            </a:ln>
          </p:spPr>
          <p:txBody>
            <a:bodyPr rtlCol="0" anchor="ctr"/>
            <a:lstStyle/>
            <a:p>
              <a:endParaRPr lang="fr-FR" sz="2400"/>
            </a:p>
          </p:txBody>
        </p:sp>
        <p:sp>
          <p:nvSpPr>
            <p:cNvPr id="470" name="Freeform: Shape 469">
              <a:extLst>
                <a:ext uri="{FF2B5EF4-FFF2-40B4-BE49-F238E27FC236}">
                  <a16:creationId xmlns:a16="http://schemas.microsoft.com/office/drawing/2014/main" id="{522808B6-9FA3-4CE0-8998-312B3B77A7DB}"/>
                </a:ext>
              </a:extLst>
            </p:cNvPr>
            <p:cNvSpPr/>
            <p:nvPr/>
          </p:nvSpPr>
          <p:spPr>
            <a:xfrm>
              <a:off x="1195420" y="448342"/>
              <a:ext cx="18738" cy="18738"/>
            </a:xfrm>
            <a:custGeom>
              <a:avLst/>
              <a:gdLst>
                <a:gd name="connsiteX0" fmla="*/ 17221 w 18738"/>
                <a:gd name="connsiteY0" fmla="*/ 4809 h 18738"/>
                <a:gd name="connsiteX1" fmla="*/ 14036 w 18738"/>
                <a:gd name="connsiteY1" fmla="*/ 7683 h 18738"/>
                <a:gd name="connsiteX2" fmla="*/ 1169 w 18738"/>
                <a:gd name="connsiteY2" fmla="*/ 21237 h 18738"/>
                <a:gd name="connsiteX3" fmla="*/ 107 w 18738"/>
                <a:gd name="connsiteY3" fmla="*/ 20300 h 18738"/>
                <a:gd name="connsiteX4" fmla="*/ 19345 w 18738"/>
                <a:gd name="connsiteY4" fmla="*/ 0 h 18738"/>
                <a:gd name="connsiteX5" fmla="*/ 20407 w 18738"/>
                <a:gd name="connsiteY5" fmla="*/ 999 h 18738"/>
                <a:gd name="connsiteX6" fmla="*/ 17221 w 18738"/>
                <a:gd name="connsiteY6" fmla="*/ 480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221" y="4809"/>
                  </a:moveTo>
                  <a:cubicBezTo>
                    <a:pt x="15785" y="5434"/>
                    <a:pt x="14723" y="6433"/>
                    <a:pt x="14036" y="7683"/>
                  </a:cubicBezTo>
                  <a:cubicBezTo>
                    <a:pt x="9726" y="12180"/>
                    <a:pt x="5479" y="16677"/>
                    <a:pt x="1169" y="21237"/>
                  </a:cubicBezTo>
                  <a:cubicBezTo>
                    <a:pt x="170" y="21486"/>
                    <a:pt x="-205" y="21174"/>
                    <a:pt x="107" y="20300"/>
                  </a:cubicBezTo>
                  <a:cubicBezTo>
                    <a:pt x="5916" y="13054"/>
                    <a:pt x="12662" y="6558"/>
                    <a:pt x="19345" y="0"/>
                  </a:cubicBezTo>
                  <a:cubicBezTo>
                    <a:pt x="19970" y="62"/>
                    <a:pt x="20344" y="437"/>
                    <a:pt x="20407" y="999"/>
                  </a:cubicBezTo>
                  <a:cubicBezTo>
                    <a:pt x="19408" y="2249"/>
                    <a:pt x="18283" y="3560"/>
                    <a:pt x="17221" y="4809"/>
                  </a:cubicBezTo>
                  <a:close/>
                </a:path>
              </a:pathLst>
            </a:custGeom>
            <a:grpFill/>
            <a:ln w="6246" cap="flat">
              <a:noFill/>
              <a:prstDash val="solid"/>
              <a:miter/>
            </a:ln>
          </p:spPr>
          <p:txBody>
            <a:bodyPr rtlCol="0" anchor="ctr"/>
            <a:lstStyle/>
            <a:p>
              <a:endParaRPr lang="fr-FR" sz="2400"/>
            </a:p>
          </p:txBody>
        </p:sp>
        <p:sp>
          <p:nvSpPr>
            <p:cNvPr id="471" name="Freeform: Shape 470">
              <a:extLst>
                <a:ext uri="{FF2B5EF4-FFF2-40B4-BE49-F238E27FC236}">
                  <a16:creationId xmlns:a16="http://schemas.microsoft.com/office/drawing/2014/main" id="{038EC6C0-ADF5-4D37-BF18-495D9AC60409}"/>
                </a:ext>
              </a:extLst>
            </p:cNvPr>
            <p:cNvSpPr/>
            <p:nvPr/>
          </p:nvSpPr>
          <p:spPr>
            <a:xfrm>
              <a:off x="1214827" y="434725"/>
              <a:ext cx="18738" cy="12492"/>
            </a:xfrm>
            <a:custGeom>
              <a:avLst/>
              <a:gdLst>
                <a:gd name="connsiteX0" fmla="*/ 1062 w 18738"/>
                <a:gd name="connsiteY0" fmla="*/ 14553 h 12492"/>
                <a:gd name="connsiteX1" fmla="*/ 0 w 18738"/>
                <a:gd name="connsiteY1" fmla="*/ 13554 h 12492"/>
                <a:gd name="connsiteX2" fmla="*/ 19238 w 18738"/>
                <a:gd name="connsiteY2" fmla="*/ 0 h 12492"/>
                <a:gd name="connsiteX3" fmla="*/ 18176 w 18738"/>
                <a:gd name="connsiteY3" fmla="*/ 2873 h 12492"/>
                <a:gd name="connsiteX4" fmla="*/ 1062 w 18738"/>
                <a:gd name="connsiteY4" fmla="*/ 14553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12492">
                  <a:moveTo>
                    <a:pt x="1062" y="14553"/>
                  </a:moveTo>
                  <a:cubicBezTo>
                    <a:pt x="687" y="14241"/>
                    <a:pt x="312" y="13929"/>
                    <a:pt x="0" y="13554"/>
                  </a:cubicBezTo>
                  <a:cubicBezTo>
                    <a:pt x="5746" y="8245"/>
                    <a:pt x="12305" y="3935"/>
                    <a:pt x="19238" y="0"/>
                  </a:cubicBezTo>
                  <a:cubicBezTo>
                    <a:pt x="20550" y="1437"/>
                    <a:pt x="18114" y="1811"/>
                    <a:pt x="18176" y="2873"/>
                  </a:cubicBezTo>
                  <a:cubicBezTo>
                    <a:pt x="12492" y="6871"/>
                    <a:pt x="6746" y="10681"/>
                    <a:pt x="1062" y="14553"/>
                  </a:cubicBezTo>
                  <a:close/>
                </a:path>
              </a:pathLst>
            </a:custGeom>
            <a:grpFill/>
            <a:ln w="6246" cap="flat">
              <a:noFill/>
              <a:prstDash val="solid"/>
              <a:miter/>
            </a:ln>
          </p:spPr>
          <p:txBody>
            <a:bodyPr rtlCol="0" anchor="ctr"/>
            <a:lstStyle/>
            <a:p>
              <a:endParaRPr lang="fr-FR" sz="2400"/>
            </a:p>
          </p:txBody>
        </p:sp>
        <p:sp>
          <p:nvSpPr>
            <p:cNvPr id="472" name="Freeform: Shape 471">
              <a:extLst>
                <a:ext uri="{FF2B5EF4-FFF2-40B4-BE49-F238E27FC236}">
                  <a16:creationId xmlns:a16="http://schemas.microsoft.com/office/drawing/2014/main" id="{C92E3DB4-6A94-49CE-A1C8-26A669FA7AAD}"/>
                </a:ext>
              </a:extLst>
            </p:cNvPr>
            <p:cNvSpPr/>
            <p:nvPr/>
          </p:nvSpPr>
          <p:spPr>
            <a:xfrm>
              <a:off x="1247994" y="434788"/>
              <a:ext cx="6246" cy="6246"/>
            </a:xfrm>
            <a:custGeom>
              <a:avLst/>
              <a:gdLst>
                <a:gd name="connsiteX0" fmla="*/ 0 w 6246"/>
                <a:gd name="connsiteY0" fmla="*/ 4809 h 0"/>
                <a:gd name="connsiteX1" fmla="*/ 8557 w 6246"/>
                <a:gd name="connsiteY1" fmla="*/ 0 h 0"/>
                <a:gd name="connsiteX2" fmla="*/ 9619 w 6246"/>
                <a:gd name="connsiteY2" fmla="*/ 1936 h 0"/>
                <a:gd name="connsiteX3" fmla="*/ 0 w 6246"/>
                <a:gd name="connsiteY3" fmla="*/ 4809 h 0"/>
              </a:gdLst>
              <a:ahLst/>
              <a:cxnLst>
                <a:cxn ang="0">
                  <a:pos x="connsiteX0" y="connsiteY0"/>
                </a:cxn>
                <a:cxn ang="0">
                  <a:pos x="connsiteX1" y="connsiteY1"/>
                </a:cxn>
                <a:cxn ang="0">
                  <a:pos x="connsiteX2" y="connsiteY2"/>
                </a:cxn>
                <a:cxn ang="0">
                  <a:pos x="connsiteX3" y="connsiteY3"/>
                </a:cxn>
              </a:cxnLst>
              <a:rect l="l" t="t" r="r" b="b"/>
              <a:pathLst>
                <a:path w="6246">
                  <a:moveTo>
                    <a:pt x="0" y="4809"/>
                  </a:moveTo>
                  <a:cubicBezTo>
                    <a:pt x="2061" y="1999"/>
                    <a:pt x="5746" y="1624"/>
                    <a:pt x="8557" y="0"/>
                  </a:cubicBezTo>
                  <a:cubicBezTo>
                    <a:pt x="9369" y="437"/>
                    <a:pt x="9619" y="1124"/>
                    <a:pt x="9619" y="1936"/>
                  </a:cubicBezTo>
                  <a:cubicBezTo>
                    <a:pt x="5934" y="1686"/>
                    <a:pt x="3435" y="4560"/>
                    <a:pt x="0" y="4809"/>
                  </a:cubicBezTo>
                  <a:close/>
                </a:path>
              </a:pathLst>
            </a:custGeom>
            <a:grpFill/>
            <a:ln w="6246" cap="flat">
              <a:noFill/>
              <a:prstDash val="solid"/>
              <a:miter/>
            </a:ln>
          </p:spPr>
          <p:txBody>
            <a:bodyPr rtlCol="0" anchor="ctr"/>
            <a:lstStyle/>
            <a:p>
              <a:endParaRPr lang="fr-FR" sz="2400"/>
            </a:p>
          </p:txBody>
        </p:sp>
        <p:sp>
          <p:nvSpPr>
            <p:cNvPr id="473" name="Freeform: Shape 472">
              <a:extLst>
                <a:ext uri="{FF2B5EF4-FFF2-40B4-BE49-F238E27FC236}">
                  <a16:creationId xmlns:a16="http://schemas.microsoft.com/office/drawing/2014/main" id="{00683A2C-0E17-4FD1-A172-45D73BC59E92}"/>
                </a:ext>
              </a:extLst>
            </p:cNvPr>
            <p:cNvSpPr/>
            <p:nvPr/>
          </p:nvSpPr>
          <p:spPr>
            <a:xfrm>
              <a:off x="1402575" y="573076"/>
              <a:ext cx="6246" cy="6246"/>
            </a:xfrm>
            <a:custGeom>
              <a:avLst/>
              <a:gdLst>
                <a:gd name="connsiteX0" fmla="*/ 1633 w 0"/>
                <a:gd name="connsiteY0" fmla="*/ 0 h 6246"/>
                <a:gd name="connsiteX1" fmla="*/ 2882 w 0"/>
                <a:gd name="connsiteY1" fmla="*/ 2623 h 6246"/>
                <a:gd name="connsiteX2" fmla="*/ 571 w 0"/>
                <a:gd name="connsiteY2" fmla="*/ 7745 h 6246"/>
                <a:gd name="connsiteX3" fmla="*/ 1633 w 0"/>
                <a:gd name="connsiteY3" fmla="*/ 0 h 6246"/>
              </a:gdLst>
              <a:ahLst/>
              <a:cxnLst>
                <a:cxn ang="0">
                  <a:pos x="connsiteX0" y="connsiteY0"/>
                </a:cxn>
                <a:cxn ang="0">
                  <a:pos x="connsiteX1" y="connsiteY1"/>
                </a:cxn>
                <a:cxn ang="0">
                  <a:pos x="connsiteX2" y="connsiteY2"/>
                </a:cxn>
                <a:cxn ang="0">
                  <a:pos x="connsiteX3" y="connsiteY3"/>
                </a:cxn>
              </a:cxnLst>
              <a:rect l="l" t="t" r="r" b="b"/>
              <a:pathLst>
                <a:path h="6246">
                  <a:moveTo>
                    <a:pt x="1633" y="0"/>
                  </a:moveTo>
                  <a:cubicBezTo>
                    <a:pt x="3756" y="250"/>
                    <a:pt x="3569" y="1312"/>
                    <a:pt x="2882" y="2623"/>
                  </a:cubicBezTo>
                  <a:cubicBezTo>
                    <a:pt x="2070" y="4310"/>
                    <a:pt x="1320" y="5996"/>
                    <a:pt x="571" y="7745"/>
                  </a:cubicBezTo>
                  <a:cubicBezTo>
                    <a:pt x="-366" y="4997"/>
                    <a:pt x="-241" y="2373"/>
                    <a:pt x="1633" y="0"/>
                  </a:cubicBezTo>
                  <a:close/>
                </a:path>
              </a:pathLst>
            </a:custGeom>
            <a:grpFill/>
            <a:ln w="6246" cap="flat">
              <a:noFill/>
              <a:prstDash val="solid"/>
              <a:miter/>
            </a:ln>
          </p:spPr>
          <p:txBody>
            <a:bodyPr rtlCol="0" anchor="ctr"/>
            <a:lstStyle/>
            <a:p>
              <a:endParaRPr lang="fr-FR" sz="2400"/>
            </a:p>
          </p:txBody>
        </p:sp>
        <p:sp>
          <p:nvSpPr>
            <p:cNvPr id="474" name="Freeform: Shape 473">
              <a:extLst>
                <a:ext uri="{FF2B5EF4-FFF2-40B4-BE49-F238E27FC236}">
                  <a16:creationId xmlns:a16="http://schemas.microsoft.com/office/drawing/2014/main" id="{FE40C919-9F98-4A4C-9EE9-330B8173E31F}"/>
                </a:ext>
              </a:extLst>
            </p:cNvPr>
            <p:cNvSpPr/>
            <p:nvPr/>
          </p:nvSpPr>
          <p:spPr>
            <a:xfrm>
              <a:off x="1408455" y="555649"/>
              <a:ext cx="6246" cy="6246"/>
            </a:xfrm>
            <a:custGeom>
              <a:avLst/>
              <a:gdLst>
                <a:gd name="connsiteX0" fmla="*/ 3186 w 0"/>
                <a:gd name="connsiteY0" fmla="*/ 0 h 6246"/>
                <a:gd name="connsiteX1" fmla="*/ 0 w 0"/>
                <a:gd name="connsiteY1" fmla="*/ 6808 h 6246"/>
                <a:gd name="connsiteX2" fmla="*/ 0 w 0"/>
                <a:gd name="connsiteY2" fmla="*/ 4872 h 6246"/>
                <a:gd name="connsiteX3" fmla="*/ 2124 w 0"/>
                <a:gd name="connsiteY3" fmla="*/ 62 h 6246"/>
                <a:gd name="connsiteX4" fmla="*/ 3186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3186" y="0"/>
                  </a:moveTo>
                  <a:cubicBezTo>
                    <a:pt x="2436" y="2373"/>
                    <a:pt x="3373" y="5434"/>
                    <a:pt x="0" y="6808"/>
                  </a:cubicBezTo>
                  <a:cubicBezTo>
                    <a:pt x="0" y="6184"/>
                    <a:pt x="0" y="5497"/>
                    <a:pt x="0" y="4872"/>
                  </a:cubicBezTo>
                  <a:cubicBezTo>
                    <a:pt x="1936" y="3685"/>
                    <a:pt x="187" y="1187"/>
                    <a:pt x="2124" y="62"/>
                  </a:cubicBezTo>
                  <a:cubicBezTo>
                    <a:pt x="2498" y="0"/>
                    <a:pt x="2873" y="0"/>
                    <a:pt x="3186" y="0"/>
                  </a:cubicBezTo>
                  <a:close/>
                </a:path>
              </a:pathLst>
            </a:custGeom>
            <a:grpFill/>
            <a:ln w="6246" cap="flat">
              <a:noFill/>
              <a:prstDash val="solid"/>
              <a:miter/>
            </a:ln>
          </p:spPr>
          <p:txBody>
            <a:bodyPr rtlCol="0" anchor="ctr"/>
            <a:lstStyle/>
            <a:p>
              <a:endParaRPr lang="fr-FR" sz="2400"/>
            </a:p>
          </p:txBody>
        </p:sp>
        <p:sp>
          <p:nvSpPr>
            <p:cNvPr id="475" name="Freeform: Shape 474">
              <a:extLst>
                <a:ext uri="{FF2B5EF4-FFF2-40B4-BE49-F238E27FC236}">
                  <a16:creationId xmlns:a16="http://schemas.microsoft.com/office/drawing/2014/main" id="{6CF131E6-B6E9-4F26-B17E-9B5670AFFCAB}"/>
                </a:ext>
              </a:extLst>
            </p:cNvPr>
            <p:cNvSpPr/>
            <p:nvPr/>
          </p:nvSpPr>
          <p:spPr>
            <a:xfrm>
              <a:off x="1408774" y="567267"/>
              <a:ext cx="6246" cy="6246"/>
            </a:xfrm>
            <a:custGeom>
              <a:avLst/>
              <a:gdLst>
                <a:gd name="connsiteX0" fmla="*/ 1805 w 0"/>
                <a:gd name="connsiteY0" fmla="*/ 0 h 0"/>
                <a:gd name="connsiteX1" fmla="*/ 743 w 0"/>
                <a:gd name="connsiteY1" fmla="*/ 3873 h 0"/>
                <a:gd name="connsiteX2" fmla="*/ 1805 w 0"/>
                <a:gd name="connsiteY2" fmla="*/ 0 h 0"/>
              </a:gdLst>
              <a:ahLst/>
              <a:cxnLst>
                <a:cxn ang="0">
                  <a:pos x="connsiteX0" y="connsiteY0"/>
                </a:cxn>
                <a:cxn ang="0">
                  <a:pos x="connsiteX1" y="connsiteY1"/>
                </a:cxn>
                <a:cxn ang="0">
                  <a:pos x="connsiteX2" y="connsiteY2"/>
                </a:cxn>
              </a:cxnLst>
              <a:rect l="l" t="t" r="r" b="b"/>
              <a:pathLst>
                <a:path>
                  <a:moveTo>
                    <a:pt x="1805" y="0"/>
                  </a:moveTo>
                  <a:cubicBezTo>
                    <a:pt x="1929" y="1374"/>
                    <a:pt x="1492" y="2686"/>
                    <a:pt x="743" y="3873"/>
                  </a:cubicBezTo>
                  <a:cubicBezTo>
                    <a:pt x="-1006" y="2061"/>
                    <a:pt x="743" y="1124"/>
                    <a:pt x="1805" y="0"/>
                  </a:cubicBezTo>
                  <a:close/>
                </a:path>
              </a:pathLst>
            </a:custGeom>
            <a:grpFill/>
            <a:ln w="6246" cap="flat">
              <a:noFill/>
              <a:prstDash val="solid"/>
              <a:miter/>
            </a:ln>
          </p:spPr>
          <p:txBody>
            <a:bodyPr rtlCol="0" anchor="ctr"/>
            <a:lstStyle/>
            <a:p>
              <a:endParaRPr lang="fr-FR" sz="2400"/>
            </a:p>
          </p:txBody>
        </p:sp>
        <p:sp>
          <p:nvSpPr>
            <p:cNvPr id="476" name="Freeform: Shape 475">
              <a:extLst>
                <a:ext uri="{FF2B5EF4-FFF2-40B4-BE49-F238E27FC236}">
                  <a16:creationId xmlns:a16="http://schemas.microsoft.com/office/drawing/2014/main" id="{F7640E86-447C-4A3E-ABD6-52CC343A2EE4}"/>
                </a:ext>
              </a:extLst>
            </p:cNvPr>
            <p:cNvSpPr/>
            <p:nvPr/>
          </p:nvSpPr>
          <p:spPr>
            <a:xfrm>
              <a:off x="1123510" y="545968"/>
              <a:ext cx="43722" cy="74953"/>
            </a:xfrm>
            <a:custGeom>
              <a:avLst/>
              <a:gdLst>
                <a:gd name="connsiteX0" fmla="*/ 6746 w 43722"/>
                <a:gd name="connsiteY0" fmla="*/ 2936 h 74952"/>
                <a:gd name="connsiteX1" fmla="*/ 4247 w 43722"/>
                <a:gd name="connsiteY1" fmla="*/ 10181 h 74952"/>
                <a:gd name="connsiteX2" fmla="*/ 5621 w 43722"/>
                <a:gd name="connsiteY2" fmla="*/ 12992 h 74952"/>
                <a:gd name="connsiteX3" fmla="*/ 8370 w 43722"/>
                <a:gd name="connsiteY3" fmla="*/ 10618 h 74952"/>
                <a:gd name="connsiteX4" fmla="*/ 9931 w 43722"/>
                <a:gd name="connsiteY4" fmla="*/ 8744 h 74952"/>
                <a:gd name="connsiteX5" fmla="*/ 10868 w 43722"/>
                <a:gd name="connsiteY5" fmla="*/ 15053 h 74952"/>
                <a:gd name="connsiteX6" fmla="*/ 10244 w 43722"/>
                <a:gd name="connsiteY6" fmla="*/ 21049 h 74952"/>
                <a:gd name="connsiteX7" fmla="*/ 15303 w 43722"/>
                <a:gd name="connsiteY7" fmla="*/ 22049 h 74952"/>
                <a:gd name="connsiteX8" fmla="*/ 16115 w 43722"/>
                <a:gd name="connsiteY8" fmla="*/ 26796 h 74952"/>
                <a:gd name="connsiteX9" fmla="*/ 22923 w 43722"/>
                <a:gd name="connsiteY9" fmla="*/ 41037 h 74952"/>
                <a:gd name="connsiteX10" fmla="*/ 29544 w 43722"/>
                <a:gd name="connsiteY10" fmla="*/ 53904 h 74952"/>
                <a:gd name="connsiteX11" fmla="*/ 31668 w 43722"/>
                <a:gd name="connsiteY11" fmla="*/ 56964 h 74952"/>
                <a:gd name="connsiteX12" fmla="*/ 37726 w 43722"/>
                <a:gd name="connsiteY12" fmla="*/ 64085 h 74952"/>
                <a:gd name="connsiteX13" fmla="*/ 43598 w 43722"/>
                <a:gd name="connsiteY13" fmla="*/ 69081 h 74952"/>
                <a:gd name="connsiteX14" fmla="*/ 48469 w 43722"/>
                <a:gd name="connsiteY14" fmla="*/ 75515 h 74952"/>
                <a:gd name="connsiteX15" fmla="*/ 47720 w 43722"/>
                <a:gd name="connsiteY15" fmla="*/ 76077 h 74952"/>
                <a:gd name="connsiteX16" fmla="*/ 27420 w 43722"/>
                <a:gd name="connsiteY16" fmla="*/ 65084 h 74952"/>
                <a:gd name="connsiteX17" fmla="*/ 27108 w 43722"/>
                <a:gd name="connsiteY17" fmla="*/ 62023 h 74952"/>
                <a:gd name="connsiteX18" fmla="*/ 28170 w 43722"/>
                <a:gd name="connsiteY18" fmla="*/ 61024 h 74952"/>
                <a:gd name="connsiteX19" fmla="*/ 15240 w 43722"/>
                <a:gd name="connsiteY19" fmla="*/ 41224 h 74952"/>
                <a:gd name="connsiteX20" fmla="*/ 23485 w 43722"/>
                <a:gd name="connsiteY20" fmla="*/ 54528 h 74952"/>
                <a:gd name="connsiteX21" fmla="*/ 24922 w 43722"/>
                <a:gd name="connsiteY21" fmla="*/ 60087 h 74952"/>
                <a:gd name="connsiteX22" fmla="*/ 18551 w 43722"/>
                <a:gd name="connsiteY22" fmla="*/ 55090 h 74952"/>
                <a:gd name="connsiteX23" fmla="*/ 14928 w 43722"/>
                <a:gd name="connsiteY23" fmla="*/ 53966 h 74952"/>
                <a:gd name="connsiteX24" fmla="*/ 15490 w 43722"/>
                <a:gd name="connsiteY24" fmla="*/ 57401 h 74952"/>
                <a:gd name="connsiteX25" fmla="*/ 31543 w 43722"/>
                <a:gd name="connsiteY25" fmla="*/ 73204 h 74952"/>
                <a:gd name="connsiteX26" fmla="*/ 34728 w 43722"/>
                <a:gd name="connsiteY26" fmla="*/ 76327 h 74952"/>
                <a:gd name="connsiteX27" fmla="*/ 29107 w 43722"/>
                <a:gd name="connsiteY27" fmla="*/ 74078 h 74952"/>
                <a:gd name="connsiteX28" fmla="*/ 11992 w 43722"/>
                <a:gd name="connsiteY28" fmla="*/ 57526 h 74952"/>
                <a:gd name="connsiteX29" fmla="*/ 8932 w 43722"/>
                <a:gd name="connsiteY29" fmla="*/ 55902 h 74952"/>
                <a:gd name="connsiteX30" fmla="*/ 0 w 43722"/>
                <a:gd name="connsiteY30" fmla="*/ 47845 h 74952"/>
                <a:gd name="connsiteX31" fmla="*/ 7245 w 43722"/>
                <a:gd name="connsiteY31" fmla="*/ 53841 h 74952"/>
                <a:gd name="connsiteX32" fmla="*/ 3997 w 43722"/>
                <a:gd name="connsiteY32" fmla="*/ 44847 h 74952"/>
                <a:gd name="connsiteX33" fmla="*/ 1124 w 43722"/>
                <a:gd name="connsiteY33" fmla="*/ 33416 h 74952"/>
                <a:gd name="connsiteX34" fmla="*/ 1187 w 43722"/>
                <a:gd name="connsiteY34" fmla="*/ 3685 h 74952"/>
                <a:gd name="connsiteX35" fmla="*/ 4497 w 43722"/>
                <a:gd name="connsiteY35" fmla="*/ 0 h 74952"/>
                <a:gd name="connsiteX36" fmla="*/ 6746 w 43722"/>
                <a:gd name="connsiteY36" fmla="*/ 2936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722" h="74952">
                  <a:moveTo>
                    <a:pt x="6746" y="2936"/>
                  </a:moveTo>
                  <a:cubicBezTo>
                    <a:pt x="7433" y="5746"/>
                    <a:pt x="1499" y="6746"/>
                    <a:pt x="4247" y="10181"/>
                  </a:cubicBezTo>
                  <a:cubicBezTo>
                    <a:pt x="4934" y="11056"/>
                    <a:pt x="4122" y="12742"/>
                    <a:pt x="5621" y="12992"/>
                  </a:cubicBezTo>
                  <a:cubicBezTo>
                    <a:pt x="7433" y="13304"/>
                    <a:pt x="7620" y="11555"/>
                    <a:pt x="8370" y="10618"/>
                  </a:cubicBezTo>
                  <a:cubicBezTo>
                    <a:pt x="8869" y="9994"/>
                    <a:pt x="9432" y="9369"/>
                    <a:pt x="9931" y="8744"/>
                  </a:cubicBezTo>
                  <a:cubicBezTo>
                    <a:pt x="11930" y="10618"/>
                    <a:pt x="11430" y="12867"/>
                    <a:pt x="10868" y="15053"/>
                  </a:cubicBezTo>
                  <a:cubicBezTo>
                    <a:pt x="10368" y="17052"/>
                    <a:pt x="9994" y="19050"/>
                    <a:pt x="10244" y="21049"/>
                  </a:cubicBezTo>
                  <a:cubicBezTo>
                    <a:pt x="12555" y="18863"/>
                    <a:pt x="14241" y="19300"/>
                    <a:pt x="15303" y="22049"/>
                  </a:cubicBezTo>
                  <a:cubicBezTo>
                    <a:pt x="15865" y="23548"/>
                    <a:pt x="15553" y="25234"/>
                    <a:pt x="16115" y="26796"/>
                  </a:cubicBezTo>
                  <a:cubicBezTo>
                    <a:pt x="17926" y="31730"/>
                    <a:pt x="18488" y="36914"/>
                    <a:pt x="22923" y="41037"/>
                  </a:cubicBezTo>
                  <a:cubicBezTo>
                    <a:pt x="26546" y="44409"/>
                    <a:pt x="28357" y="49219"/>
                    <a:pt x="29544" y="53904"/>
                  </a:cubicBezTo>
                  <a:cubicBezTo>
                    <a:pt x="29856" y="55215"/>
                    <a:pt x="30106" y="56402"/>
                    <a:pt x="31668" y="56964"/>
                  </a:cubicBezTo>
                  <a:cubicBezTo>
                    <a:pt x="34353" y="58900"/>
                    <a:pt x="35603" y="61774"/>
                    <a:pt x="37726" y="64085"/>
                  </a:cubicBezTo>
                  <a:cubicBezTo>
                    <a:pt x="38788" y="66583"/>
                    <a:pt x="40974" y="67895"/>
                    <a:pt x="43598" y="69081"/>
                  </a:cubicBezTo>
                  <a:cubicBezTo>
                    <a:pt x="46346" y="70331"/>
                    <a:pt x="49906" y="71517"/>
                    <a:pt x="48469" y="75515"/>
                  </a:cubicBezTo>
                  <a:cubicBezTo>
                    <a:pt x="48220" y="75702"/>
                    <a:pt x="47782" y="76140"/>
                    <a:pt x="47720" y="76077"/>
                  </a:cubicBezTo>
                  <a:cubicBezTo>
                    <a:pt x="41037" y="72267"/>
                    <a:pt x="33416" y="69893"/>
                    <a:pt x="27420" y="65084"/>
                  </a:cubicBezTo>
                  <a:cubicBezTo>
                    <a:pt x="26109" y="64022"/>
                    <a:pt x="25609" y="63210"/>
                    <a:pt x="27108" y="62023"/>
                  </a:cubicBezTo>
                  <a:cubicBezTo>
                    <a:pt x="26733" y="61087"/>
                    <a:pt x="29794" y="63273"/>
                    <a:pt x="28170" y="61024"/>
                  </a:cubicBezTo>
                  <a:cubicBezTo>
                    <a:pt x="23423" y="54341"/>
                    <a:pt x="18363" y="47845"/>
                    <a:pt x="15240" y="41224"/>
                  </a:cubicBezTo>
                  <a:cubicBezTo>
                    <a:pt x="16739" y="45659"/>
                    <a:pt x="20550" y="49906"/>
                    <a:pt x="23485" y="54528"/>
                  </a:cubicBezTo>
                  <a:cubicBezTo>
                    <a:pt x="24609" y="56277"/>
                    <a:pt x="26483" y="57776"/>
                    <a:pt x="24922" y="60087"/>
                  </a:cubicBezTo>
                  <a:cubicBezTo>
                    <a:pt x="22548" y="58713"/>
                    <a:pt x="20175" y="57339"/>
                    <a:pt x="18551" y="55090"/>
                  </a:cubicBezTo>
                  <a:cubicBezTo>
                    <a:pt x="17864" y="54153"/>
                    <a:pt x="16240" y="53029"/>
                    <a:pt x="14928" y="53966"/>
                  </a:cubicBezTo>
                  <a:cubicBezTo>
                    <a:pt x="13429" y="55028"/>
                    <a:pt x="14678" y="56527"/>
                    <a:pt x="15490" y="57401"/>
                  </a:cubicBezTo>
                  <a:cubicBezTo>
                    <a:pt x="20487" y="62960"/>
                    <a:pt x="24734" y="69144"/>
                    <a:pt x="31543" y="73204"/>
                  </a:cubicBezTo>
                  <a:cubicBezTo>
                    <a:pt x="32792" y="73953"/>
                    <a:pt x="34541" y="74328"/>
                    <a:pt x="34728" y="76327"/>
                  </a:cubicBezTo>
                  <a:cubicBezTo>
                    <a:pt x="32355" y="76514"/>
                    <a:pt x="30668" y="75452"/>
                    <a:pt x="29107" y="74078"/>
                  </a:cubicBezTo>
                  <a:cubicBezTo>
                    <a:pt x="23110" y="68832"/>
                    <a:pt x="16802" y="63835"/>
                    <a:pt x="11992" y="57526"/>
                  </a:cubicBezTo>
                  <a:cubicBezTo>
                    <a:pt x="11118" y="56402"/>
                    <a:pt x="10056" y="55902"/>
                    <a:pt x="8932" y="55902"/>
                  </a:cubicBezTo>
                  <a:cubicBezTo>
                    <a:pt x="2998" y="56090"/>
                    <a:pt x="2623" y="51592"/>
                    <a:pt x="0" y="47845"/>
                  </a:cubicBezTo>
                  <a:cubicBezTo>
                    <a:pt x="3873" y="49157"/>
                    <a:pt x="3873" y="52842"/>
                    <a:pt x="7245" y="53841"/>
                  </a:cubicBezTo>
                  <a:cubicBezTo>
                    <a:pt x="7808" y="50218"/>
                    <a:pt x="4934" y="47782"/>
                    <a:pt x="3997" y="44847"/>
                  </a:cubicBezTo>
                  <a:cubicBezTo>
                    <a:pt x="2811" y="41037"/>
                    <a:pt x="1499" y="37601"/>
                    <a:pt x="1124" y="33416"/>
                  </a:cubicBezTo>
                  <a:cubicBezTo>
                    <a:pt x="312" y="23423"/>
                    <a:pt x="2686" y="13554"/>
                    <a:pt x="1187" y="3685"/>
                  </a:cubicBezTo>
                  <a:cubicBezTo>
                    <a:pt x="749" y="937"/>
                    <a:pt x="2124" y="312"/>
                    <a:pt x="4497" y="0"/>
                  </a:cubicBezTo>
                  <a:cubicBezTo>
                    <a:pt x="4622" y="1437"/>
                    <a:pt x="4685" y="2748"/>
                    <a:pt x="6746" y="2936"/>
                  </a:cubicBezTo>
                  <a:close/>
                </a:path>
              </a:pathLst>
            </a:custGeom>
            <a:grpFill/>
            <a:ln w="6246" cap="flat">
              <a:noFill/>
              <a:prstDash val="solid"/>
              <a:miter/>
            </a:ln>
          </p:spPr>
          <p:txBody>
            <a:bodyPr rtlCol="0" anchor="ctr"/>
            <a:lstStyle/>
            <a:p>
              <a:endParaRPr lang="fr-FR" sz="2400"/>
            </a:p>
          </p:txBody>
        </p:sp>
        <p:sp>
          <p:nvSpPr>
            <p:cNvPr id="477" name="Freeform: Shape 476">
              <a:extLst>
                <a:ext uri="{FF2B5EF4-FFF2-40B4-BE49-F238E27FC236}">
                  <a16:creationId xmlns:a16="http://schemas.microsoft.com/office/drawing/2014/main" id="{3AD39E02-BD8B-46A7-A25F-54C4C9225656}"/>
                </a:ext>
              </a:extLst>
            </p:cNvPr>
            <p:cNvSpPr/>
            <p:nvPr/>
          </p:nvSpPr>
          <p:spPr>
            <a:xfrm>
              <a:off x="1131644" y="554712"/>
              <a:ext cx="49969" cy="74953"/>
            </a:xfrm>
            <a:custGeom>
              <a:avLst/>
              <a:gdLst>
                <a:gd name="connsiteX0" fmla="*/ 40335 w 49968"/>
                <a:gd name="connsiteY0" fmla="*/ 66708 h 74952"/>
                <a:gd name="connsiteX1" fmla="*/ 34526 w 49968"/>
                <a:gd name="connsiteY1" fmla="*/ 61336 h 74952"/>
                <a:gd name="connsiteX2" fmla="*/ 28592 w 49968"/>
                <a:gd name="connsiteY2" fmla="*/ 56090 h 74952"/>
                <a:gd name="connsiteX3" fmla="*/ 23783 w 49968"/>
                <a:gd name="connsiteY3" fmla="*/ 47033 h 74952"/>
                <a:gd name="connsiteX4" fmla="*/ 23221 w 49968"/>
                <a:gd name="connsiteY4" fmla="*/ 49281 h 74952"/>
                <a:gd name="connsiteX5" fmla="*/ 20098 w 49968"/>
                <a:gd name="connsiteY5" fmla="*/ 46596 h 74952"/>
                <a:gd name="connsiteX6" fmla="*/ 13352 w 49968"/>
                <a:gd name="connsiteY6" fmla="*/ 32729 h 74952"/>
                <a:gd name="connsiteX7" fmla="*/ 6107 w 49968"/>
                <a:gd name="connsiteY7" fmla="*/ 14303 h 74952"/>
                <a:gd name="connsiteX8" fmla="*/ 2921 w 49968"/>
                <a:gd name="connsiteY8" fmla="*/ 13117 h 74952"/>
                <a:gd name="connsiteX9" fmla="*/ 1485 w 49968"/>
                <a:gd name="connsiteY9" fmla="*/ 12804 h 74952"/>
                <a:gd name="connsiteX10" fmla="*/ 423 w 49968"/>
                <a:gd name="connsiteY10" fmla="*/ 7870 h 74952"/>
                <a:gd name="connsiteX11" fmla="*/ 1797 w 49968"/>
                <a:gd name="connsiteY11" fmla="*/ 0 h 74952"/>
                <a:gd name="connsiteX12" fmla="*/ 2859 w 49968"/>
                <a:gd name="connsiteY12" fmla="*/ 0 h 74952"/>
                <a:gd name="connsiteX13" fmla="*/ 8230 w 49968"/>
                <a:gd name="connsiteY13" fmla="*/ 3873 h 74952"/>
                <a:gd name="connsiteX14" fmla="*/ 8230 w 49968"/>
                <a:gd name="connsiteY14" fmla="*/ 10056 h 74952"/>
                <a:gd name="connsiteX15" fmla="*/ 10354 w 49968"/>
                <a:gd name="connsiteY15" fmla="*/ 999 h 74952"/>
                <a:gd name="connsiteX16" fmla="*/ 14789 w 49968"/>
                <a:gd name="connsiteY16" fmla="*/ 13367 h 74952"/>
                <a:gd name="connsiteX17" fmla="*/ 15913 w 49968"/>
                <a:gd name="connsiteY17" fmla="*/ 20300 h 74952"/>
                <a:gd name="connsiteX18" fmla="*/ 19161 w 49968"/>
                <a:gd name="connsiteY18" fmla="*/ 29981 h 74952"/>
                <a:gd name="connsiteX19" fmla="*/ 19598 w 49968"/>
                <a:gd name="connsiteY19" fmla="*/ 32355 h 74952"/>
                <a:gd name="connsiteX20" fmla="*/ 33340 w 49968"/>
                <a:gd name="connsiteY20" fmla="*/ 51842 h 74952"/>
                <a:gd name="connsiteX21" fmla="*/ 50079 w 49968"/>
                <a:gd name="connsiteY21" fmla="*/ 69269 h 74952"/>
                <a:gd name="connsiteX22" fmla="*/ 52140 w 49968"/>
                <a:gd name="connsiteY22" fmla="*/ 75452 h 74952"/>
                <a:gd name="connsiteX23" fmla="*/ 40335 w 49968"/>
                <a:gd name="connsiteY23" fmla="*/ 66708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968" h="74952">
                  <a:moveTo>
                    <a:pt x="40335" y="66708"/>
                  </a:moveTo>
                  <a:cubicBezTo>
                    <a:pt x="39523" y="63897"/>
                    <a:pt x="37712" y="62148"/>
                    <a:pt x="34526" y="61336"/>
                  </a:cubicBezTo>
                  <a:cubicBezTo>
                    <a:pt x="31591" y="60587"/>
                    <a:pt x="29280" y="59025"/>
                    <a:pt x="28592" y="56090"/>
                  </a:cubicBezTo>
                  <a:cubicBezTo>
                    <a:pt x="28093" y="52280"/>
                    <a:pt x="24470" y="49781"/>
                    <a:pt x="23783" y="47033"/>
                  </a:cubicBezTo>
                  <a:cubicBezTo>
                    <a:pt x="23908" y="47283"/>
                    <a:pt x="24408" y="48345"/>
                    <a:pt x="23221" y="49281"/>
                  </a:cubicBezTo>
                  <a:cubicBezTo>
                    <a:pt x="21410" y="49157"/>
                    <a:pt x="20160" y="48345"/>
                    <a:pt x="20098" y="46596"/>
                  </a:cubicBezTo>
                  <a:cubicBezTo>
                    <a:pt x="19786" y="41162"/>
                    <a:pt x="17037" y="36165"/>
                    <a:pt x="13352" y="32729"/>
                  </a:cubicBezTo>
                  <a:cubicBezTo>
                    <a:pt x="7543" y="27233"/>
                    <a:pt x="7543" y="20737"/>
                    <a:pt x="6107" y="14303"/>
                  </a:cubicBezTo>
                  <a:cubicBezTo>
                    <a:pt x="5607" y="12180"/>
                    <a:pt x="5732" y="11992"/>
                    <a:pt x="2921" y="13117"/>
                  </a:cubicBezTo>
                  <a:cubicBezTo>
                    <a:pt x="2047" y="13492"/>
                    <a:pt x="1734" y="13429"/>
                    <a:pt x="1485" y="12804"/>
                  </a:cubicBezTo>
                  <a:cubicBezTo>
                    <a:pt x="860" y="11180"/>
                    <a:pt x="-764" y="9432"/>
                    <a:pt x="423" y="7870"/>
                  </a:cubicBezTo>
                  <a:cubicBezTo>
                    <a:pt x="2359" y="5309"/>
                    <a:pt x="1610" y="2623"/>
                    <a:pt x="1797" y="0"/>
                  </a:cubicBezTo>
                  <a:cubicBezTo>
                    <a:pt x="2172" y="0"/>
                    <a:pt x="2484" y="0"/>
                    <a:pt x="2859" y="0"/>
                  </a:cubicBezTo>
                  <a:cubicBezTo>
                    <a:pt x="5607" y="187"/>
                    <a:pt x="4358" y="4934"/>
                    <a:pt x="8230" y="3873"/>
                  </a:cubicBezTo>
                  <a:cubicBezTo>
                    <a:pt x="8230" y="5497"/>
                    <a:pt x="8230" y="7183"/>
                    <a:pt x="8230" y="10056"/>
                  </a:cubicBezTo>
                  <a:cubicBezTo>
                    <a:pt x="11353" y="6496"/>
                    <a:pt x="9917" y="3623"/>
                    <a:pt x="10354" y="999"/>
                  </a:cubicBezTo>
                  <a:cubicBezTo>
                    <a:pt x="14664" y="3373"/>
                    <a:pt x="16787" y="8495"/>
                    <a:pt x="14789" y="13367"/>
                  </a:cubicBezTo>
                  <a:cubicBezTo>
                    <a:pt x="13602" y="16177"/>
                    <a:pt x="14039" y="17989"/>
                    <a:pt x="15913" y="20300"/>
                  </a:cubicBezTo>
                  <a:cubicBezTo>
                    <a:pt x="18162" y="23048"/>
                    <a:pt x="20598" y="26046"/>
                    <a:pt x="19161" y="29981"/>
                  </a:cubicBezTo>
                  <a:cubicBezTo>
                    <a:pt x="18911" y="30668"/>
                    <a:pt x="19348" y="31543"/>
                    <a:pt x="19598" y="32355"/>
                  </a:cubicBezTo>
                  <a:cubicBezTo>
                    <a:pt x="22097" y="40037"/>
                    <a:pt x="28405" y="45534"/>
                    <a:pt x="33340" y="51842"/>
                  </a:cubicBezTo>
                  <a:cubicBezTo>
                    <a:pt x="38524" y="57963"/>
                    <a:pt x="44458" y="63523"/>
                    <a:pt x="50079" y="69269"/>
                  </a:cubicBezTo>
                  <a:cubicBezTo>
                    <a:pt x="50391" y="71455"/>
                    <a:pt x="54014" y="72704"/>
                    <a:pt x="52140" y="75452"/>
                  </a:cubicBezTo>
                  <a:cubicBezTo>
                    <a:pt x="47643" y="73079"/>
                    <a:pt x="45082" y="68707"/>
                    <a:pt x="40335" y="66708"/>
                  </a:cubicBezTo>
                  <a:close/>
                </a:path>
              </a:pathLst>
            </a:custGeom>
            <a:grpFill/>
            <a:ln w="6246" cap="flat">
              <a:noFill/>
              <a:prstDash val="solid"/>
              <a:miter/>
            </a:ln>
          </p:spPr>
          <p:txBody>
            <a:bodyPr rtlCol="0" anchor="ctr"/>
            <a:lstStyle/>
            <a:p>
              <a:endParaRPr lang="fr-FR" sz="2400"/>
            </a:p>
          </p:txBody>
        </p:sp>
        <p:sp>
          <p:nvSpPr>
            <p:cNvPr id="478" name="Freeform: Shape 477">
              <a:extLst>
                <a:ext uri="{FF2B5EF4-FFF2-40B4-BE49-F238E27FC236}">
                  <a16:creationId xmlns:a16="http://schemas.microsoft.com/office/drawing/2014/main" id="{61F0D3B0-FA7D-4EA1-9B9C-1561AB66578C}"/>
                </a:ext>
              </a:extLst>
            </p:cNvPr>
            <p:cNvSpPr/>
            <p:nvPr/>
          </p:nvSpPr>
          <p:spPr>
            <a:xfrm>
              <a:off x="1186321" y="633745"/>
              <a:ext cx="68707" cy="12492"/>
            </a:xfrm>
            <a:custGeom>
              <a:avLst/>
              <a:gdLst>
                <a:gd name="connsiteX0" fmla="*/ 59487 w 68706"/>
                <a:gd name="connsiteY0" fmla="*/ 15658 h 12492"/>
                <a:gd name="connsiteX1" fmla="*/ 54115 w 68706"/>
                <a:gd name="connsiteY1" fmla="*/ 15658 h 12492"/>
                <a:gd name="connsiteX2" fmla="*/ 51242 w 68706"/>
                <a:gd name="connsiteY2" fmla="*/ 15220 h 12492"/>
                <a:gd name="connsiteX3" fmla="*/ 54115 w 68706"/>
                <a:gd name="connsiteY3" fmla="*/ 15658 h 12492"/>
                <a:gd name="connsiteX4" fmla="*/ 41873 w 68706"/>
                <a:gd name="connsiteY4" fmla="*/ 17531 h 12492"/>
                <a:gd name="connsiteX5" fmla="*/ 24572 w 68706"/>
                <a:gd name="connsiteY5" fmla="*/ 15533 h 12492"/>
                <a:gd name="connsiteX6" fmla="*/ 20449 w 68706"/>
                <a:gd name="connsiteY6" fmla="*/ 13284 h 12492"/>
                <a:gd name="connsiteX7" fmla="*/ 15515 w 68706"/>
                <a:gd name="connsiteY7" fmla="*/ 11847 h 12492"/>
                <a:gd name="connsiteX8" fmla="*/ 5896 w 68706"/>
                <a:gd name="connsiteY8" fmla="*/ 7975 h 12492"/>
                <a:gd name="connsiteX9" fmla="*/ 3772 w 68706"/>
                <a:gd name="connsiteY9" fmla="*/ 5414 h 12492"/>
                <a:gd name="connsiteX10" fmla="*/ 25 w 68706"/>
                <a:gd name="connsiteY10" fmla="*/ 3041 h 12492"/>
                <a:gd name="connsiteX11" fmla="*/ 4834 w 68706"/>
                <a:gd name="connsiteY11" fmla="*/ 230 h 12492"/>
                <a:gd name="connsiteX12" fmla="*/ 12329 w 68706"/>
                <a:gd name="connsiteY12" fmla="*/ 2166 h 12492"/>
                <a:gd name="connsiteX13" fmla="*/ 18825 w 68706"/>
                <a:gd name="connsiteY13" fmla="*/ 4540 h 12492"/>
                <a:gd name="connsiteX14" fmla="*/ 22760 w 68706"/>
                <a:gd name="connsiteY14" fmla="*/ 5976 h 12492"/>
                <a:gd name="connsiteX15" fmla="*/ 24134 w 68706"/>
                <a:gd name="connsiteY15" fmla="*/ 6413 h 12492"/>
                <a:gd name="connsiteX16" fmla="*/ 35315 w 68706"/>
                <a:gd name="connsiteY16" fmla="*/ 7413 h 12492"/>
                <a:gd name="connsiteX17" fmla="*/ 44184 w 68706"/>
                <a:gd name="connsiteY17" fmla="*/ 6601 h 12492"/>
                <a:gd name="connsiteX18" fmla="*/ 52804 w 68706"/>
                <a:gd name="connsiteY18" fmla="*/ 6913 h 12492"/>
                <a:gd name="connsiteX19" fmla="*/ 62673 w 68706"/>
                <a:gd name="connsiteY19" fmla="*/ 6976 h 12492"/>
                <a:gd name="connsiteX20" fmla="*/ 65796 w 68706"/>
                <a:gd name="connsiteY20" fmla="*/ 6788 h 12492"/>
                <a:gd name="connsiteX21" fmla="*/ 69918 w 68706"/>
                <a:gd name="connsiteY21" fmla="*/ 8724 h 12492"/>
                <a:gd name="connsiteX22" fmla="*/ 66170 w 68706"/>
                <a:gd name="connsiteY22" fmla="*/ 10786 h 12492"/>
                <a:gd name="connsiteX23" fmla="*/ 63797 w 68706"/>
                <a:gd name="connsiteY23" fmla="*/ 11723 h 12492"/>
                <a:gd name="connsiteX24" fmla="*/ 47869 w 68706"/>
                <a:gd name="connsiteY24" fmla="*/ 13347 h 12492"/>
                <a:gd name="connsiteX25" fmla="*/ 55677 w 68706"/>
                <a:gd name="connsiteY25" fmla="*/ 12972 h 12492"/>
                <a:gd name="connsiteX26" fmla="*/ 59487 w 68706"/>
                <a:gd name="connsiteY26" fmla="*/ 1565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706" h="12492">
                  <a:moveTo>
                    <a:pt x="59487" y="15658"/>
                  </a:moveTo>
                  <a:cubicBezTo>
                    <a:pt x="57676" y="15970"/>
                    <a:pt x="55927" y="14658"/>
                    <a:pt x="54115" y="15658"/>
                  </a:cubicBezTo>
                  <a:cubicBezTo>
                    <a:pt x="53116" y="14846"/>
                    <a:pt x="51804" y="15345"/>
                    <a:pt x="51242" y="15220"/>
                  </a:cubicBezTo>
                  <a:cubicBezTo>
                    <a:pt x="51804" y="15283"/>
                    <a:pt x="53054" y="14908"/>
                    <a:pt x="54115" y="15658"/>
                  </a:cubicBezTo>
                  <a:cubicBezTo>
                    <a:pt x="50430" y="18343"/>
                    <a:pt x="46058" y="17781"/>
                    <a:pt x="41873" y="17531"/>
                  </a:cubicBezTo>
                  <a:cubicBezTo>
                    <a:pt x="36064" y="17157"/>
                    <a:pt x="30318" y="16407"/>
                    <a:pt x="24572" y="15533"/>
                  </a:cubicBezTo>
                  <a:cubicBezTo>
                    <a:pt x="23073" y="15283"/>
                    <a:pt x="21074" y="15470"/>
                    <a:pt x="20449" y="13284"/>
                  </a:cubicBezTo>
                  <a:cubicBezTo>
                    <a:pt x="19762" y="10723"/>
                    <a:pt x="17201" y="12285"/>
                    <a:pt x="15515" y="11847"/>
                  </a:cubicBezTo>
                  <a:cubicBezTo>
                    <a:pt x="12329" y="10536"/>
                    <a:pt x="8269" y="10911"/>
                    <a:pt x="5896" y="7975"/>
                  </a:cubicBezTo>
                  <a:cubicBezTo>
                    <a:pt x="5209" y="7100"/>
                    <a:pt x="4709" y="5976"/>
                    <a:pt x="3772" y="5414"/>
                  </a:cubicBezTo>
                  <a:cubicBezTo>
                    <a:pt x="2460" y="4602"/>
                    <a:pt x="-288" y="5227"/>
                    <a:pt x="25" y="3041"/>
                  </a:cubicBezTo>
                  <a:cubicBezTo>
                    <a:pt x="274" y="854"/>
                    <a:pt x="2835" y="605"/>
                    <a:pt x="4834" y="230"/>
                  </a:cubicBezTo>
                  <a:cubicBezTo>
                    <a:pt x="7832" y="-707"/>
                    <a:pt x="9831" y="1479"/>
                    <a:pt x="12329" y="2166"/>
                  </a:cubicBezTo>
                  <a:cubicBezTo>
                    <a:pt x="14453" y="3103"/>
                    <a:pt x="16577" y="3853"/>
                    <a:pt x="18825" y="4540"/>
                  </a:cubicBezTo>
                  <a:cubicBezTo>
                    <a:pt x="20074" y="5102"/>
                    <a:pt x="21324" y="5726"/>
                    <a:pt x="22760" y="5976"/>
                  </a:cubicBezTo>
                  <a:cubicBezTo>
                    <a:pt x="23260" y="6101"/>
                    <a:pt x="23697" y="6288"/>
                    <a:pt x="24134" y="6413"/>
                  </a:cubicBezTo>
                  <a:cubicBezTo>
                    <a:pt x="27695" y="8287"/>
                    <a:pt x="31442" y="8537"/>
                    <a:pt x="35315" y="7413"/>
                  </a:cubicBezTo>
                  <a:cubicBezTo>
                    <a:pt x="38250" y="6538"/>
                    <a:pt x="41249" y="6726"/>
                    <a:pt x="44184" y="6601"/>
                  </a:cubicBezTo>
                  <a:cubicBezTo>
                    <a:pt x="47057" y="6663"/>
                    <a:pt x="49931" y="6351"/>
                    <a:pt x="52804" y="6913"/>
                  </a:cubicBezTo>
                  <a:cubicBezTo>
                    <a:pt x="56052" y="8100"/>
                    <a:pt x="59362" y="7475"/>
                    <a:pt x="62673" y="6976"/>
                  </a:cubicBezTo>
                  <a:cubicBezTo>
                    <a:pt x="63734" y="6788"/>
                    <a:pt x="64796" y="6663"/>
                    <a:pt x="65796" y="6788"/>
                  </a:cubicBezTo>
                  <a:cubicBezTo>
                    <a:pt x="67482" y="6913"/>
                    <a:pt x="69918" y="6663"/>
                    <a:pt x="69918" y="8724"/>
                  </a:cubicBezTo>
                  <a:cubicBezTo>
                    <a:pt x="69918" y="10223"/>
                    <a:pt x="67482" y="10099"/>
                    <a:pt x="66170" y="10786"/>
                  </a:cubicBezTo>
                  <a:cubicBezTo>
                    <a:pt x="65421" y="11223"/>
                    <a:pt x="63547" y="9474"/>
                    <a:pt x="63797" y="11723"/>
                  </a:cubicBezTo>
                  <a:cubicBezTo>
                    <a:pt x="58488" y="14346"/>
                    <a:pt x="52741" y="12347"/>
                    <a:pt x="47869" y="13347"/>
                  </a:cubicBezTo>
                  <a:cubicBezTo>
                    <a:pt x="50118" y="13721"/>
                    <a:pt x="52866" y="12972"/>
                    <a:pt x="55677" y="12972"/>
                  </a:cubicBezTo>
                  <a:cubicBezTo>
                    <a:pt x="57738" y="12847"/>
                    <a:pt x="60486" y="12410"/>
                    <a:pt x="59487" y="15658"/>
                  </a:cubicBezTo>
                  <a:close/>
                </a:path>
              </a:pathLst>
            </a:custGeom>
            <a:grpFill/>
            <a:ln w="6246" cap="flat">
              <a:noFill/>
              <a:prstDash val="solid"/>
              <a:miter/>
            </a:ln>
          </p:spPr>
          <p:txBody>
            <a:bodyPr rtlCol="0" anchor="ctr"/>
            <a:lstStyle/>
            <a:p>
              <a:endParaRPr lang="fr-FR" sz="2400"/>
            </a:p>
          </p:txBody>
        </p:sp>
        <p:sp>
          <p:nvSpPr>
            <p:cNvPr id="479" name="Freeform: Shape 478">
              <a:extLst>
                <a:ext uri="{FF2B5EF4-FFF2-40B4-BE49-F238E27FC236}">
                  <a16:creationId xmlns:a16="http://schemas.microsoft.com/office/drawing/2014/main" id="{5A49A575-2557-4CA0-9A7F-4FF9B0685540}"/>
                </a:ext>
              </a:extLst>
            </p:cNvPr>
            <p:cNvSpPr/>
            <p:nvPr/>
          </p:nvSpPr>
          <p:spPr>
            <a:xfrm>
              <a:off x="1245183" y="638784"/>
              <a:ext cx="56215" cy="12492"/>
            </a:xfrm>
            <a:custGeom>
              <a:avLst/>
              <a:gdLst>
                <a:gd name="connsiteX0" fmla="*/ 40225 w 56214"/>
                <a:gd name="connsiteY0" fmla="*/ 3873 h 12492"/>
                <a:gd name="connsiteX1" fmla="*/ 56277 w 56214"/>
                <a:gd name="connsiteY1" fmla="*/ 0 h 12492"/>
                <a:gd name="connsiteX2" fmla="*/ 55403 w 56214"/>
                <a:gd name="connsiteY2" fmla="*/ 2811 h 12492"/>
                <a:gd name="connsiteX3" fmla="*/ 37789 w 56214"/>
                <a:gd name="connsiteY3" fmla="*/ 8182 h 12492"/>
                <a:gd name="connsiteX4" fmla="*/ 0 w 56214"/>
                <a:gd name="connsiteY4" fmla="*/ 12055 h 12492"/>
                <a:gd name="connsiteX5" fmla="*/ 2748 w 56214"/>
                <a:gd name="connsiteY5" fmla="*/ 10618 h 12492"/>
                <a:gd name="connsiteX6" fmla="*/ 5684 w 56214"/>
                <a:gd name="connsiteY6" fmla="*/ 9681 h 12492"/>
                <a:gd name="connsiteX7" fmla="*/ 15678 w 56214"/>
                <a:gd name="connsiteY7" fmla="*/ 10181 h 12492"/>
                <a:gd name="connsiteX8" fmla="*/ 16552 w 56214"/>
                <a:gd name="connsiteY8" fmla="*/ 10056 h 12492"/>
                <a:gd name="connsiteX9" fmla="*/ 16240 w 56214"/>
                <a:gd name="connsiteY9" fmla="*/ 9994 h 12492"/>
                <a:gd name="connsiteX10" fmla="*/ 14303 w 56214"/>
                <a:gd name="connsiteY10" fmla="*/ 9057 h 12492"/>
                <a:gd name="connsiteX11" fmla="*/ 17864 w 56214"/>
                <a:gd name="connsiteY11" fmla="*/ 7308 h 12492"/>
                <a:gd name="connsiteX12" fmla="*/ 34478 w 56214"/>
                <a:gd name="connsiteY12" fmla="*/ 3810 h 12492"/>
                <a:gd name="connsiteX13" fmla="*/ 40225 w 56214"/>
                <a:gd name="connsiteY13" fmla="*/ 3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14" h="12492">
                  <a:moveTo>
                    <a:pt x="40225" y="3873"/>
                  </a:moveTo>
                  <a:cubicBezTo>
                    <a:pt x="45846" y="3435"/>
                    <a:pt x="51030" y="1749"/>
                    <a:pt x="56277" y="0"/>
                  </a:cubicBezTo>
                  <a:cubicBezTo>
                    <a:pt x="58463" y="1562"/>
                    <a:pt x="56902" y="2124"/>
                    <a:pt x="55403" y="2811"/>
                  </a:cubicBezTo>
                  <a:cubicBezTo>
                    <a:pt x="49781" y="5309"/>
                    <a:pt x="43785" y="6808"/>
                    <a:pt x="37789" y="8182"/>
                  </a:cubicBezTo>
                  <a:cubicBezTo>
                    <a:pt x="25421" y="11118"/>
                    <a:pt x="13054" y="14241"/>
                    <a:pt x="0" y="12055"/>
                  </a:cubicBezTo>
                  <a:cubicBezTo>
                    <a:pt x="812" y="11618"/>
                    <a:pt x="1749" y="11118"/>
                    <a:pt x="2748" y="10618"/>
                  </a:cubicBezTo>
                  <a:cubicBezTo>
                    <a:pt x="3498" y="9806"/>
                    <a:pt x="4560" y="9619"/>
                    <a:pt x="5684" y="9681"/>
                  </a:cubicBezTo>
                  <a:cubicBezTo>
                    <a:pt x="9244" y="10556"/>
                    <a:pt x="12867" y="10056"/>
                    <a:pt x="15678" y="10181"/>
                  </a:cubicBezTo>
                  <a:cubicBezTo>
                    <a:pt x="17177" y="10681"/>
                    <a:pt x="16802" y="9494"/>
                    <a:pt x="16552" y="10056"/>
                  </a:cubicBezTo>
                  <a:cubicBezTo>
                    <a:pt x="16302" y="10681"/>
                    <a:pt x="16927" y="9994"/>
                    <a:pt x="16240" y="9994"/>
                  </a:cubicBezTo>
                  <a:cubicBezTo>
                    <a:pt x="15303" y="10056"/>
                    <a:pt x="14491" y="10119"/>
                    <a:pt x="14303" y="9057"/>
                  </a:cubicBezTo>
                  <a:cubicBezTo>
                    <a:pt x="15053" y="7683"/>
                    <a:pt x="16427" y="7495"/>
                    <a:pt x="17864" y="7308"/>
                  </a:cubicBezTo>
                  <a:cubicBezTo>
                    <a:pt x="23485" y="6496"/>
                    <a:pt x="28919" y="4934"/>
                    <a:pt x="34478" y="3810"/>
                  </a:cubicBezTo>
                  <a:cubicBezTo>
                    <a:pt x="36415" y="3498"/>
                    <a:pt x="38351" y="2873"/>
                    <a:pt x="40225" y="3873"/>
                  </a:cubicBezTo>
                  <a:close/>
                </a:path>
              </a:pathLst>
            </a:custGeom>
            <a:grpFill/>
            <a:ln w="6246" cap="flat">
              <a:noFill/>
              <a:prstDash val="solid"/>
              <a:miter/>
            </a:ln>
          </p:spPr>
          <p:txBody>
            <a:bodyPr rtlCol="0" anchor="ctr"/>
            <a:lstStyle/>
            <a:p>
              <a:endParaRPr lang="fr-FR" sz="2400"/>
            </a:p>
          </p:txBody>
        </p:sp>
        <p:sp>
          <p:nvSpPr>
            <p:cNvPr id="480" name="Freeform: Shape 479">
              <a:extLst>
                <a:ext uri="{FF2B5EF4-FFF2-40B4-BE49-F238E27FC236}">
                  <a16:creationId xmlns:a16="http://schemas.microsoft.com/office/drawing/2014/main" id="{59EC1133-775B-492F-BF01-259F4C23CA33}"/>
                </a:ext>
              </a:extLst>
            </p:cNvPr>
            <p:cNvSpPr/>
            <p:nvPr/>
          </p:nvSpPr>
          <p:spPr>
            <a:xfrm>
              <a:off x="1232316" y="641677"/>
              <a:ext cx="24984" cy="6246"/>
            </a:xfrm>
            <a:custGeom>
              <a:avLst/>
              <a:gdLst>
                <a:gd name="connsiteX0" fmla="*/ 18863 w 24984"/>
                <a:gd name="connsiteY0" fmla="*/ 7726 h 6246"/>
                <a:gd name="connsiteX1" fmla="*/ 15678 w 24984"/>
                <a:gd name="connsiteY1" fmla="*/ 7726 h 6246"/>
                <a:gd name="connsiteX2" fmla="*/ 13554 w 24984"/>
                <a:gd name="connsiteY2" fmla="*/ 7726 h 6246"/>
                <a:gd name="connsiteX3" fmla="*/ 8932 w 24984"/>
                <a:gd name="connsiteY3" fmla="*/ 5790 h 6246"/>
                <a:gd name="connsiteX4" fmla="*/ 0 w 24984"/>
                <a:gd name="connsiteY4" fmla="*/ 5540 h 6246"/>
                <a:gd name="connsiteX5" fmla="*/ 17864 w 24984"/>
                <a:gd name="connsiteY5" fmla="*/ 2854 h 6246"/>
                <a:gd name="connsiteX6" fmla="*/ 26358 w 24984"/>
                <a:gd name="connsiteY6" fmla="*/ 480 h 6246"/>
                <a:gd name="connsiteX7" fmla="*/ 31105 w 24984"/>
                <a:gd name="connsiteY7" fmla="*/ 3291 h 6246"/>
                <a:gd name="connsiteX8" fmla="*/ 18613 w 24984"/>
                <a:gd name="connsiteY8" fmla="*/ 5915 h 6246"/>
                <a:gd name="connsiteX9" fmla="*/ 22361 w 24984"/>
                <a:gd name="connsiteY9" fmla="*/ 6914 h 6246"/>
                <a:gd name="connsiteX10" fmla="*/ 18863 w 24984"/>
                <a:gd name="connsiteY10" fmla="*/ 772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18863" y="7726"/>
                  </a:moveTo>
                  <a:cubicBezTo>
                    <a:pt x="17801" y="7726"/>
                    <a:pt x="16739" y="7726"/>
                    <a:pt x="15678" y="7726"/>
                  </a:cubicBezTo>
                  <a:cubicBezTo>
                    <a:pt x="14991" y="7726"/>
                    <a:pt x="14241" y="7726"/>
                    <a:pt x="13554" y="7726"/>
                  </a:cubicBezTo>
                  <a:cubicBezTo>
                    <a:pt x="12992" y="5165"/>
                    <a:pt x="10681" y="5852"/>
                    <a:pt x="8932" y="5790"/>
                  </a:cubicBezTo>
                  <a:cubicBezTo>
                    <a:pt x="5996" y="5727"/>
                    <a:pt x="2998" y="5790"/>
                    <a:pt x="0" y="5540"/>
                  </a:cubicBezTo>
                  <a:cubicBezTo>
                    <a:pt x="5809" y="3853"/>
                    <a:pt x="12055" y="4603"/>
                    <a:pt x="17864" y="2854"/>
                  </a:cubicBezTo>
                  <a:cubicBezTo>
                    <a:pt x="20550" y="1730"/>
                    <a:pt x="23610" y="1542"/>
                    <a:pt x="26358" y="480"/>
                  </a:cubicBezTo>
                  <a:cubicBezTo>
                    <a:pt x="28857" y="-456"/>
                    <a:pt x="31480" y="-269"/>
                    <a:pt x="31105" y="3291"/>
                  </a:cubicBezTo>
                  <a:cubicBezTo>
                    <a:pt x="27483" y="5915"/>
                    <a:pt x="23423" y="6914"/>
                    <a:pt x="18613" y="5915"/>
                  </a:cubicBezTo>
                  <a:cubicBezTo>
                    <a:pt x="19862" y="6602"/>
                    <a:pt x="21486" y="5665"/>
                    <a:pt x="22361" y="6914"/>
                  </a:cubicBezTo>
                  <a:cubicBezTo>
                    <a:pt x="21611" y="8788"/>
                    <a:pt x="20237" y="8288"/>
                    <a:pt x="18863" y="7726"/>
                  </a:cubicBezTo>
                  <a:close/>
                </a:path>
              </a:pathLst>
            </a:custGeom>
            <a:grpFill/>
            <a:ln w="6246" cap="flat">
              <a:noFill/>
              <a:prstDash val="solid"/>
              <a:miter/>
            </a:ln>
          </p:spPr>
          <p:txBody>
            <a:bodyPr rtlCol="0" anchor="ctr"/>
            <a:lstStyle/>
            <a:p>
              <a:endParaRPr lang="fr-FR" sz="2400"/>
            </a:p>
          </p:txBody>
        </p:sp>
        <p:sp>
          <p:nvSpPr>
            <p:cNvPr id="481" name="Freeform: Shape 480">
              <a:extLst>
                <a:ext uri="{FF2B5EF4-FFF2-40B4-BE49-F238E27FC236}">
                  <a16:creationId xmlns:a16="http://schemas.microsoft.com/office/drawing/2014/main" id="{406A6D8A-28FC-4F40-A937-3B1D96AB1035}"/>
                </a:ext>
              </a:extLst>
            </p:cNvPr>
            <p:cNvSpPr/>
            <p:nvPr/>
          </p:nvSpPr>
          <p:spPr>
            <a:xfrm>
              <a:off x="1136877" y="583132"/>
              <a:ext cx="12492" cy="24984"/>
            </a:xfrm>
            <a:custGeom>
              <a:avLst/>
              <a:gdLst>
                <a:gd name="connsiteX0" fmla="*/ 11618 w 12492"/>
                <a:gd name="connsiteY0" fmla="*/ 22798 h 24984"/>
                <a:gd name="connsiteX1" fmla="*/ 5059 w 12492"/>
                <a:gd name="connsiteY1" fmla="*/ 11493 h 24984"/>
                <a:gd name="connsiteX2" fmla="*/ 0 w 12492"/>
                <a:gd name="connsiteY2" fmla="*/ 0 h 24984"/>
                <a:gd name="connsiteX3" fmla="*/ 18551 w 12492"/>
                <a:gd name="connsiteY3" fmla="*/ 26608 h 24984"/>
                <a:gd name="connsiteX4" fmla="*/ 13804 w 12492"/>
                <a:gd name="connsiteY4" fmla="*/ 24672 h 24984"/>
                <a:gd name="connsiteX5" fmla="*/ 11618 w 12492"/>
                <a:gd name="connsiteY5" fmla="*/ 22798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24984">
                  <a:moveTo>
                    <a:pt x="11618" y="22798"/>
                  </a:moveTo>
                  <a:cubicBezTo>
                    <a:pt x="11118" y="18239"/>
                    <a:pt x="7308" y="15178"/>
                    <a:pt x="5059" y="11493"/>
                  </a:cubicBezTo>
                  <a:cubicBezTo>
                    <a:pt x="2873" y="7870"/>
                    <a:pt x="937" y="4247"/>
                    <a:pt x="0" y="0"/>
                  </a:cubicBezTo>
                  <a:cubicBezTo>
                    <a:pt x="5871" y="8869"/>
                    <a:pt x="11493" y="17864"/>
                    <a:pt x="18551" y="26608"/>
                  </a:cubicBezTo>
                  <a:cubicBezTo>
                    <a:pt x="15803" y="26858"/>
                    <a:pt x="15303" y="24922"/>
                    <a:pt x="13804" y="24672"/>
                  </a:cubicBezTo>
                  <a:cubicBezTo>
                    <a:pt x="12992" y="24110"/>
                    <a:pt x="12305" y="23423"/>
                    <a:pt x="11618" y="22798"/>
                  </a:cubicBezTo>
                  <a:close/>
                </a:path>
              </a:pathLst>
            </a:custGeom>
            <a:grpFill/>
            <a:ln w="6246" cap="flat">
              <a:noFill/>
              <a:prstDash val="solid"/>
              <a:miter/>
            </a:ln>
          </p:spPr>
          <p:txBody>
            <a:bodyPr rtlCol="0" anchor="ctr"/>
            <a:lstStyle/>
            <a:p>
              <a:endParaRPr lang="fr-FR" sz="2400"/>
            </a:p>
          </p:txBody>
        </p:sp>
        <p:sp>
          <p:nvSpPr>
            <p:cNvPr id="482" name="Freeform: Shape 481">
              <a:extLst>
                <a:ext uri="{FF2B5EF4-FFF2-40B4-BE49-F238E27FC236}">
                  <a16:creationId xmlns:a16="http://schemas.microsoft.com/office/drawing/2014/main" id="{FF04CD5B-4265-4A13-A460-9B60760E23D1}"/>
                </a:ext>
              </a:extLst>
            </p:cNvPr>
            <p:cNvSpPr/>
            <p:nvPr/>
          </p:nvSpPr>
          <p:spPr>
            <a:xfrm>
              <a:off x="1118513" y="599122"/>
              <a:ext cx="6246" cy="6246"/>
            </a:xfrm>
            <a:custGeom>
              <a:avLst/>
              <a:gdLst>
                <a:gd name="connsiteX0" fmla="*/ 0 w 6246"/>
                <a:gd name="connsiteY0" fmla="*/ 1936 h 6246"/>
                <a:gd name="connsiteX1" fmla="*/ 2124 w 6246"/>
                <a:gd name="connsiteY1" fmla="*/ 0 h 6246"/>
                <a:gd name="connsiteX2" fmla="*/ 9619 w 6246"/>
                <a:gd name="connsiteY2" fmla="*/ 8682 h 6246"/>
                <a:gd name="connsiteX3" fmla="*/ 6683 w 6246"/>
                <a:gd name="connsiteY3" fmla="*/ 7808 h 6246"/>
                <a:gd name="connsiteX4" fmla="*/ 4747 w 6246"/>
                <a:gd name="connsiteY4" fmla="*/ 7933 h 6246"/>
                <a:gd name="connsiteX5" fmla="*/ 5372 w 6246"/>
                <a:gd name="connsiteY5" fmla="*/ 9619 h 6246"/>
                <a:gd name="connsiteX6" fmla="*/ 2311 w 6246"/>
                <a:gd name="connsiteY6" fmla="*/ 6996 h 6246"/>
                <a:gd name="connsiteX7" fmla="*/ 0 w 6246"/>
                <a:gd name="connsiteY7"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936"/>
                  </a:moveTo>
                  <a:cubicBezTo>
                    <a:pt x="687" y="1312"/>
                    <a:pt x="1437" y="625"/>
                    <a:pt x="2124" y="0"/>
                  </a:cubicBezTo>
                  <a:cubicBezTo>
                    <a:pt x="4622" y="2873"/>
                    <a:pt x="7121" y="5809"/>
                    <a:pt x="9619" y="8682"/>
                  </a:cubicBezTo>
                  <a:cubicBezTo>
                    <a:pt x="8120" y="9806"/>
                    <a:pt x="7683" y="7933"/>
                    <a:pt x="6683" y="7808"/>
                  </a:cubicBezTo>
                  <a:cubicBezTo>
                    <a:pt x="5996" y="7745"/>
                    <a:pt x="5122" y="6746"/>
                    <a:pt x="4747" y="7933"/>
                  </a:cubicBezTo>
                  <a:cubicBezTo>
                    <a:pt x="4622" y="8370"/>
                    <a:pt x="5122" y="9057"/>
                    <a:pt x="5372" y="9619"/>
                  </a:cubicBezTo>
                  <a:cubicBezTo>
                    <a:pt x="3873" y="9244"/>
                    <a:pt x="1249" y="10431"/>
                    <a:pt x="2311" y="6996"/>
                  </a:cubicBezTo>
                  <a:cubicBezTo>
                    <a:pt x="2748" y="5684"/>
                    <a:pt x="812" y="3685"/>
                    <a:pt x="0" y="1936"/>
                  </a:cubicBezTo>
                  <a:close/>
                </a:path>
              </a:pathLst>
            </a:custGeom>
            <a:grpFill/>
            <a:ln w="6246" cap="flat">
              <a:noFill/>
              <a:prstDash val="solid"/>
              <a:miter/>
            </a:ln>
          </p:spPr>
          <p:txBody>
            <a:bodyPr rtlCol="0" anchor="ctr"/>
            <a:lstStyle/>
            <a:p>
              <a:endParaRPr lang="fr-FR" sz="2400"/>
            </a:p>
          </p:txBody>
        </p:sp>
        <p:sp>
          <p:nvSpPr>
            <p:cNvPr id="483" name="Freeform: Shape 482">
              <a:extLst>
                <a:ext uri="{FF2B5EF4-FFF2-40B4-BE49-F238E27FC236}">
                  <a16:creationId xmlns:a16="http://schemas.microsoft.com/office/drawing/2014/main" id="{B95332ED-4BC9-4C3D-A78C-DCCD1DEBD3AC}"/>
                </a:ext>
              </a:extLst>
            </p:cNvPr>
            <p:cNvSpPr/>
            <p:nvPr/>
          </p:nvSpPr>
          <p:spPr>
            <a:xfrm>
              <a:off x="1177413" y="637410"/>
              <a:ext cx="18738" cy="6246"/>
            </a:xfrm>
            <a:custGeom>
              <a:avLst/>
              <a:gdLst>
                <a:gd name="connsiteX0" fmla="*/ 14928 w 18738"/>
                <a:gd name="connsiteY0" fmla="*/ 4310 h 6246"/>
                <a:gd name="connsiteX1" fmla="*/ 24547 w 18738"/>
                <a:gd name="connsiteY1" fmla="*/ 8182 h 6246"/>
                <a:gd name="connsiteX2" fmla="*/ 0 w 18738"/>
                <a:gd name="connsiteY2" fmla="*/ 0 h 6246"/>
                <a:gd name="connsiteX3" fmla="*/ 14928 w 18738"/>
                <a:gd name="connsiteY3" fmla="*/ 4310 h 6246"/>
              </a:gdLst>
              <a:ahLst/>
              <a:cxnLst>
                <a:cxn ang="0">
                  <a:pos x="connsiteX0" y="connsiteY0"/>
                </a:cxn>
                <a:cxn ang="0">
                  <a:pos x="connsiteX1" y="connsiteY1"/>
                </a:cxn>
                <a:cxn ang="0">
                  <a:pos x="connsiteX2" y="connsiteY2"/>
                </a:cxn>
                <a:cxn ang="0">
                  <a:pos x="connsiteX3" y="connsiteY3"/>
                </a:cxn>
              </a:cxnLst>
              <a:rect l="l" t="t" r="r" b="b"/>
              <a:pathLst>
                <a:path w="18738" h="6246">
                  <a:moveTo>
                    <a:pt x="14928" y="4310"/>
                  </a:moveTo>
                  <a:cubicBezTo>
                    <a:pt x="18114" y="5621"/>
                    <a:pt x="21362" y="6871"/>
                    <a:pt x="24547" y="8182"/>
                  </a:cubicBezTo>
                  <a:cubicBezTo>
                    <a:pt x="15615" y="7370"/>
                    <a:pt x="7933" y="3310"/>
                    <a:pt x="0" y="0"/>
                  </a:cubicBezTo>
                  <a:cubicBezTo>
                    <a:pt x="5434" y="0"/>
                    <a:pt x="9744" y="3373"/>
                    <a:pt x="14928" y="4310"/>
                  </a:cubicBezTo>
                  <a:close/>
                </a:path>
              </a:pathLst>
            </a:custGeom>
            <a:grpFill/>
            <a:ln w="6246" cap="flat">
              <a:noFill/>
              <a:prstDash val="solid"/>
              <a:miter/>
            </a:ln>
          </p:spPr>
          <p:txBody>
            <a:bodyPr rtlCol="0" anchor="ctr"/>
            <a:lstStyle/>
            <a:p>
              <a:endParaRPr lang="fr-FR" sz="2400"/>
            </a:p>
          </p:txBody>
        </p:sp>
        <p:sp>
          <p:nvSpPr>
            <p:cNvPr id="484" name="Freeform: Shape 483">
              <a:extLst>
                <a:ext uri="{FF2B5EF4-FFF2-40B4-BE49-F238E27FC236}">
                  <a16:creationId xmlns:a16="http://schemas.microsoft.com/office/drawing/2014/main" id="{F885FE0F-6CF6-4C6A-BC42-831710AEAF54}"/>
                </a:ext>
              </a:extLst>
            </p:cNvPr>
            <p:cNvSpPr/>
            <p:nvPr/>
          </p:nvSpPr>
          <p:spPr>
            <a:xfrm>
              <a:off x="1325070" y="625293"/>
              <a:ext cx="24984" cy="6246"/>
            </a:xfrm>
            <a:custGeom>
              <a:avLst/>
              <a:gdLst>
                <a:gd name="connsiteX0" fmla="*/ 4247 w 24984"/>
                <a:gd name="connsiteY0" fmla="*/ 8682 h 6246"/>
                <a:gd name="connsiteX1" fmla="*/ 25671 w 24984"/>
                <a:gd name="connsiteY1" fmla="*/ 0 h 6246"/>
                <a:gd name="connsiteX2" fmla="*/ 0 w 24984"/>
                <a:gd name="connsiteY2" fmla="*/ 11618 h 6246"/>
                <a:gd name="connsiteX3" fmla="*/ 4247 w 24984"/>
                <a:gd name="connsiteY3" fmla="*/ 8682 h 6246"/>
              </a:gdLst>
              <a:ahLst/>
              <a:cxnLst>
                <a:cxn ang="0">
                  <a:pos x="connsiteX0" y="connsiteY0"/>
                </a:cxn>
                <a:cxn ang="0">
                  <a:pos x="connsiteX1" y="connsiteY1"/>
                </a:cxn>
                <a:cxn ang="0">
                  <a:pos x="connsiteX2" y="connsiteY2"/>
                </a:cxn>
                <a:cxn ang="0">
                  <a:pos x="connsiteX3" y="connsiteY3"/>
                </a:cxn>
              </a:cxnLst>
              <a:rect l="l" t="t" r="r" b="b"/>
              <a:pathLst>
                <a:path w="24984" h="6246">
                  <a:moveTo>
                    <a:pt x="4247" y="8682"/>
                  </a:moveTo>
                  <a:cubicBezTo>
                    <a:pt x="11368" y="5809"/>
                    <a:pt x="18488" y="2873"/>
                    <a:pt x="25671" y="0"/>
                  </a:cubicBezTo>
                  <a:cubicBezTo>
                    <a:pt x="17864" y="5247"/>
                    <a:pt x="9119" y="8807"/>
                    <a:pt x="0" y="11618"/>
                  </a:cubicBezTo>
                  <a:cubicBezTo>
                    <a:pt x="562" y="9619"/>
                    <a:pt x="3123" y="9994"/>
                    <a:pt x="4247" y="8682"/>
                  </a:cubicBezTo>
                  <a:close/>
                </a:path>
              </a:pathLst>
            </a:custGeom>
            <a:grpFill/>
            <a:ln w="6246" cap="flat">
              <a:noFill/>
              <a:prstDash val="solid"/>
              <a:miter/>
            </a:ln>
          </p:spPr>
          <p:txBody>
            <a:bodyPr rtlCol="0" anchor="ctr"/>
            <a:lstStyle/>
            <a:p>
              <a:endParaRPr lang="fr-FR" sz="2400"/>
            </a:p>
          </p:txBody>
        </p:sp>
        <p:sp>
          <p:nvSpPr>
            <p:cNvPr id="485" name="Freeform: Shape 484">
              <a:extLst>
                <a:ext uri="{FF2B5EF4-FFF2-40B4-BE49-F238E27FC236}">
                  <a16:creationId xmlns:a16="http://schemas.microsoft.com/office/drawing/2014/main" id="{BBA711A5-885E-4BE1-B0B5-0D5DB7BDFBEC}"/>
                </a:ext>
              </a:extLst>
            </p:cNvPr>
            <p:cNvSpPr/>
            <p:nvPr/>
          </p:nvSpPr>
          <p:spPr>
            <a:xfrm>
              <a:off x="1112125" y="533413"/>
              <a:ext cx="6246" cy="12492"/>
            </a:xfrm>
            <a:custGeom>
              <a:avLst/>
              <a:gdLst>
                <a:gd name="connsiteX0" fmla="*/ 1016 w 0"/>
                <a:gd name="connsiteY0" fmla="*/ 18363 h 12492"/>
                <a:gd name="connsiteX1" fmla="*/ 17 w 0"/>
                <a:gd name="connsiteY1" fmla="*/ 3498 h 12492"/>
                <a:gd name="connsiteX2" fmla="*/ 2078 w 0"/>
                <a:gd name="connsiteY2" fmla="*/ 0 h 12492"/>
                <a:gd name="connsiteX3" fmla="*/ 1016 w 0"/>
                <a:gd name="connsiteY3" fmla="*/ 18363 h 12492"/>
              </a:gdLst>
              <a:ahLst/>
              <a:cxnLst>
                <a:cxn ang="0">
                  <a:pos x="connsiteX0" y="connsiteY0"/>
                </a:cxn>
                <a:cxn ang="0">
                  <a:pos x="connsiteX1" y="connsiteY1"/>
                </a:cxn>
                <a:cxn ang="0">
                  <a:pos x="connsiteX2" y="connsiteY2"/>
                </a:cxn>
                <a:cxn ang="0">
                  <a:pos x="connsiteX3" y="connsiteY3"/>
                </a:cxn>
              </a:cxnLst>
              <a:rect l="l" t="t" r="r" b="b"/>
              <a:pathLst>
                <a:path h="12492">
                  <a:moveTo>
                    <a:pt x="1016" y="18363"/>
                  </a:moveTo>
                  <a:cubicBezTo>
                    <a:pt x="-483" y="13491"/>
                    <a:pt x="516" y="8432"/>
                    <a:pt x="17" y="3498"/>
                  </a:cubicBezTo>
                  <a:cubicBezTo>
                    <a:pt x="-108" y="1874"/>
                    <a:pt x="454" y="749"/>
                    <a:pt x="2078" y="0"/>
                  </a:cubicBezTo>
                  <a:cubicBezTo>
                    <a:pt x="1703" y="6121"/>
                    <a:pt x="2827" y="12305"/>
                    <a:pt x="1016" y="18363"/>
                  </a:cubicBezTo>
                  <a:close/>
                </a:path>
              </a:pathLst>
            </a:custGeom>
            <a:grpFill/>
            <a:ln w="6246" cap="flat">
              <a:noFill/>
              <a:prstDash val="solid"/>
              <a:miter/>
            </a:ln>
          </p:spPr>
          <p:txBody>
            <a:bodyPr rtlCol="0" anchor="ctr"/>
            <a:lstStyle/>
            <a:p>
              <a:endParaRPr lang="fr-FR" sz="2400"/>
            </a:p>
          </p:txBody>
        </p:sp>
        <p:sp>
          <p:nvSpPr>
            <p:cNvPr id="486" name="Freeform: Shape 485">
              <a:extLst>
                <a:ext uri="{FF2B5EF4-FFF2-40B4-BE49-F238E27FC236}">
                  <a16:creationId xmlns:a16="http://schemas.microsoft.com/office/drawing/2014/main" id="{ABEF97D1-E5B5-47D4-A1CB-E74A64CB40E6}"/>
                </a:ext>
              </a:extLst>
            </p:cNvPr>
            <p:cNvSpPr/>
            <p:nvPr/>
          </p:nvSpPr>
          <p:spPr>
            <a:xfrm>
              <a:off x="1186970" y="629111"/>
              <a:ext cx="6246" cy="6246"/>
            </a:xfrm>
            <a:custGeom>
              <a:avLst/>
              <a:gdLst>
                <a:gd name="connsiteX0" fmla="*/ 11805 w 6246"/>
                <a:gd name="connsiteY0" fmla="*/ 7736 h 6246"/>
                <a:gd name="connsiteX1" fmla="*/ 4310 w 6246"/>
                <a:gd name="connsiteY1" fmla="*/ 4863 h 6246"/>
                <a:gd name="connsiteX2" fmla="*/ 0 w 6246"/>
                <a:gd name="connsiteY2" fmla="*/ 991 h 6246"/>
                <a:gd name="connsiteX3" fmla="*/ 500 w 6246"/>
                <a:gd name="connsiteY3" fmla="*/ 491 h 6246"/>
                <a:gd name="connsiteX4" fmla="*/ 4122 w 6246"/>
                <a:gd name="connsiteY4" fmla="*/ 179 h 6246"/>
                <a:gd name="connsiteX5" fmla="*/ 7558 w 6246"/>
                <a:gd name="connsiteY5" fmla="*/ 1365 h 6246"/>
                <a:gd name="connsiteX6" fmla="*/ 9681 w 6246"/>
                <a:gd name="connsiteY6" fmla="*/ 3177 h 6246"/>
                <a:gd name="connsiteX7" fmla="*/ 11805 w 6246"/>
                <a:gd name="connsiteY7" fmla="*/ 77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1805" y="7736"/>
                  </a:moveTo>
                  <a:cubicBezTo>
                    <a:pt x="8994" y="7424"/>
                    <a:pt x="6808" y="5738"/>
                    <a:pt x="4310" y="4863"/>
                  </a:cubicBezTo>
                  <a:cubicBezTo>
                    <a:pt x="2873" y="3552"/>
                    <a:pt x="1437" y="2302"/>
                    <a:pt x="0" y="991"/>
                  </a:cubicBezTo>
                  <a:cubicBezTo>
                    <a:pt x="187" y="803"/>
                    <a:pt x="312" y="678"/>
                    <a:pt x="500" y="491"/>
                  </a:cubicBezTo>
                  <a:cubicBezTo>
                    <a:pt x="1686" y="-134"/>
                    <a:pt x="2873" y="-71"/>
                    <a:pt x="4122" y="179"/>
                  </a:cubicBezTo>
                  <a:cubicBezTo>
                    <a:pt x="5309" y="491"/>
                    <a:pt x="6433" y="866"/>
                    <a:pt x="7558" y="1365"/>
                  </a:cubicBezTo>
                  <a:cubicBezTo>
                    <a:pt x="8432" y="1803"/>
                    <a:pt x="9057" y="2490"/>
                    <a:pt x="9681" y="3177"/>
                  </a:cubicBezTo>
                  <a:cubicBezTo>
                    <a:pt x="10493" y="4676"/>
                    <a:pt x="12617" y="5675"/>
                    <a:pt x="11805" y="7736"/>
                  </a:cubicBezTo>
                  <a:close/>
                </a:path>
              </a:pathLst>
            </a:custGeom>
            <a:grpFill/>
            <a:ln w="6246" cap="flat">
              <a:noFill/>
              <a:prstDash val="solid"/>
              <a:miter/>
            </a:ln>
          </p:spPr>
          <p:txBody>
            <a:bodyPr rtlCol="0" anchor="ctr"/>
            <a:lstStyle/>
            <a:p>
              <a:endParaRPr lang="fr-FR" sz="2400"/>
            </a:p>
          </p:txBody>
        </p:sp>
        <p:sp>
          <p:nvSpPr>
            <p:cNvPr id="487" name="Freeform: Shape 486">
              <a:extLst>
                <a:ext uri="{FF2B5EF4-FFF2-40B4-BE49-F238E27FC236}">
                  <a16:creationId xmlns:a16="http://schemas.microsoft.com/office/drawing/2014/main" id="{568BE0F0-98BC-42EC-BAAE-986CB7F38955}"/>
                </a:ext>
              </a:extLst>
            </p:cNvPr>
            <p:cNvSpPr/>
            <p:nvPr/>
          </p:nvSpPr>
          <p:spPr>
            <a:xfrm>
              <a:off x="1115327" y="515023"/>
              <a:ext cx="6246" cy="6246"/>
            </a:xfrm>
            <a:custGeom>
              <a:avLst/>
              <a:gdLst>
                <a:gd name="connsiteX0" fmla="*/ 0 w 0"/>
                <a:gd name="connsiteY0" fmla="*/ 8708 h 6246"/>
                <a:gd name="connsiteX1" fmla="*/ 1374 w 0"/>
                <a:gd name="connsiteY1" fmla="*/ 3337 h 6246"/>
                <a:gd name="connsiteX2" fmla="*/ 5372 w 0"/>
                <a:gd name="connsiteY2" fmla="*/ 26 h 6246"/>
                <a:gd name="connsiteX3" fmla="*/ 0 w 0"/>
                <a:gd name="connsiteY3" fmla="*/ 8708 h 6246"/>
              </a:gdLst>
              <a:ahLst/>
              <a:cxnLst>
                <a:cxn ang="0">
                  <a:pos x="connsiteX0" y="connsiteY0"/>
                </a:cxn>
                <a:cxn ang="0">
                  <a:pos x="connsiteX1" y="connsiteY1"/>
                </a:cxn>
                <a:cxn ang="0">
                  <a:pos x="connsiteX2" y="connsiteY2"/>
                </a:cxn>
                <a:cxn ang="0">
                  <a:pos x="connsiteX3" y="connsiteY3"/>
                </a:cxn>
              </a:cxnLst>
              <a:rect l="l" t="t" r="r" b="b"/>
              <a:pathLst>
                <a:path h="6246">
                  <a:moveTo>
                    <a:pt x="0" y="8708"/>
                  </a:moveTo>
                  <a:cubicBezTo>
                    <a:pt x="63" y="6835"/>
                    <a:pt x="1811" y="5523"/>
                    <a:pt x="1374" y="3337"/>
                  </a:cubicBezTo>
                  <a:cubicBezTo>
                    <a:pt x="937" y="1338"/>
                    <a:pt x="2686" y="-224"/>
                    <a:pt x="5372" y="26"/>
                  </a:cubicBezTo>
                  <a:cubicBezTo>
                    <a:pt x="3373" y="2837"/>
                    <a:pt x="6371" y="8146"/>
                    <a:pt x="0" y="8708"/>
                  </a:cubicBezTo>
                  <a:close/>
                </a:path>
              </a:pathLst>
            </a:custGeom>
            <a:grpFill/>
            <a:ln w="6246" cap="flat">
              <a:noFill/>
              <a:prstDash val="solid"/>
              <a:miter/>
            </a:ln>
          </p:spPr>
          <p:txBody>
            <a:bodyPr rtlCol="0" anchor="ctr"/>
            <a:lstStyle/>
            <a:p>
              <a:endParaRPr lang="fr-FR" sz="2400"/>
            </a:p>
          </p:txBody>
        </p:sp>
        <p:sp>
          <p:nvSpPr>
            <p:cNvPr id="488" name="Freeform: Shape 487">
              <a:extLst>
                <a:ext uri="{FF2B5EF4-FFF2-40B4-BE49-F238E27FC236}">
                  <a16:creationId xmlns:a16="http://schemas.microsoft.com/office/drawing/2014/main" id="{B8CE536B-2660-4B10-8409-FF013660D18B}"/>
                </a:ext>
              </a:extLst>
            </p:cNvPr>
            <p:cNvSpPr/>
            <p:nvPr/>
          </p:nvSpPr>
          <p:spPr>
            <a:xfrm>
              <a:off x="1342122" y="616548"/>
              <a:ext cx="12492" cy="6246"/>
            </a:xfrm>
            <a:custGeom>
              <a:avLst/>
              <a:gdLst>
                <a:gd name="connsiteX0" fmla="*/ 13929 w 12492"/>
                <a:gd name="connsiteY0" fmla="*/ 0 h 6246"/>
                <a:gd name="connsiteX1" fmla="*/ 0 w 12492"/>
                <a:gd name="connsiteY1" fmla="*/ 7745 h 6246"/>
                <a:gd name="connsiteX2" fmla="*/ 13929 w 12492"/>
                <a:gd name="connsiteY2" fmla="*/ 0 h 6246"/>
              </a:gdLst>
              <a:ahLst/>
              <a:cxnLst>
                <a:cxn ang="0">
                  <a:pos x="connsiteX0" y="connsiteY0"/>
                </a:cxn>
                <a:cxn ang="0">
                  <a:pos x="connsiteX1" y="connsiteY1"/>
                </a:cxn>
                <a:cxn ang="0">
                  <a:pos x="connsiteX2" y="connsiteY2"/>
                </a:cxn>
              </a:cxnLst>
              <a:rect l="l" t="t" r="r" b="b"/>
              <a:pathLst>
                <a:path w="12492" h="6246">
                  <a:moveTo>
                    <a:pt x="13929" y="0"/>
                  </a:moveTo>
                  <a:cubicBezTo>
                    <a:pt x="9619" y="3061"/>
                    <a:pt x="4934" y="5559"/>
                    <a:pt x="0" y="7745"/>
                  </a:cubicBezTo>
                  <a:cubicBezTo>
                    <a:pt x="3810" y="3997"/>
                    <a:pt x="7870" y="500"/>
                    <a:pt x="13929" y="0"/>
                  </a:cubicBezTo>
                  <a:close/>
                </a:path>
              </a:pathLst>
            </a:custGeom>
            <a:grpFill/>
            <a:ln w="6246" cap="flat">
              <a:noFill/>
              <a:prstDash val="solid"/>
              <a:miter/>
            </a:ln>
          </p:spPr>
          <p:txBody>
            <a:bodyPr rtlCol="0" anchor="ctr"/>
            <a:lstStyle/>
            <a:p>
              <a:endParaRPr lang="fr-FR" sz="2400"/>
            </a:p>
          </p:txBody>
        </p:sp>
        <p:sp>
          <p:nvSpPr>
            <p:cNvPr id="489" name="Freeform: Shape 488">
              <a:extLst>
                <a:ext uri="{FF2B5EF4-FFF2-40B4-BE49-F238E27FC236}">
                  <a16:creationId xmlns:a16="http://schemas.microsoft.com/office/drawing/2014/main" id="{C2FBE530-9D15-4F58-995B-8076B797B20B}"/>
                </a:ext>
              </a:extLst>
            </p:cNvPr>
            <p:cNvSpPr/>
            <p:nvPr/>
          </p:nvSpPr>
          <p:spPr>
            <a:xfrm>
              <a:off x="1180412" y="644343"/>
              <a:ext cx="12492" cy="6246"/>
            </a:xfrm>
            <a:custGeom>
              <a:avLst/>
              <a:gdLst>
                <a:gd name="connsiteX0" fmla="*/ 687 w 12492"/>
                <a:gd name="connsiteY0" fmla="*/ 0 h 0"/>
                <a:gd name="connsiteX1" fmla="*/ 14116 w 12492"/>
                <a:gd name="connsiteY1" fmla="*/ 5059 h 0"/>
                <a:gd name="connsiteX2" fmla="*/ 13616 w 12492"/>
                <a:gd name="connsiteY2" fmla="*/ 6121 h 0"/>
                <a:gd name="connsiteX3" fmla="*/ 0 w 12492"/>
                <a:gd name="connsiteY3" fmla="*/ 1374 h 0"/>
                <a:gd name="connsiteX4" fmla="*/ 687 w 12492"/>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687" y="0"/>
                  </a:moveTo>
                  <a:cubicBezTo>
                    <a:pt x="5184" y="1686"/>
                    <a:pt x="9619" y="3373"/>
                    <a:pt x="14116" y="5059"/>
                  </a:cubicBezTo>
                  <a:cubicBezTo>
                    <a:pt x="13929" y="5434"/>
                    <a:pt x="13804" y="5809"/>
                    <a:pt x="13616" y="6121"/>
                  </a:cubicBezTo>
                  <a:cubicBezTo>
                    <a:pt x="9057" y="4560"/>
                    <a:pt x="4560" y="2936"/>
                    <a:pt x="0" y="1374"/>
                  </a:cubicBezTo>
                  <a:cubicBezTo>
                    <a:pt x="250" y="937"/>
                    <a:pt x="500" y="437"/>
                    <a:pt x="687" y="0"/>
                  </a:cubicBezTo>
                  <a:close/>
                </a:path>
              </a:pathLst>
            </a:custGeom>
            <a:grpFill/>
            <a:ln w="6246" cap="flat">
              <a:noFill/>
              <a:prstDash val="solid"/>
              <a:miter/>
            </a:ln>
          </p:spPr>
          <p:txBody>
            <a:bodyPr rtlCol="0" anchor="ctr"/>
            <a:lstStyle/>
            <a:p>
              <a:endParaRPr lang="fr-FR" sz="2400"/>
            </a:p>
          </p:txBody>
        </p:sp>
        <p:sp>
          <p:nvSpPr>
            <p:cNvPr id="490" name="Freeform: Shape 489">
              <a:extLst>
                <a:ext uri="{FF2B5EF4-FFF2-40B4-BE49-F238E27FC236}">
                  <a16:creationId xmlns:a16="http://schemas.microsoft.com/office/drawing/2014/main" id="{8AFC62DF-5E22-4AE9-8584-156CDA669B0C}"/>
                </a:ext>
              </a:extLst>
            </p:cNvPr>
            <p:cNvSpPr/>
            <p:nvPr/>
          </p:nvSpPr>
          <p:spPr>
            <a:xfrm>
              <a:off x="1180586" y="623897"/>
              <a:ext cx="6246" cy="6246"/>
            </a:xfrm>
            <a:custGeom>
              <a:avLst/>
              <a:gdLst>
                <a:gd name="connsiteX0" fmla="*/ 3198 w 6246"/>
                <a:gd name="connsiteY0" fmla="*/ 6205 h 6246"/>
                <a:gd name="connsiteX1" fmla="*/ 13 w 6246"/>
                <a:gd name="connsiteY1" fmla="*/ 334 h 6246"/>
                <a:gd name="connsiteX2" fmla="*/ 1512 w 6246"/>
                <a:gd name="connsiteY2" fmla="*/ 22 h 6246"/>
                <a:gd name="connsiteX3" fmla="*/ 6383 w 6246"/>
                <a:gd name="connsiteY3" fmla="*/ 6205 h 6246"/>
                <a:gd name="connsiteX4" fmla="*/ 6383 w 6246"/>
                <a:gd name="connsiteY4" fmla="*/ 6205 h 6246"/>
                <a:gd name="connsiteX5" fmla="*/ 3198 w 6246"/>
                <a:gd name="connsiteY5" fmla="*/ 62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198" y="6205"/>
                  </a:moveTo>
                  <a:cubicBezTo>
                    <a:pt x="3323" y="3707"/>
                    <a:pt x="-237" y="2832"/>
                    <a:pt x="13" y="334"/>
                  </a:cubicBezTo>
                  <a:cubicBezTo>
                    <a:pt x="450" y="22"/>
                    <a:pt x="1012" y="-41"/>
                    <a:pt x="1512" y="22"/>
                  </a:cubicBezTo>
                  <a:cubicBezTo>
                    <a:pt x="4322" y="1333"/>
                    <a:pt x="7758" y="2208"/>
                    <a:pt x="6383" y="6205"/>
                  </a:cubicBezTo>
                  <a:lnTo>
                    <a:pt x="6383" y="6205"/>
                  </a:lnTo>
                  <a:cubicBezTo>
                    <a:pt x="5322" y="6768"/>
                    <a:pt x="4260" y="6768"/>
                    <a:pt x="3198" y="6205"/>
                  </a:cubicBezTo>
                  <a:close/>
                </a:path>
              </a:pathLst>
            </a:custGeom>
            <a:grpFill/>
            <a:ln w="6246" cap="flat">
              <a:noFill/>
              <a:prstDash val="solid"/>
              <a:miter/>
            </a:ln>
          </p:spPr>
          <p:txBody>
            <a:bodyPr rtlCol="0" anchor="ctr"/>
            <a:lstStyle/>
            <a:p>
              <a:endParaRPr lang="fr-FR" sz="2400"/>
            </a:p>
          </p:txBody>
        </p:sp>
        <p:sp>
          <p:nvSpPr>
            <p:cNvPr id="491" name="Freeform: Shape 490">
              <a:extLst>
                <a:ext uri="{FF2B5EF4-FFF2-40B4-BE49-F238E27FC236}">
                  <a16:creationId xmlns:a16="http://schemas.microsoft.com/office/drawing/2014/main" id="{D24F7AB0-51C1-4986-84D6-ADF940745BD8}"/>
                </a:ext>
              </a:extLst>
            </p:cNvPr>
            <p:cNvSpPr/>
            <p:nvPr/>
          </p:nvSpPr>
          <p:spPr>
            <a:xfrm>
              <a:off x="1142061" y="523288"/>
              <a:ext cx="18738" cy="81199"/>
            </a:xfrm>
            <a:custGeom>
              <a:avLst/>
              <a:gdLst>
                <a:gd name="connsiteX0" fmla="*/ 22361 w 18738"/>
                <a:gd name="connsiteY0" fmla="*/ 83579 h 81198"/>
                <a:gd name="connsiteX1" fmla="*/ 20862 w 18738"/>
                <a:gd name="connsiteY1" fmla="*/ 83829 h 81198"/>
                <a:gd name="connsiteX2" fmla="*/ 7308 w 18738"/>
                <a:gd name="connsiteY2" fmla="*/ 61531 h 81198"/>
                <a:gd name="connsiteX3" fmla="*/ 4435 w 18738"/>
                <a:gd name="connsiteY3" fmla="*/ 52536 h 81198"/>
                <a:gd name="connsiteX4" fmla="*/ 3310 w 18738"/>
                <a:gd name="connsiteY4" fmla="*/ 43354 h 81198"/>
                <a:gd name="connsiteX5" fmla="*/ 0 w 18738"/>
                <a:gd name="connsiteY5" fmla="*/ 32299 h 81198"/>
                <a:gd name="connsiteX6" fmla="*/ 312 w 18738"/>
                <a:gd name="connsiteY6" fmla="*/ 8189 h 81198"/>
                <a:gd name="connsiteX7" fmla="*/ 3185 w 18738"/>
                <a:gd name="connsiteY7" fmla="*/ 2318 h 81198"/>
                <a:gd name="connsiteX8" fmla="*/ 8370 w 18738"/>
                <a:gd name="connsiteY8" fmla="*/ 382 h 81198"/>
                <a:gd name="connsiteX9" fmla="*/ 9619 w 18738"/>
                <a:gd name="connsiteY9" fmla="*/ 5191 h 81198"/>
                <a:gd name="connsiteX10" fmla="*/ 7745 w 18738"/>
                <a:gd name="connsiteY10" fmla="*/ 36109 h 81198"/>
                <a:gd name="connsiteX11" fmla="*/ 17177 w 18738"/>
                <a:gd name="connsiteY11" fmla="*/ 67527 h 81198"/>
                <a:gd name="connsiteX12" fmla="*/ 21924 w 18738"/>
                <a:gd name="connsiteY12" fmla="*/ 79956 h 81198"/>
                <a:gd name="connsiteX13" fmla="*/ 22361 w 18738"/>
                <a:gd name="connsiteY13" fmla="*/ 83579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8" h="81198">
                  <a:moveTo>
                    <a:pt x="22361" y="83579"/>
                  </a:moveTo>
                  <a:cubicBezTo>
                    <a:pt x="21861" y="83704"/>
                    <a:pt x="20924" y="83954"/>
                    <a:pt x="20862" y="83829"/>
                  </a:cubicBezTo>
                  <a:cubicBezTo>
                    <a:pt x="16427" y="76334"/>
                    <a:pt x="7870" y="70587"/>
                    <a:pt x="7308" y="61531"/>
                  </a:cubicBezTo>
                  <a:cubicBezTo>
                    <a:pt x="7121" y="58033"/>
                    <a:pt x="6808" y="54535"/>
                    <a:pt x="4435" y="52536"/>
                  </a:cubicBezTo>
                  <a:cubicBezTo>
                    <a:pt x="625" y="49351"/>
                    <a:pt x="1999" y="46852"/>
                    <a:pt x="3310" y="43354"/>
                  </a:cubicBezTo>
                  <a:cubicBezTo>
                    <a:pt x="4809" y="39419"/>
                    <a:pt x="2498" y="35672"/>
                    <a:pt x="0" y="32299"/>
                  </a:cubicBezTo>
                  <a:cubicBezTo>
                    <a:pt x="62" y="24242"/>
                    <a:pt x="0" y="16247"/>
                    <a:pt x="312" y="8189"/>
                  </a:cubicBezTo>
                  <a:cubicBezTo>
                    <a:pt x="375" y="6128"/>
                    <a:pt x="937" y="3754"/>
                    <a:pt x="3185" y="2318"/>
                  </a:cubicBezTo>
                  <a:cubicBezTo>
                    <a:pt x="5059" y="2006"/>
                    <a:pt x="5684" y="-1055"/>
                    <a:pt x="8370" y="382"/>
                  </a:cubicBezTo>
                  <a:cubicBezTo>
                    <a:pt x="10244" y="1693"/>
                    <a:pt x="9994" y="3505"/>
                    <a:pt x="9619" y="5191"/>
                  </a:cubicBezTo>
                  <a:cubicBezTo>
                    <a:pt x="7370" y="15435"/>
                    <a:pt x="6871" y="25741"/>
                    <a:pt x="7745" y="36109"/>
                  </a:cubicBezTo>
                  <a:cubicBezTo>
                    <a:pt x="8682" y="47102"/>
                    <a:pt x="12555" y="57408"/>
                    <a:pt x="17177" y="67527"/>
                  </a:cubicBezTo>
                  <a:cubicBezTo>
                    <a:pt x="18426" y="71774"/>
                    <a:pt x="20487" y="75772"/>
                    <a:pt x="21924" y="79956"/>
                  </a:cubicBezTo>
                  <a:cubicBezTo>
                    <a:pt x="22361" y="81206"/>
                    <a:pt x="23235" y="82330"/>
                    <a:pt x="22361" y="83579"/>
                  </a:cubicBezTo>
                  <a:close/>
                </a:path>
              </a:pathLst>
            </a:custGeom>
            <a:grpFill/>
            <a:ln w="6246" cap="flat">
              <a:noFill/>
              <a:prstDash val="solid"/>
              <a:miter/>
            </a:ln>
          </p:spPr>
          <p:txBody>
            <a:bodyPr rtlCol="0" anchor="ctr"/>
            <a:lstStyle/>
            <a:p>
              <a:endParaRPr lang="fr-FR" sz="2400"/>
            </a:p>
          </p:txBody>
        </p:sp>
        <p:sp>
          <p:nvSpPr>
            <p:cNvPr id="492" name="Freeform: Shape 491">
              <a:extLst>
                <a:ext uri="{FF2B5EF4-FFF2-40B4-BE49-F238E27FC236}">
                  <a16:creationId xmlns:a16="http://schemas.microsoft.com/office/drawing/2014/main" id="{9D688CED-C3EA-4D51-9936-ED16EAE8BC6B}"/>
                </a:ext>
              </a:extLst>
            </p:cNvPr>
            <p:cNvSpPr/>
            <p:nvPr/>
          </p:nvSpPr>
          <p:spPr>
            <a:xfrm>
              <a:off x="1126595" y="532414"/>
              <a:ext cx="6246" cy="6246"/>
            </a:xfrm>
            <a:custGeom>
              <a:avLst/>
              <a:gdLst>
                <a:gd name="connsiteX0" fmla="*/ 1536 w 0"/>
                <a:gd name="connsiteY0" fmla="*/ 0 h 0"/>
                <a:gd name="connsiteX1" fmla="*/ 475 w 0"/>
                <a:gd name="connsiteY1" fmla="*/ 3873 h 0"/>
                <a:gd name="connsiteX2" fmla="*/ 1536 w 0"/>
                <a:gd name="connsiteY2" fmla="*/ 0 h 0"/>
              </a:gdLst>
              <a:ahLst/>
              <a:cxnLst>
                <a:cxn ang="0">
                  <a:pos x="connsiteX0" y="connsiteY0"/>
                </a:cxn>
                <a:cxn ang="0">
                  <a:pos x="connsiteX1" y="connsiteY1"/>
                </a:cxn>
                <a:cxn ang="0">
                  <a:pos x="connsiteX2" y="connsiteY2"/>
                </a:cxn>
              </a:cxnLst>
              <a:rect l="l" t="t" r="r" b="b"/>
              <a:pathLst>
                <a:path>
                  <a:moveTo>
                    <a:pt x="1536" y="0"/>
                  </a:moveTo>
                  <a:cubicBezTo>
                    <a:pt x="1412" y="1312"/>
                    <a:pt x="1974" y="2811"/>
                    <a:pt x="475" y="3873"/>
                  </a:cubicBezTo>
                  <a:cubicBezTo>
                    <a:pt x="-462" y="2311"/>
                    <a:pt x="37" y="1062"/>
                    <a:pt x="1536" y="0"/>
                  </a:cubicBezTo>
                  <a:close/>
                </a:path>
              </a:pathLst>
            </a:custGeom>
            <a:grpFill/>
            <a:ln w="6246" cap="flat">
              <a:noFill/>
              <a:prstDash val="solid"/>
              <a:miter/>
            </a:ln>
          </p:spPr>
          <p:txBody>
            <a:bodyPr rtlCol="0" anchor="ctr"/>
            <a:lstStyle/>
            <a:p>
              <a:endParaRPr lang="fr-FR" sz="2400"/>
            </a:p>
          </p:txBody>
        </p:sp>
        <p:sp>
          <p:nvSpPr>
            <p:cNvPr id="493" name="Freeform: Shape 492">
              <a:extLst>
                <a:ext uri="{FF2B5EF4-FFF2-40B4-BE49-F238E27FC236}">
                  <a16:creationId xmlns:a16="http://schemas.microsoft.com/office/drawing/2014/main" id="{8A595F4E-2056-458E-84F9-AEF1613299E9}"/>
                </a:ext>
              </a:extLst>
            </p:cNvPr>
            <p:cNvSpPr/>
            <p:nvPr/>
          </p:nvSpPr>
          <p:spPr>
            <a:xfrm>
              <a:off x="1131130" y="531477"/>
              <a:ext cx="6246" cy="6246"/>
            </a:xfrm>
            <a:custGeom>
              <a:avLst/>
              <a:gdLst>
                <a:gd name="connsiteX0" fmla="*/ 1312 w 0"/>
                <a:gd name="connsiteY0" fmla="*/ 0 h 6246"/>
                <a:gd name="connsiteX1" fmla="*/ 1312 w 0"/>
                <a:gd name="connsiteY1" fmla="*/ 8682 h 6246"/>
                <a:gd name="connsiteX2" fmla="*/ 1312 w 0"/>
                <a:gd name="connsiteY2" fmla="*/ 0 h 6246"/>
              </a:gdLst>
              <a:ahLst/>
              <a:cxnLst>
                <a:cxn ang="0">
                  <a:pos x="connsiteX0" y="connsiteY0"/>
                </a:cxn>
                <a:cxn ang="0">
                  <a:pos x="connsiteX1" y="connsiteY1"/>
                </a:cxn>
                <a:cxn ang="0">
                  <a:pos x="connsiteX2" y="connsiteY2"/>
                </a:cxn>
              </a:cxnLst>
              <a:rect l="l" t="t" r="r" b="b"/>
              <a:pathLst>
                <a:path h="6246">
                  <a:moveTo>
                    <a:pt x="1312" y="0"/>
                  </a:moveTo>
                  <a:cubicBezTo>
                    <a:pt x="1312" y="2873"/>
                    <a:pt x="1312" y="5809"/>
                    <a:pt x="1312" y="8682"/>
                  </a:cubicBezTo>
                  <a:cubicBezTo>
                    <a:pt x="-437" y="5809"/>
                    <a:pt x="-437" y="2873"/>
                    <a:pt x="1312" y="0"/>
                  </a:cubicBezTo>
                  <a:close/>
                </a:path>
              </a:pathLst>
            </a:custGeom>
            <a:grpFill/>
            <a:ln w="6246" cap="flat">
              <a:noFill/>
              <a:prstDash val="solid"/>
              <a:miter/>
            </a:ln>
          </p:spPr>
          <p:txBody>
            <a:bodyPr rtlCol="0" anchor="ctr"/>
            <a:lstStyle/>
            <a:p>
              <a:endParaRPr lang="fr-FR" sz="2400"/>
            </a:p>
          </p:txBody>
        </p:sp>
        <p:sp>
          <p:nvSpPr>
            <p:cNvPr id="494" name="Freeform: Shape 493">
              <a:extLst>
                <a:ext uri="{FF2B5EF4-FFF2-40B4-BE49-F238E27FC236}">
                  <a16:creationId xmlns:a16="http://schemas.microsoft.com/office/drawing/2014/main" id="{EDE83F99-5979-45CF-B5FB-6458793C11D4}"/>
                </a:ext>
              </a:extLst>
            </p:cNvPr>
            <p:cNvSpPr/>
            <p:nvPr/>
          </p:nvSpPr>
          <p:spPr>
            <a:xfrm>
              <a:off x="1112014" y="498185"/>
              <a:ext cx="6246" cy="18738"/>
            </a:xfrm>
            <a:custGeom>
              <a:avLst/>
              <a:gdLst>
                <a:gd name="connsiteX0" fmla="*/ 3251 w 6246"/>
                <a:gd name="connsiteY0" fmla="*/ 17801 h 18738"/>
                <a:gd name="connsiteX1" fmla="*/ 3 w 6246"/>
                <a:gd name="connsiteY1" fmla="*/ 23610 h 18738"/>
                <a:gd name="connsiteX2" fmla="*/ 1065 w 6246"/>
                <a:gd name="connsiteY2" fmla="*/ 16864 h 18738"/>
                <a:gd name="connsiteX3" fmla="*/ 565 w 6246"/>
                <a:gd name="connsiteY3" fmla="*/ 11743 h 18738"/>
                <a:gd name="connsiteX4" fmla="*/ 1127 w 6246"/>
                <a:gd name="connsiteY4" fmla="*/ 6746 h 18738"/>
                <a:gd name="connsiteX5" fmla="*/ 1877 w 6246"/>
                <a:gd name="connsiteY5" fmla="*/ 4060 h 18738"/>
                <a:gd name="connsiteX6" fmla="*/ 2564 w 6246"/>
                <a:gd name="connsiteY6" fmla="*/ 2811 h 18738"/>
                <a:gd name="connsiteX7" fmla="*/ 5562 w 6246"/>
                <a:gd name="connsiteY7" fmla="*/ 0 h 18738"/>
                <a:gd name="connsiteX8" fmla="*/ 7248 w 6246"/>
                <a:gd name="connsiteY8" fmla="*/ 1249 h 18738"/>
                <a:gd name="connsiteX9" fmla="*/ 6436 w 6246"/>
                <a:gd name="connsiteY9" fmla="*/ 7183 h 18738"/>
                <a:gd name="connsiteX10" fmla="*/ 3251 w 6246"/>
                <a:gd name="connsiteY10" fmla="*/ 1780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46" h="18738">
                  <a:moveTo>
                    <a:pt x="3251" y="17801"/>
                  </a:moveTo>
                  <a:cubicBezTo>
                    <a:pt x="128" y="18801"/>
                    <a:pt x="2127" y="22111"/>
                    <a:pt x="3" y="23610"/>
                  </a:cubicBezTo>
                  <a:cubicBezTo>
                    <a:pt x="65" y="21299"/>
                    <a:pt x="-309" y="18988"/>
                    <a:pt x="1065" y="16864"/>
                  </a:cubicBezTo>
                  <a:cubicBezTo>
                    <a:pt x="65" y="15178"/>
                    <a:pt x="815" y="13429"/>
                    <a:pt x="565" y="11743"/>
                  </a:cubicBezTo>
                  <a:cubicBezTo>
                    <a:pt x="190" y="10056"/>
                    <a:pt x="1252" y="8432"/>
                    <a:pt x="1127" y="6746"/>
                  </a:cubicBezTo>
                  <a:cubicBezTo>
                    <a:pt x="1065" y="5809"/>
                    <a:pt x="1439" y="4934"/>
                    <a:pt x="1877" y="4060"/>
                  </a:cubicBezTo>
                  <a:cubicBezTo>
                    <a:pt x="2064" y="3623"/>
                    <a:pt x="2314" y="3248"/>
                    <a:pt x="2564" y="2811"/>
                  </a:cubicBezTo>
                  <a:cubicBezTo>
                    <a:pt x="3813" y="2124"/>
                    <a:pt x="3563" y="62"/>
                    <a:pt x="5562" y="0"/>
                  </a:cubicBezTo>
                  <a:cubicBezTo>
                    <a:pt x="6374" y="125"/>
                    <a:pt x="6936" y="562"/>
                    <a:pt x="7248" y="1249"/>
                  </a:cubicBezTo>
                  <a:cubicBezTo>
                    <a:pt x="8248" y="3373"/>
                    <a:pt x="5624" y="5059"/>
                    <a:pt x="6436" y="7183"/>
                  </a:cubicBezTo>
                  <a:cubicBezTo>
                    <a:pt x="5374" y="10681"/>
                    <a:pt x="4313" y="14241"/>
                    <a:pt x="3251" y="17801"/>
                  </a:cubicBezTo>
                  <a:close/>
                </a:path>
              </a:pathLst>
            </a:custGeom>
            <a:grpFill/>
            <a:ln w="6246" cap="flat">
              <a:noFill/>
              <a:prstDash val="solid"/>
              <a:miter/>
            </a:ln>
          </p:spPr>
          <p:txBody>
            <a:bodyPr rtlCol="0" anchor="ctr"/>
            <a:lstStyle/>
            <a:p>
              <a:endParaRPr lang="fr-FR" sz="2400"/>
            </a:p>
          </p:txBody>
        </p:sp>
        <p:sp>
          <p:nvSpPr>
            <p:cNvPr id="495" name="Freeform: Shape 494">
              <a:extLst>
                <a:ext uri="{FF2B5EF4-FFF2-40B4-BE49-F238E27FC236}">
                  <a16:creationId xmlns:a16="http://schemas.microsoft.com/office/drawing/2014/main" id="{B82A622F-17B5-46A0-B416-804EE8031FDA}"/>
                </a:ext>
              </a:extLst>
            </p:cNvPr>
            <p:cNvSpPr/>
            <p:nvPr/>
          </p:nvSpPr>
          <p:spPr>
            <a:xfrm>
              <a:off x="1116809" y="493636"/>
              <a:ext cx="6246" cy="6246"/>
            </a:xfrm>
            <a:custGeom>
              <a:avLst/>
              <a:gdLst>
                <a:gd name="connsiteX0" fmla="*/ 1704 w 0"/>
                <a:gd name="connsiteY0" fmla="*/ 5986 h 6246"/>
                <a:gd name="connsiteX1" fmla="*/ 455 w 0"/>
                <a:gd name="connsiteY1" fmla="*/ 4924 h 6246"/>
                <a:gd name="connsiteX2" fmla="*/ 143 w 0"/>
                <a:gd name="connsiteY2" fmla="*/ 3175 h 6246"/>
                <a:gd name="connsiteX3" fmla="*/ 1267 w 0"/>
                <a:gd name="connsiteY3" fmla="*/ 801 h 6246"/>
                <a:gd name="connsiteX4" fmla="*/ 3828 w 0"/>
                <a:gd name="connsiteY4" fmla="*/ 177 h 6246"/>
                <a:gd name="connsiteX5" fmla="*/ 5015 w 0"/>
                <a:gd name="connsiteY5" fmla="*/ 1426 h 6246"/>
                <a:gd name="connsiteX6" fmla="*/ 4952 w 0"/>
                <a:gd name="connsiteY6" fmla="*/ 3050 h 6246"/>
                <a:gd name="connsiteX7" fmla="*/ 2953 w 0"/>
                <a:gd name="connsiteY7" fmla="*/ 6173 h 6246"/>
                <a:gd name="connsiteX8" fmla="*/ 1704 w 0"/>
                <a:gd name="connsiteY8" fmla="*/ 598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1704" y="5986"/>
                  </a:moveTo>
                  <a:cubicBezTo>
                    <a:pt x="1267" y="5611"/>
                    <a:pt x="830" y="5298"/>
                    <a:pt x="455" y="4924"/>
                  </a:cubicBezTo>
                  <a:cubicBezTo>
                    <a:pt x="-45" y="4362"/>
                    <a:pt x="-107" y="3799"/>
                    <a:pt x="143" y="3175"/>
                  </a:cubicBezTo>
                  <a:cubicBezTo>
                    <a:pt x="580" y="2425"/>
                    <a:pt x="642" y="1488"/>
                    <a:pt x="1267" y="801"/>
                  </a:cubicBezTo>
                  <a:cubicBezTo>
                    <a:pt x="2017" y="177"/>
                    <a:pt x="2766" y="-261"/>
                    <a:pt x="3828" y="177"/>
                  </a:cubicBezTo>
                  <a:cubicBezTo>
                    <a:pt x="4203" y="614"/>
                    <a:pt x="4640" y="989"/>
                    <a:pt x="5015" y="1426"/>
                  </a:cubicBezTo>
                  <a:cubicBezTo>
                    <a:pt x="5015" y="1988"/>
                    <a:pt x="4952" y="2488"/>
                    <a:pt x="4952" y="3050"/>
                  </a:cubicBezTo>
                  <a:cubicBezTo>
                    <a:pt x="3765" y="3862"/>
                    <a:pt x="3765" y="5236"/>
                    <a:pt x="2953" y="6173"/>
                  </a:cubicBezTo>
                  <a:cubicBezTo>
                    <a:pt x="2516" y="6360"/>
                    <a:pt x="2079" y="6298"/>
                    <a:pt x="1704" y="5986"/>
                  </a:cubicBezTo>
                  <a:close/>
                </a:path>
              </a:pathLst>
            </a:custGeom>
            <a:grpFill/>
            <a:ln w="6246" cap="flat">
              <a:noFill/>
              <a:prstDash val="solid"/>
              <a:miter/>
            </a:ln>
          </p:spPr>
          <p:txBody>
            <a:bodyPr rtlCol="0" anchor="ctr"/>
            <a:lstStyle/>
            <a:p>
              <a:endParaRPr lang="fr-FR" sz="2400"/>
            </a:p>
          </p:txBody>
        </p:sp>
        <p:sp>
          <p:nvSpPr>
            <p:cNvPr id="496" name="Freeform: Shape 495">
              <a:extLst>
                <a:ext uri="{FF2B5EF4-FFF2-40B4-BE49-F238E27FC236}">
                  <a16:creationId xmlns:a16="http://schemas.microsoft.com/office/drawing/2014/main" id="{2BD9EC73-016E-4596-86D9-EF98DBC7402F}"/>
                </a:ext>
              </a:extLst>
            </p:cNvPr>
            <p:cNvSpPr/>
            <p:nvPr/>
          </p:nvSpPr>
          <p:spPr>
            <a:xfrm>
              <a:off x="1117576" y="499395"/>
              <a:ext cx="6246" cy="6246"/>
            </a:xfrm>
            <a:custGeom>
              <a:avLst/>
              <a:gdLst>
                <a:gd name="connsiteX0" fmla="*/ 937 w 0"/>
                <a:gd name="connsiteY0" fmla="*/ 227 h 0"/>
                <a:gd name="connsiteX1" fmla="*/ 1936 w 0"/>
                <a:gd name="connsiteY1" fmla="*/ 227 h 0"/>
                <a:gd name="connsiteX2" fmla="*/ 3123 w 0"/>
                <a:gd name="connsiteY2" fmla="*/ 289 h 0"/>
                <a:gd name="connsiteX3" fmla="*/ 812 w 0"/>
                <a:gd name="connsiteY3" fmla="*/ 6036 h 0"/>
                <a:gd name="connsiteX4" fmla="*/ 937 w 0"/>
                <a:gd name="connsiteY4" fmla="*/ 227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37" y="227"/>
                  </a:moveTo>
                  <a:cubicBezTo>
                    <a:pt x="1249" y="227"/>
                    <a:pt x="1624" y="227"/>
                    <a:pt x="1936" y="227"/>
                  </a:cubicBezTo>
                  <a:cubicBezTo>
                    <a:pt x="2373" y="-85"/>
                    <a:pt x="2748" y="-85"/>
                    <a:pt x="3123" y="289"/>
                  </a:cubicBezTo>
                  <a:cubicBezTo>
                    <a:pt x="3123" y="2476"/>
                    <a:pt x="1811" y="4162"/>
                    <a:pt x="812" y="6036"/>
                  </a:cubicBezTo>
                  <a:cubicBezTo>
                    <a:pt x="-1374" y="4037"/>
                    <a:pt x="1624" y="2101"/>
                    <a:pt x="937" y="227"/>
                  </a:cubicBezTo>
                  <a:close/>
                </a:path>
              </a:pathLst>
            </a:custGeom>
            <a:grpFill/>
            <a:ln w="6246" cap="flat">
              <a:noFill/>
              <a:prstDash val="solid"/>
              <a:miter/>
            </a:ln>
          </p:spPr>
          <p:txBody>
            <a:bodyPr rtlCol="0" anchor="ctr"/>
            <a:lstStyle/>
            <a:p>
              <a:endParaRPr lang="fr-FR" sz="2400"/>
            </a:p>
          </p:txBody>
        </p:sp>
        <p:sp>
          <p:nvSpPr>
            <p:cNvPr id="497" name="Freeform: Shape 496">
              <a:extLst>
                <a:ext uri="{FF2B5EF4-FFF2-40B4-BE49-F238E27FC236}">
                  <a16:creationId xmlns:a16="http://schemas.microsoft.com/office/drawing/2014/main" id="{8D20E7F1-7019-4169-B068-1EF9597DF0EA}"/>
                </a:ext>
              </a:extLst>
            </p:cNvPr>
            <p:cNvSpPr/>
            <p:nvPr/>
          </p:nvSpPr>
          <p:spPr>
            <a:xfrm>
              <a:off x="1119575" y="496624"/>
              <a:ext cx="6246" cy="6246"/>
            </a:xfrm>
            <a:custGeom>
              <a:avLst/>
              <a:gdLst>
                <a:gd name="connsiteX0" fmla="*/ 1187 w 0"/>
                <a:gd name="connsiteY0" fmla="*/ 2998 h 0"/>
                <a:gd name="connsiteX1" fmla="*/ 0 w 0"/>
                <a:gd name="connsiteY1" fmla="*/ 2936 h 0"/>
                <a:gd name="connsiteX2" fmla="*/ 2186 w 0"/>
                <a:gd name="connsiteY2" fmla="*/ 0 h 0"/>
                <a:gd name="connsiteX3" fmla="*/ 1187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1187" y="2998"/>
                  </a:moveTo>
                  <a:cubicBezTo>
                    <a:pt x="812" y="2998"/>
                    <a:pt x="375" y="2936"/>
                    <a:pt x="0" y="2936"/>
                  </a:cubicBezTo>
                  <a:cubicBezTo>
                    <a:pt x="0" y="1499"/>
                    <a:pt x="125" y="125"/>
                    <a:pt x="2186" y="0"/>
                  </a:cubicBezTo>
                  <a:cubicBezTo>
                    <a:pt x="2186" y="1062"/>
                    <a:pt x="2124" y="2186"/>
                    <a:pt x="1187" y="2998"/>
                  </a:cubicBezTo>
                  <a:close/>
                </a:path>
              </a:pathLst>
            </a:custGeom>
            <a:grpFill/>
            <a:ln w="6246" cap="flat">
              <a:noFill/>
              <a:prstDash val="solid"/>
              <a:miter/>
            </a:ln>
          </p:spPr>
          <p:txBody>
            <a:bodyPr rtlCol="0" anchor="ctr"/>
            <a:lstStyle/>
            <a:p>
              <a:endParaRPr lang="fr-FR" sz="2400"/>
            </a:p>
          </p:txBody>
        </p:sp>
        <p:sp>
          <p:nvSpPr>
            <p:cNvPr id="498" name="Freeform: Shape 497">
              <a:extLst>
                <a:ext uri="{FF2B5EF4-FFF2-40B4-BE49-F238E27FC236}">
                  <a16:creationId xmlns:a16="http://schemas.microsoft.com/office/drawing/2014/main" id="{81AFF02D-D69C-4F85-A919-2E5060D3A2DB}"/>
                </a:ext>
              </a:extLst>
            </p:cNvPr>
            <p:cNvSpPr/>
            <p:nvPr/>
          </p:nvSpPr>
          <p:spPr>
            <a:xfrm>
              <a:off x="1139875" y="461833"/>
              <a:ext cx="6246" cy="6246"/>
            </a:xfrm>
            <a:custGeom>
              <a:avLst/>
              <a:gdLst>
                <a:gd name="connsiteX0" fmla="*/ 0 w 0"/>
                <a:gd name="connsiteY0" fmla="*/ 5809 h 0"/>
                <a:gd name="connsiteX1" fmla="*/ 5372 w 0"/>
                <a:gd name="connsiteY1" fmla="*/ 0 h 0"/>
                <a:gd name="connsiteX2" fmla="*/ 0 w 0"/>
                <a:gd name="connsiteY2" fmla="*/ 5809 h 0"/>
              </a:gdLst>
              <a:ahLst/>
              <a:cxnLst>
                <a:cxn ang="0">
                  <a:pos x="connsiteX0" y="connsiteY0"/>
                </a:cxn>
                <a:cxn ang="0">
                  <a:pos x="connsiteX1" y="connsiteY1"/>
                </a:cxn>
                <a:cxn ang="0">
                  <a:pos x="connsiteX2" y="connsiteY2"/>
                </a:cxn>
              </a:cxnLst>
              <a:rect l="l" t="t" r="r" b="b"/>
              <a:pathLst>
                <a:path>
                  <a:moveTo>
                    <a:pt x="0" y="5809"/>
                  </a:moveTo>
                  <a:cubicBezTo>
                    <a:pt x="1187" y="3435"/>
                    <a:pt x="2748" y="1312"/>
                    <a:pt x="5372" y="0"/>
                  </a:cubicBezTo>
                  <a:cubicBezTo>
                    <a:pt x="4372" y="2561"/>
                    <a:pt x="3560" y="5184"/>
                    <a:pt x="0" y="5809"/>
                  </a:cubicBezTo>
                  <a:close/>
                </a:path>
              </a:pathLst>
            </a:custGeom>
            <a:grpFill/>
            <a:ln w="6246" cap="flat">
              <a:noFill/>
              <a:prstDash val="solid"/>
              <a:miter/>
            </a:ln>
          </p:spPr>
          <p:txBody>
            <a:bodyPr rtlCol="0" anchor="ctr"/>
            <a:lstStyle/>
            <a:p>
              <a:endParaRPr lang="fr-FR" sz="2400"/>
            </a:p>
          </p:txBody>
        </p:sp>
        <p:sp>
          <p:nvSpPr>
            <p:cNvPr id="499" name="Freeform: Shape 498">
              <a:extLst>
                <a:ext uri="{FF2B5EF4-FFF2-40B4-BE49-F238E27FC236}">
                  <a16:creationId xmlns:a16="http://schemas.microsoft.com/office/drawing/2014/main" id="{9F37AC28-2FF9-4A3B-A9ED-0A391FF9F22E}"/>
                </a:ext>
              </a:extLst>
            </p:cNvPr>
            <p:cNvSpPr/>
            <p:nvPr/>
          </p:nvSpPr>
          <p:spPr>
            <a:xfrm>
              <a:off x="1138248" y="479260"/>
              <a:ext cx="6246" cy="6246"/>
            </a:xfrm>
            <a:custGeom>
              <a:avLst/>
              <a:gdLst>
                <a:gd name="connsiteX0" fmla="*/ 1627 w 0"/>
                <a:gd name="connsiteY0" fmla="*/ 0 h 0"/>
                <a:gd name="connsiteX1" fmla="*/ 128 w 0"/>
                <a:gd name="connsiteY1" fmla="*/ 3123 h 0"/>
                <a:gd name="connsiteX2" fmla="*/ 1627 w 0"/>
                <a:gd name="connsiteY2" fmla="*/ 0 h 0"/>
                <a:gd name="connsiteX3" fmla="*/ 1627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627" y="0"/>
                  </a:moveTo>
                  <a:cubicBezTo>
                    <a:pt x="1440" y="1124"/>
                    <a:pt x="2002" y="2561"/>
                    <a:pt x="128" y="3123"/>
                  </a:cubicBezTo>
                  <a:cubicBezTo>
                    <a:pt x="-372" y="1686"/>
                    <a:pt x="690" y="874"/>
                    <a:pt x="1627" y="0"/>
                  </a:cubicBezTo>
                  <a:lnTo>
                    <a:pt x="1627" y="0"/>
                  </a:lnTo>
                  <a:close/>
                </a:path>
              </a:pathLst>
            </a:custGeom>
            <a:grpFill/>
            <a:ln w="6246" cap="flat">
              <a:noFill/>
              <a:prstDash val="solid"/>
              <a:miter/>
            </a:ln>
          </p:spPr>
          <p:txBody>
            <a:bodyPr rtlCol="0" anchor="ctr"/>
            <a:lstStyle/>
            <a:p>
              <a:endParaRPr lang="fr-FR" sz="2400"/>
            </a:p>
          </p:txBody>
        </p:sp>
        <p:sp>
          <p:nvSpPr>
            <p:cNvPr id="500" name="Freeform: Shape 499">
              <a:extLst>
                <a:ext uri="{FF2B5EF4-FFF2-40B4-BE49-F238E27FC236}">
                  <a16:creationId xmlns:a16="http://schemas.microsoft.com/office/drawing/2014/main" id="{2821E973-73BE-4D03-B310-D2E3480E4C44}"/>
                </a:ext>
              </a:extLst>
            </p:cNvPr>
            <p:cNvSpPr/>
            <p:nvPr/>
          </p:nvSpPr>
          <p:spPr>
            <a:xfrm>
              <a:off x="1124946" y="470578"/>
              <a:ext cx="6246" cy="6246"/>
            </a:xfrm>
            <a:custGeom>
              <a:avLst/>
              <a:gdLst>
                <a:gd name="connsiteX0" fmla="*/ 5309 w 6246"/>
                <a:gd name="connsiteY0" fmla="*/ 0 h 6246"/>
                <a:gd name="connsiteX1" fmla="*/ 5309 w 6246"/>
                <a:gd name="connsiteY1" fmla="*/ 999 h 6246"/>
                <a:gd name="connsiteX2" fmla="*/ 8432 w 6246"/>
                <a:gd name="connsiteY2" fmla="*/ 937 h 6246"/>
                <a:gd name="connsiteX3" fmla="*/ 8682 w 6246"/>
                <a:gd name="connsiteY3" fmla="*/ 2249 h 6246"/>
                <a:gd name="connsiteX4" fmla="*/ 5184 w 6246"/>
                <a:gd name="connsiteY4" fmla="*/ 8557 h 6246"/>
                <a:gd name="connsiteX5" fmla="*/ 2124 w 6246"/>
                <a:gd name="connsiteY5" fmla="*/ 11743 h 6246"/>
                <a:gd name="connsiteX6" fmla="*/ 0 w 6246"/>
                <a:gd name="connsiteY6" fmla="*/ 8807 h 6246"/>
                <a:gd name="connsiteX7" fmla="*/ 2061 w 6246"/>
                <a:gd name="connsiteY7" fmla="*/ 5871 h 6246"/>
                <a:gd name="connsiteX8" fmla="*/ 5309 w 6246"/>
                <a:gd name="connsiteY8"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5309" y="0"/>
                  </a:moveTo>
                  <a:cubicBezTo>
                    <a:pt x="5309" y="312"/>
                    <a:pt x="5309" y="687"/>
                    <a:pt x="5309" y="999"/>
                  </a:cubicBezTo>
                  <a:cubicBezTo>
                    <a:pt x="5684" y="1999"/>
                    <a:pt x="6246" y="1999"/>
                    <a:pt x="8432" y="937"/>
                  </a:cubicBezTo>
                  <a:cubicBezTo>
                    <a:pt x="8495" y="1374"/>
                    <a:pt x="8620" y="1811"/>
                    <a:pt x="8682" y="2249"/>
                  </a:cubicBezTo>
                  <a:cubicBezTo>
                    <a:pt x="8495" y="4809"/>
                    <a:pt x="5372" y="5996"/>
                    <a:pt x="5184" y="8557"/>
                  </a:cubicBezTo>
                  <a:cubicBezTo>
                    <a:pt x="4122" y="9619"/>
                    <a:pt x="4497" y="11743"/>
                    <a:pt x="2124" y="11743"/>
                  </a:cubicBezTo>
                  <a:cubicBezTo>
                    <a:pt x="1437" y="10743"/>
                    <a:pt x="687" y="9806"/>
                    <a:pt x="0" y="8807"/>
                  </a:cubicBezTo>
                  <a:cubicBezTo>
                    <a:pt x="687" y="7808"/>
                    <a:pt x="1374" y="6808"/>
                    <a:pt x="2061" y="5871"/>
                  </a:cubicBezTo>
                  <a:cubicBezTo>
                    <a:pt x="5497" y="4934"/>
                    <a:pt x="2186" y="999"/>
                    <a:pt x="5309" y="0"/>
                  </a:cubicBezTo>
                  <a:close/>
                </a:path>
              </a:pathLst>
            </a:custGeom>
            <a:grpFill/>
            <a:ln w="6246" cap="flat">
              <a:noFill/>
              <a:prstDash val="solid"/>
              <a:miter/>
            </a:ln>
          </p:spPr>
          <p:txBody>
            <a:bodyPr rtlCol="0" anchor="ctr"/>
            <a:lstStyle/>
            <a:p>
              <a:endParaRPr lang="fr-FR" sz="2400"/>
            </a:p>
          </p:txBody>
        </p:sp>
        <p:sp>
          <p:nvSpPr>
            <p:cNvPr id="501" name="Freeform: Shape 500">
              <a:extLst>
                <a:ext uri="{FF2B5EF4-FFF2-40B4-BE49-F238E27FC236}">
                  <a16:creationId xmlns:a16="http://schemas.microsoft.com/office/drawing/2014/main" id="{4A7A48D7-04FD-4F36-A7FB-292E4E153DBF}"/>
                </a:ext>
              </a:extLst>
            </p:cNvPr>
            <p:cNvSpPr/>
            <p:nvPr/>
          </p:nvSpPr>
          <p:spPr>
            <a:xfrm>
              <a:off x="1126820" y="479072"/>
              <a:ext cx="6246" cy="6246"/>
            </a:xfrm>
            <a:custGeom>
              <a:avLst/>
              <a:gdLst>
                <a:gd name="connsiteX0" fmla="*/ 250 w 0"/>
                <a:gd name="connsiteY0" fmla="*/ 3186 h 0"/>
                <a:gd name="connsiteX1" fmla="*/ 3310 w 0"/>
                <a:gd name="connsiteY1" fmla="*/ 0 h 0"/>
                <a:gd name="connsiteX2" fmla="*/ 3435 w 0"/>
                <a:gd name="connsiteY2" fmla="*/ 3061 h 0"/>
                <a:gd name="connsiteX3" fmla="*/ 2373 w 0"/>
                <a:gd name="connsiteY3" fmla="*/ 3997 h 0"/>
                <a:gd name="connsiteX4" fmla="*/ 0 w 0"/>
                <a:gd name="connsiteY4" fmla="*/ 5871 h 0"/>
                <a:gd name="connsiteX5" fmla="*/ 250 w 0"/>
                <a:gd name="connsiteY5" fmla="*/ 318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0" y="3186"/>
                  </a:moveTo>
                  <a:cubicBezTo>
                    <a:pt x="1249" y="2124"/>
                    <a:pt x="2311" y="1062"/>
                    <a:pt x="3310" y="0"/>
                  </a:cubicBezTo>
                  <a:cubicBezTo>
                    <a:pt x="3810" y="999"/>
                    <a:pt x="2311" y="2061"/>
                    <a:pt x="3435" y="3061"/>
                  </a:cubicBezTo>
                  <a:cubicBezTo>
                    <a:pt x="3061" y="3373"/>
                    <a:pt x="2748" y="3685"/>
                    <a:pt x="2373" y="3997"/>
                  </a:cubicBezTo>
                  <a:cubicBezTo>
                    <a:pt x="1562" y="4622"/>
                    <a:pt x="749" y="5247"/>
                    <a:pt x="0" y="5871"/>
                  </a:cubicBezTo>
                  <a:cubicBezTo>
                    <a:pt x="125" y="4997"/>
                    <a:pt x="187" y="4122"/>
                    <a:pt x="250" y="3186"/>
                  </a:cubicBezTo>
                  <a:close/>
                </a:path>
              </a:pathLst>
            </a:custGeom>
            <a:grpFill/>
            <a:ln w="6246" cap="flat">
              <a:noFill/>
              <a:prstDash val="solid"/>
              <a:miter/>
            </a:ln>
          </p:spPr>
          <p:txBody>
            <a:bodyPr rtlCol="0" anchor="ctr"/>
            <a:lstStyle/>
            <a:p>
              <a:endParaRPr lang="fr-FR" sz="2400"/>
            </a:p>
          </p:txBody>
        </p:sp>
        <p:sp>
          <p:nvSpPr>
            <p:cNvPr id="502" name="Freeform: Shape 501">
              <a:extLst>
                <a:ext uri="{FF2B5EF4-FFF2-40B4-BE49-F238E27FC236}">
                  <a16:creationId xmlns:a16="http://schemas.microsoft.com/office/drawing/2014/main" id="{F3905A57-8159-4E92-B3AB-A8C6673793B6}"/>
                </a:ext>
              </a:extLst>
            </p:cNvPr>
            <p:cNvSpPr/>
            <p:nvPr/>
          </p:nvSpPr>
          <p:spPr>
            <a:xfrm>
              <a:off x="1117500" y="490003"/>
              <a:ext cx="6246" cy="6246"/>
            </a:xfrm>
            <a:custGeom>
              <a:avLst/>
              <a:gdLst>
                <a:gd name="connsiteX0" fmla="*/ 3136 w 0"/>
                <a:gd name="connsiteY0" fmla="*/ 3748 h 0"/>
                <a:gd name="connsiteX1" fmla="*/ 1075 w 0"/>
                <a:gd name="connsiteY1" fmla="*/ 4934 h 0"/>
                <a:gd name="connsiteX2" fmla="*/ 13 w 0"/>
                <a:gd name="connsiteY2" fmla="*/ 2873 h 0"/>
                <a:gd name="connsiteX3" fmla="*/ 1075 w 0"/>
                <a:gd name="connsiteY3" fmla="*/ 0 h 0"/>
                <a:gd name="connsiteX4" fmla="*/ 3074 w 0"/>
                <a:gd name="connsiteY4" fmla="*/ 2811 h 0"/>
                <a:gd name="connsiteX5" fmla="*/ 3136 w 0"/>
                <a:gd name="connsiteY5" fmla="*/ 374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3136" y="3748"/>
                  </a:moveTo>
                  <a:cubicBezTo>
                    <a:pt x="2449" y="4122"/>
                    <a:pt x="1762" y="4497"/>
                    <a:pt x="1075" y="4934"/>
                  </a:cubicBezTo>
                  <a:cubicBezTo>
                    <a:pt x="76" y="4497"/>
                    <a:pt x="-49" y="3748"/>
                    <a:pt x="13" y="2873"/>
                  </a:cubicBezTo>
                  <a:cubicBezTo>
                    <a:pt x="388" y="1936"/>
                    <a:pt x="763" y="937"/>
                    <a:pt x="1075" y="0"/>
                  </a:cubicBezTo>
                  <a:cubicBezTo>
                    <a:pt x="1762" y="937"/>
                    <a:pt x="2387" y="1874"/>
                    <a:pt x="3074" y="2811"/>
                  </a:cubicBezTo>
                  <a:cubicBezTo>
                    <a:pt x="3136" y="3123"/>
                    <a:pt x="3136" y="3435"/>
                    <a:pt x="3136" y="3748"/>
                  </a:cubicBezTo>
                  <a:close/>
                </a:path>
              </a:pathLst>
            </a:custGeom>
            <a:grpFill/>
            <a:ln w="6246" cap="flat">
              <a:noFill/>
              <a:prstDash val="solid"/>
              <a:miter/>
            </a:ln>
          </p:spPr>
          <p:txBody>
            <a:bodyPr rtlCol="0" anchor="ctr"/>
            <a:lstStyle/>
            <a:p>
              <a:endParaRPr lang="fr-FR" sz="2400"/>
            </a:p>
          </p:txBody>
        </p:sp>
        <p:sp>
          <p:nvSpPr>
            <p:cNvPr id="503" name="Freeform: Shape 502">
              <a:extLst>
                <a:ext uri="{FF2B5EF4-FFF2-40B4-BE49-F238E27FC236}">
                  <a16:creationId xmlns:a16="http://schemas.microsoft.com/office/drawing/2014/main" id="{9EF26017-6135-4CC8-8315-C277CE7F74FE}"/>
                </a:ext>
              </a:extLst>
            </p:cNvPr>
            <p:cNvSpPr/>
            <p:nvPr/>
          </p:nvSpPr>
          <p:spPr>
            <a:xfrm>
              <a:off x="1116202" y="492876"/>
              <a:ext cx="6246" cy="6246"/>
            </a:xfrm>
            <a:custGeom>
              <a:avLst/>
              <a:gdLst>
                <a:gd name="connsiteX0" fmla="*/ 1312 w 0"/>
                <a:gd name="connsiteY0" fmla="*/ 0 h 0"/>
                <a:gd name="connsiteX1" fmla="*/ 2374 w 0"/>
                <a:gd name="connsiteY1" fmla="*/ 2061 h 0"/>
                <a:gd name="connsiteX2" fmla="*/ 1312 w 0"/>
                <a:gd name="connsiteY2" fmla="*/ 3873 h 0"/>
                <a:gd name="connsiteX3" fmla="*/ 125 w 0"/>
                <a:gd name="connsiteY3" fmla="*/ 3810 h 0"/>
                <a:gd name="connsiteX4" fmla="*/ 0 w 0"/>
                <a:gd name="connsiteY4" fmla="*/ 1811 h 0"/>
                <a:gd name="connsiteX5" fmla="*/ 1312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1312" y="0"/>
                  </a:moveTo>
                  <a:cubicBezTo>
                    <a:pt x="1686" y="687"/>
                    <a:pt x="1999" y="1374"/>
                    <a:pt x="2374" y="2061"/>
                  </a:cubicBezTo>
                  <a:cubicBezTo>
                    <a:pt x="1999" y="2686"/>
                    <a:pt x="1686" y="3248"/>
                    <a:pt x="1312" y="3873"/>
                  </a:cubicBezTo>
                  <a:cubicBezTo>
                    <a:pt x="875" y="4185"/>
                    <a:pt x="500" y="4185"/>
                    <a:pt x="125" y="3810"/>
                  </a:cubicBezTo>
                  <a:cubicBezTo>
                    <a:pt x="63" y="3123"/>
                    <a:pt x="63" y="2498"/>
                    <a:pt x="0" y="1811"/>
                  </a:cubicBezTo>
                  <a:cubicBezTo>
                    <a:pt x="500" y="1187"/>
                    <a:pt x="875" y="562"/>
                    <a:pt x="1312" y="0"/>
                  </a:cubicBezTo>
                  <a:close/>
                </a:path>
              </a:pathLst>
            </a:custGeom>
            <a:grpFill/>
            <a:ln w="6246" cap="flat">
              <a:noFill/>
              <a:prstDash val="solid"/>
              <a:miter/>
            </a:ln>
          </p:spPr>
          <p:txBody>
            <a:bodyPr rtlCol="0" anchor="ctr"/>
            <a:lstStyle/>
            <a:p>
              <a:endParaRPr lang="fr-FR" sz="2400"/>
            </a:p>
          </p:txBody>
        </p:sp>
        <p:sp>
          <p:nvSpPr>
            <p:cNvPr id="504" name="Freeform: Shape 503">
              <a:extLst>
                <a:ext uri="{FF2B5EF4-FFF2-40B4-BE49-F238E27FC236}">
                  <a16:creationId xmlns:a16="http://schemas.microsoft.com/office/drawing/2014/main" id="{5FCF0940-4041-40A1-BC28-D22C388CAE4C}"/>
                </a:ext>
              </a:extLst>
            </p:cNvPr>
            <p:cNvSpPr/>
            <p:nvPr/>
          </p:nvSpPr>
          <p:spPr>
            <a:xfrm>
              <a:off x="1130233" y="470254"/>
              <a:ext cx="6246" cy="6246"/>
            </a:xfrm>
            <a:custGeom>
              <a:avLst/>
              <a:gdLst>
                <a:gd name="connsiteX0" fmla="*/ 3209 w 0"/>
                <a:gd name="connsiteY0" fmla="*/ 1260 h 0"/>
                <a:gd name="connsiteX1" fmla="*/ 648 w 0"/>
                <a:gd name="connsiteY1" fmla="*/ 3384 h 0"/>
                <a:gd name="connsiteX2" fmla="*/ 23 w 0"/>
                <a:gd name="connsiteY2" fmla="*/ 1322 h 0"/>
                <a:gd name="connsiteX3" fmla="*/ 3209 w 0"/>
                <a:gd name="connsiteY3" fmla="*/ 386 h 0"/>
                <a:gd name="connsiteX4" fmla="*/ 3209 w 0"/>
                <a:gd name="connsiteY4" fmla="*/ 126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209" y="1260"/>
                  </a:moveTo>
                  <a:cubicBezTo>
                    <a:pt x="2084" y="1760"/>
                    <a:pt x="2147" y="3571"/>
                    <a:pt x="648" y="3384"/>
                  </a:cubicBezTo>
                  <a:cubicBezTo>
                    <a:pt x="-289" y="3259"/>
                    <a:pt x="86" y="2072"/>
                    <a:pt x="23" y="1322"/>
                  </a:cubicBezTo>
                  <a:cubicBezTo>
                    <a:pt x="1210" y="1322"/>
                    <a:pt x="1585" y="-864"/>
                    <a:pt x="3209" y="386"/>
                  </a:cubicBezTo>
                  <a:cubicBezTo>
                    <a:pt x="3271" y="635"/>
                    <a:pt x="3209" y="948"/>
                    <a:pt x="3209" y="1260"/>
                  </a:cubicBezTo>
                  <a:close/>
                </a:path>
              </a:pathLst>
            </a:custGeom>
            <a:grpFill/>
            <a:ln w="6246" cap="flat">
              <a:noFill/>
              <a:prstDash val="solid"/>
              <a:miter/>
            </a:ln>
          </p:spPr>
          <p:txBody>
            <a:bodyPr rtlCol="0" anchor="ctr"/>
            <a:lstStyle/>
            <a:p>
              <a:endParaRPr lang="fr-FR" sz="2400"/>
            </a:p>
          </p:txBody>
        </p:sp>
        <p:sp>
          <p:nvSpPr>
            <p:cNvPr id="505" name="Freeform: Shape 504">
              <a:extLst>
                <a:ext uri="{FF2B5EF4-FFF2-40B4-BE49-F238E27FC236}">
                  <a16:creationId xmlns:a16="http://schemas.microsoft.com/office/drawing/2014/main" id="{C768787B-4077-426E-8749-1B069AF68E0F}"/>
                </a:ext>
              </a:extLst>
            </p:cNvPr>
            <p:cNvSpPr/>
            <p:nvPr/>
          </p:nvSpPr>
          <p:spPr>
            <a:xfrm>
              <a:off x="1107258" y="522670"/>
              <a:ext cx="6246" cy="12492"/>
            </a:xfrm>
            <a:custGeom>
              <a:avLst/>
              <a:gdLst>
                <a:gd name="connsiteX0" fmla="*/ 4822 w 0"/>
                <a:gd name="connsiteY0" fmla="*/ 1062 h 12492"/>
                <a:gd name="connsiteX1" fmla="*/ 3697 w 0"/>
                <a:gd name="connsiteY1" fmla="*/ 14553 h 12492"/>
                <a:gd name="connsiteX2" fmla="*/ 1636 w 0"/>
                <a:gd name="connsiteY2" fmla="*/ 12617 h 12492"/>
                <a:gd name="connsiteX3" fmla="*/ 1511 w 0"/>
                <a:gd name="connsiteY3" fmla="*/ 8745 h 12492"/>
                <a:gd name="connsiteX4" fmla="*/ 1636 w 0"/>
                <a:gd name="connsiteY4" fmla="*/ 0 h 12492"/>
                <a:gd name="connsiteX5" fmla="*/ 2635 w 0"/>
                <a:gd name="connsiteY5" fmla="*/ 62 h 12492"/>
                <a:gd name="connsiteX6" fmla="*/ 3260 w 0"/>
                <a:gd name="connsiteY6" fmla="*/ 1999 h 12492"/>
                <a:gd name="connsiteX7" fmla="*/ 4822 w 0"/>
                <a:gd name="connsiteY7"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h="12492">
                  <a:moveTo>
                    <a:pt x="4822" y="1062"/>
                  </a:moveTo>
                  <a:cubicBezTo>
                    <a:pt x="5384" y="5621"/>
                    <a:pt x="3885" y="10056"/>
                    <a:pt x="3697" y="14553"/>
                  </a:cubicBezTo>
                  <a:cubicBezTo>
                    <a:pt x="1636" y="15115"/>
                    <a:pt x="2510" y="13117"/>
                    <a:pt x="1636" y="12617"/>
                  </a:cubicBezTo>
                  <a:cubicBezTo>
                    <a:pt x="1574" y="11305"/>
                    <a:pt x="1574" y="10056"/>
                    <a:pt x="1511" y="8745"/>
                  </a:cubicBezTo>
                  <a:cubicBezTo>
                    <a:pt x="-675" y="5809"/>
                    <a:pt x="-363" y="2873"/>
                    <a:pt x="1636" y="0"/>
                  </a:cubicBezTo>
                  <a:cubicBezTo>
                    <a:pt x="1948" y="0"/>
                    <a:pt x="2261" y="0"/>
                    <a:pt x="2635" y="62"/>
                  </a:cubicBezTo>
                  <a:cubicBezTo>
                    <a:pt x="2823" y="750"/>
                    <a:pt x="2261" y="1749"/>
                    <a:pt x="3260" y="1999"/>
                  </a:cubicBezTo>
                  <a:cubicBezTo>
                    <a:pt x="3635" y="2186"/>
                    <a:pt x="4322" y="1437"/>
                    <a:pt x="4822" y="1062"/>
                  </a:cubicBezTo>
                  <a:close/>
                </a:path>
              </a:pathLst>
            </a:custGeom>
            <a:grpFill/>
            <a:ln w="6246" cap="flat">
              <a:noFill/>
              <a:prstDash val="solid"/>
              <a:miter/>
            </a:ln>
          </p:spPr>
          <p:txBody>
            <a:bodyPr rtlCol="0" anchor="ctr"/>
            <a:lstStyle/>
            <a:p>
              <a:endParaRPr lang="fr-FR" sz="2400"/>
            </a:p>
          </p:txBody>
        </p:sp>
        <p:sp>
          <p:nvSpPr>
            <p:cNvPr id="506" name="Freeform: Shape 505">
              <a:extLst>
                <a:ext uri="{FF2B5EF4-FFF2-40B4-BE49-F238E27FC236}">
                  <a16:creationId xmlns:a16="http://schemas.microsoft.com/office/drawing/2014/main" id="{6DAE6D27-CAE0-4CAB-B813-CE8D8EB61BF1}"/>
                </a:ext>
              </a:extLst>
            </p:cNvPr>
            <p:cNvSpPr/>
            <p:nvPr/>
          </p:nvSpPr>
          <p:spPr>
            <a:xfrm>
              <a:off x="1105318" y="520921"/>
              <a:ext cx="6246" cy="6246"/>
            </a:xfrm>
            <a:custGeom>
              <a:avLst/>
              <a:gdLst>
                <a:gd name="connsiteX0" fmla="*/ 3639 w 0"/>
                <a:gd name="connsiteY0" fmla="*/ 1811 h 6246"/>
                <a:gd name="connsiteX1" fmla="*/ 3514 w 0"/>
                <a:gd name="connsiteY1" fmla="*/ 10556 h 6246"/>
                <a:gd name="connsiteX2" fmla="*/ 1453 w 0"/>
                <a:gd name="connsiteY2" fmla="*/ 10556 h 6246"/>
                <a:gd name="connsiteX3" fmla="*/ 329 w 0"/>
                <a:gd name="connsiteY3" fmla="*/ 9244 h 6246"/>
                <a:gd name="connsiteX4" fmla="*/ 1390 w 0"/>
                <a:gd name="connsiteY4" fmla="*/ 3685 h 6246"/>
                <a:gd name="connsiteX5" fmla="*/ 1515 w 0"/>
                <a:gd name="connsiteY5" fmla="*/ 0 h 6246"/>
                <a:gd name="connsiteX6" fmla="*/ 3639 w 0"/>
                <a:gd name="connsiteY6" fmla="*/ 1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639" y="1811"/>
                  </a:moveTo>
                  <a:cubicBezTo>
                    <a:pt x="3576" y="4747"/>
                    <a:pt x="3576" y="7620"/>
                    <a:pt x="3514" y="10556"/>
                  </a:cubicBezTo>
                  <a:cubicBezTo>
                    <a:pt x="2827" y="10556"/>
                    <a:pt x="2140" y="10556"/>
                    <a:pt x="1453" y="10556"/>
                  </a:cubicBezTo>
                  <a:cubicBezTo>
                    <a:pt x="953" y="10181"/>
                    <a:pt x="578" y="9744"/>
                    <a:pt x="329" y="9244"/>
                  </a:cubicBezTo>
                  <a:cubicBezTo>
                    <a:pt x="-171" y="7245"/>
                    <a:pt x="-296" y="5372"/>
                    <a:pt x="1390" y="3685"/>
                  </a:cubicBezTo>
                  <a:cubicBezTo>
                    <a:pt x="1453" y="2436"/>
                    <a:pt x="1515" y="1249"/>
                    <a:pt x="1515" y="0"/>
                  </a:cubicBezTo>
                  <a:cubicBezTo>
                    <a:pt x="2889" y="0"/>
                    <a:pt x="3452" y="687"/>
                    <a:pt x="3639" y="1811"/>
                  </a:cubicBezTo>
                  <a:close/>
                </a:path>
              </a:pathLst>
            </a:custGeom>
            <a:grpFill/>
            <a:ln w="6246" cap="flat">
              <a:noFill/>
              <a:prstDash val="solid"/>
              <a:miter/>
            </a:ln>
          </p:spPr>
          <p:txBody>
            <a:bodyPr rtlCol="0" anchor="ctr"/>
            <a:lstStyle/>
            <a:p>
              <a:endParaRPr lang="fr-FR" sz="2400"/>
            </a:p>
          </p:txBody>
        </p:sp>
        <p:sp>
          <p:nvSpPr>
            <p:cNvPr id="507" name="Freeform: Shape 506">
              <a:extLst>
                <a:ext uri="{FF2B5EF4-FFF2-40B4-BE49-F238E27FC236}">
                  <a16:creationId xmlns:a16="http://schemas.microsoft.com/office/drawing/2014/main" id="{25E44ED3-66AA-44CF-802C-1E92C51AB1E9}"/>
                </a:ext>
              </a:extLst>
            </p:cNvPr>
            <p:cNvSpPr/>
            <p:nvPr/>
          </p:nvSpPr>
          <p:spPr>
            <a:xfrm>
              <a:off x="1103148" y="522670"/>
              <a:ext cx="6246" cy="6246"/>
            </a:xfrm>
            <a:custGeom>
              <a:avLst/>
              <a:gdLst>
                <a:gd name="connsiteX0" fmla="*/ 3498 w 0"/>
                <a:gd name="connsiteY0" fmla="*/ 1936 h 6246"/>
                <a:gd name="connsiteX1" fmla="*/ 3560 w 0"/>
                <a:gd name="connsiteY1" fmla="*/ 7808 h 6246"/>
                <a:gd name="connsiteX2" fmla="*/ 812 w 0"/>
                <a:gd name="connsiteY2" fmla="*/ 6496 h 6246"/>
                <a:gd name="connsiteX3" fmla="*/ 0 w 0"/>
                <a:gd name="connsiteY3" fmla="*/ 4747 h 6246"/>
                <a:gd name="connsiteX4" fmla="*/ 1437 w 0"/>
                <a:gd name="connsiteY4" fmla="*/ 1999 h 6246"/>
                <a:gd name="connsiteX5" fmla="*/ 1499 w 0"/>
                <a:gd name="connsiteY5" fmla="*/ 0 h 6246"/>
                <a:gd name="connsiteX6" fmla="*/ 3498 w 0"/>
                <a:gd name="connsiteY6" fmla="*/ 193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3498" y="1936"/>
                  </a:moveTo>
                  <a:cubicBezTo>
                    <a:pt x="3498" y="3873"/>
                    <a:pt x="3498" y="5871"/>
                    <a:pt x="3560" y="7808"/>
                  </a:cubicBezTo>
                  <a:cubicBezTo>
                    <a:pt x="2061" y="8432"/>
                    <a:pt x="1562" y="7183"/>
                    <a:pt x="812" y="6496"/>
                  </a:cubicBezTo>
                  <a:cubicBezTo>
                    <a:pt x="437" y="5934"/>
                    <a:pt x="250" y="5372"/>
                    <a:pt x="0" y="4747"/>
                  </a:cubicBezTo>
                  <a:cubicBezTo>
                    <a:pt x="125" y="3685"/>
                    <a:pt x="750" y="2873"/>
                    <a:pt x="1437" y="1999"/>
                  </a:cubicBezTo>
                  <a:cubicBezTo>
                    <a:pt x="1437" y="1312"/>
                    <a:pt x="1437" y="687"/>
                    <a:pt x="1499" y="0"/>
                  </a:cubicBezTo>
                  <a:cubicBezTo>
                    <a:pt x="2186" y="687"/>
                    <a:pt x="2873" y="1312"/>
                    <a:pt x="3498" y="1936"/>
                  </a:cubicBezTo>
                  <a:close/>
                </a:path>
              </a:pathLst>
            </a:custGeom>
            <a:grpFill/>
            <a:ln w="6246" cap="flat">
              <a:noFill/>
              <a:prstDash val="solid"/>
              <a:miter/>
            </a:ln>
          </p:spPr>
          <p:txBody>
            <a:bodyPr rtlCol="0" anchor="ctr"/>
            <a:lstStyle/>
            <a:p>
              <a:endParaRPr lang="fr-FR" sz="2400"/>
            </a:p>
          </p:txBody>
        </p:sp>
        <p:sp>
          <p:nvSpPr>
            <p:cNvPr id="508" name="Freeform: Shape 507">
              <a:extLst>
                <a:ext uri="{FF2B5EF4-FFF2-40B4-BE49-F238E27FC236}">
                  <a16:creationId xmlns:a16="http://schemas.microsoft.com/office/drawing/2014/main" id="{94A6875E-D976-46D2-B377-D6399EBB5D72}"/>
                </a:ext>
              </a:extLst>
            </p:cNvPr>
            <p:cNvSpPr/>
            <p:nvPr/>
          </p:nvSpPr>
          <p:spPr>
            <a:xfrm>
              <a:off x="1102398" y="524731"/>
              <a:ext cx="6246" cy="6246"/>
            </a:xfrm>
            <a:custGeom>
              <a:avLst/>
              <a:gdLst>
                <a:gd name="connsiteX0" fmla="*/ 2186 w 0"/>
                <a:gd name="connsiteY0" fmla="*/ 0 h 0"/>
                <a:gd name="connsiteX1" fmla="*/ 1124 w 0"/>
                <a:gd name="connsiteY1" fmla="*/ 2873 h 0"/>
                <a:gd name="connsiteX2" fmla="*/ 62 w 0"/>
                <a:gd name="connsiteY2" fmla="*/ 3810 h 0"/>
                <a:gd name="connsiteX3" fmla="*/ 0 w 0"/>
                <a:gd name="connsiteY3" fmla="*/ 937 h 0"/>
                <a:gd name="connsiteX4" fmla="*/ 2186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86" y="0"/>
                  </a:moveTo>
                  <a:cubicBezTo>
                    <a:pt x="1811" y="937"/>
                    <a:pt x="1499" y="1936"/>
                    <a:pt x="1124" y="2873"/>
                  </a:cubicBezTo>
                  <a:cubicBezTo>
                    <a:pt x="1562" y="3873"/>
                    <a:pt x="999" y="4060"/>
                    <a:pt x="62" y="3810"/>
                  </a:cubicBezTo>
                  <a:cubicBezTo>
                    <a:pt x="62" y="2873"/>
                    <a:pt x="62" y="1874"/>
                    <a:pt x="0" y="937"/>
                  </a:cubicBezTo>
                  <a:cubicBezTo>
                    <a:pt x="749" y="625"/>
                    <a:pt x="1437" y="312"/>
                    <a:pt x="2186" y="0"/>
                  </a:cubicBezTo>
                  <a:close/>
                </a:path>
              </a:pathLst>
            </a:custGeom>
            <a:grpFill/>
            <a:ln w="6246" cap="flat">
              <a:noFill/>
              <a:prstDash val="solid"/>
              <a:miter/>
            </a:ln>
          </p:spPr>
          <p:txBody>
            <a:bodyPr rtlCol="0" anchor="ctr"/>
            <a:lstStyle/>
            <a:p>
              <a:endParaRPr lang="fr-FR" sz="2400"/>
            </a:p>
          </p:txBody>
        </p:sp>
        <p:sp>
          <p:nvSpPr>
            <p:cNvPr id="509" name="Freeform: Shape 508">
              <a:extLst>
                <a:ext uri="{FF2B5EF4-FFF2-40B4-BE49-F238E27FC236}">
                  <a16:creationId xmlns:a16="http://schemas.microsoft.com/office/drawing/2014/main" id="{07481100-8424-455C-BE68-D9A724D8DEB7}"/>
                </a:ext>
              </a:extLst>
            </p:cNvPr>
            <p:cNvSpPr/>
            <p:nvPr/>
          </p:nvSpPr>
          <p:spPr>
            <a:xfrm>
              <a:off x="1102456" y="527604"/>
              <a:ext cx="6246" cy="6246"/>
            </a:xfrm>
            <a:custGeom>
              <a:avLst/>
              <a:gdLst>
                <a:gd name="connsiteX0" fmla="*/ 4 w 0"/>
                <a:gd name="connsiteY0" fmla="*/ 937 h 6246"/>
                <a:gd name="connsiteX1" fmla="*/ 1066 w 0"/>
                <a:gd name="connsiteY1" fmla="*/ 0 h 6246"/>
                <a:gd name="connsiteX2" fmla="*/ 2128 w 0"/>
                <a:gd name="connsiteY2" fmla="*/ 937 h 6246"/>
                <a:gd name="connsiteX3" fmla="*/ 4252 w 0"/>
                <a:gd name="connsiteY3" fmla="*/ 4809 h 6246"/>
                <a:gd name="connsiteX4" fmla="*/ 3440 w 0"/>
                <a:gd name="connsiteY4" fmla="*/ 10181 h 6246"/>
                <a:gd name="connsiteX5" fmla="*/ 1066 w 0"/>
                <a:gd name="connsiteY5" fmla="*/ 4809 h 6246"/>
                <a:gd name="connsiteX6" fmla="*/ 4 w 0"/>
                <a:gd name="connsiteY6" fmla="*/ 937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4" y="937"/>
                  </a:moveTo>
                  <a:cubicBezTo>
                    <a:pt x="379" y="625"/>
                    <a:pt x="691" y="312"/>
                    <a:pt x="1066" y="0"/>
                  </a:cubicBezTo>
                  <a:cubicBezTo>
                    <a:pt x="1441" y="312"/>
                    <a:pt x="1816" y="625"/>
                    <a:pt x="2128" y="937"/>
                  </a:cubicBezTo>
                  <a:cubicBezTo>
                    <a:pt x="2878" y="2186"/>
                    <a:pt x="3065" y="3748"/>
                    <a:pt x="4252" y="4809"/>
                  </a:cubicBezTo>
                  <a:cubicBezTo>
                    <a:pt x="4064" y="6496"/>
                    <a:pt x="4751" y="8307"/>
                    <a:pt x="3440" y="10181"/>
                  </a:cubicBezTo>
                  <a:cubicBezTo>
                    <a:pt x="1004" y="8932"/>
                    <a:pt x="3127" y="5996"/>
                    <a:pt x="1066" y="4809"/>
                  </a:cubicBezTo>
                  <a:cubicBezTo>
                    <a:pt x="-433" y="3810"/>
                    <a:pt x="129" y="2311"/>
                    <a:pt x="4" y="937"/>
                  </a:cubicBezTo>
                  <a:close/>
                </a:path>
              </a:pathLst>
            </a:custGeom>
            <a:grpFill/>
            <a:ln w="6246" cap="flat">
              <a:noFill/>
              <a:prstDash val="solid"/>
              <a:miter/>
            </a:ln>
          </p:spPr>
          <p:txBody>
            <a:bodyPr rtlCol="0" anchor="ctr"/>
            <a:lstStyle/>
            <a:p>
              <a:endParaRPr lang="fr-FR" sz="2400"/>
            </a:p>
          </p:txBody>
        </p:sp>
        <p:sp>
          <p:nvSpPr>
            <p:cNvPr id="510" name="Freeform: Shape 509">
              <a:extLst>
                <a:ext uri="{FF2B5EF4-FFF2-40B4-BE49-F238E27FC236}">
                  <a16:creationId xmlns:a16="http://schemas.microsoft.com/office/drawing/2014/main" id="{BC34E7F2-EC0D-4689-9A0B-ECEE35808231}"/>
                </a:ext>
              </a:extLst>
            </p:cNvPr>
            <p:cNvSpPr/>
            <p:nvPr/>
          </p:nvSpPr>
          <p:spPr>
            <a:xfrm>
              <a:off x="1111143" y="500434"/>
              <a:ext cx="6246" cy="6246"/>
            </a:xfrm>
            <a:custGeom>
              <a:avLst/>
              <a:gdLst>
                <a:gd name="connsiteX0" fmla="*/ 4185 w 0"/>
                <a:gd name="connsiteY0" fmla="*/ 2061 h 0"/>
                <a:gd name="connsiteX1" fmla="*/ 3061 w 0"/>
                <a:gd name="connsiteY1" fmla="*/ 3997 h 0"/>
                <a:gd name="connsiteX2" fmla="*/ 999 w 0"/>
                <a:gd name="connsiteY2" fmla="*/ 4997 h 0"/>
                <a:gd name="connsiteX3" fmla="*/ 0 w 0"/>
                <a:gd name="connsiteY3" fmla="*/ 4060 h 0"/>
                <a:gd name="connsiteX4" fmla="*/ 0 w 0"/>
                <a:gd name="connsiteY4" fmla="*/ 2186 h 0"/>
                <a:gd name="connsiteX5" fmla="*/ 1999 w 0"/>
                <a:gd name="connsiteY5" fmla="*/ 0 h 0"/>
                <a:gd name="connsiteX6" fmla="*/ 4185 w 0"/>
                <a:gd name="connsiteY6" fmla="*/ 2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4185" y="2061"/>
                  </a:moveTo>
                  <a:cubicBezTo>
                    <a:pt x="3810" y="2686"/>
                    <a:pt x="3435" y="3373"/>
                    <a:pt x="3061" y="3997"/>
                  </a:cubicBezTo>
                  <a:cubicBezTo>
                    <a:pt x="2498" y="4560"/>
                    <a:pt x="2186" y="5497"/>
                    <a:pt x="999" y="4997"/>
                  </a:cubicBezTo>
                  <a:cubicBezTo>
                    <a:pt x="687" y="4685"/>
                    <a:pt x="312" y="4372"/>
                    <a:pt x="0" y="4060"/>
                  </a:cubicBezTo>
                  <a:cubicBezTo>
                    <a:pt x="0" y="3435"/>
                    <a:pt x="0" y="2811"/>
                    <a:pt x="0" y="2186"/>
                  </a:cubicBezTo>
                  <a:cubicBezTo>
                    <a:pt x="687" y="1437"/>
                    <a:pt x="1312" y="687"/>
                    <a:pt x="1999" y="0"/>
                  </a:cubicBezTo>
                  <a:cubicBezTo>
                    <a:pt x="3123" y="250"/>
                    <a:pt x="3310" y="1437"/>
                    <a:pt x="4185" y="2061"/>
                  </a:cubicBezTo>
                  <a:close/>
                </a:path>
              </a:pathLst>
            </a:custGeom>
            <a:grpFill/>
            <a:ln w="6246" cap="flat">
              <a:noFill/>
              <a:prstDash val="solid"/>
              <a:miter/>
            </a:ln>
          </p:spPr>
          <p:txBody>
            <a:bodyPr rtlCol="0" anchor="ctr"/>
            <a:lstStyle/>
            <a:p>
              <a:endParaRPr lang="fr-FR" sz="2400"/>
            </a:p>
          </p:txBody>
        </p:sp>
        <p:sp>
          <p:nvSpPr>
            <p:cNvPr id="511" name="Freeform: Shape 510">
              <a:extLst>
                <a:ext uri="{FF2B5EF4-FFF2-40B4-BE49-F238E27FC236}">
                  <a16:creationId xmlns:a16="http://schemas.microsoft.com/office/drawing/2014/main" id="{ABCACDD0-3D9E-4709-A58E-B86A06E19EC8}"/>
                </a:ext>
              </a:extLst>
            </p:cNvPr>
            <p:cNvSpPr/>
            <p:nvPr/>
          </p:nvSpPr>
          <p:spPr>
            <a:xfrm>
              <a:off x="1113079" y="499622"/>
              <a:ext cx="6246" cy="6246"/>
            </a:xfrm>
            <a:custGeom>
              <a:avLst/>
              <a:gdLst>
                <a:gd name="connsiteX0" fmla="*/ 2249 w 0"/>
                <a:gd name="connsiteY0" fmla="*/ 2873 h 0"/>
                <a:gd name="connsiteX1" fmla="*/ 0 w 0"/>
                <a:gd name="connsiteY1" fmla="*/ 812 h 0"/>
                <a:gd name="connsiteX2" fmla="*/ 125 w 0"/>
                <a:gd name="connsiteY2" fmla="*/ 0 h 0"/>
                <a:gd name="connsiteX3" fmla="*/ 2186 w 0"/>
                <a:gd name="connsiteY3" fmla="*/ 0 h 0"/>
                <a:gd name="connsiteX4" fmla="*/ 2249 w 0"/>
                <a:gd name="connsiteY4" fmla="*/ 1936 h 0"/>
                <a:gd name="connsiteX5" fmla="*/ 2249 w 0"/>
                <a:gd name="connsiteY5"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249" y="2873"/>
                  </a:moveTo>
                  <a:cubicBezTo>
                    <a:pt x="812" y="2811"/>
                    <a:pt x="125" y="2061"/>
                    <a:pt x="0" y="812"/>
                  </a:cubicBezTo>
                  <a:cubicBezTo>
                    <a:pt x="0" y="562"/>
                    <a:pt x="63" y="250"/>
                    <a:pt x="125" y="0"/>
                  </a:cubicBezTo>
                  <a:cubicBezTo>
                    <a:pt x="812" y="0"/>
                    <a:pt x="1499" y="0"/>
                    <a:pt x="2186" y="0"/>
                  </a:cubicBezTo>
                  <a:cubicBezTo>
                    <a:pt x="2873" y="625"/>
                    <a:pt x="2873" y="1249"/>
                    <a:pt x="2249" y="1936"/>
                  </a:cubicBezTo>
                  <a:cubicBezTo>
                    <a:pt x="2249" y="2186"/>
                    <a:pt x="2249" y="2561"/>
                    <a:pt x="2249" y="2873"/>
                  </a:cubicBezTo>
                  <a:close/>
                </a:path>
              </a:pathLst>
            </a:custGeom>
            <a:grpFill/>
            <a:ln w="6246" cap="flat">
              <a:noFill/>
              <a:prstDash val="solid"/>
              <a:miter/>
            </a:ln>
          </p:spPr>
          <p:txBody>
            <a:bodyPr rtlCol="0" anchor="ctr"/>
            <a:lstStyle/>
            <a:p>
              <a:endParaRPr lang="fr-FR" sz="2400"/>
            </a:p>
          </p:txBody>
        </p:sp>
        <p:sp>
          <p:nvSpPr>
            <p:cNvPr id="512" name="Freeform: Shape 511">
              <a:extLst>
                <a:ext uri="{FF2B5EF4-FFF2-40B4-BE49-F238E27FC236}">
                  <a16:creationId xmlns:a16="http://schemas.microsoft.com/office/drawing/2014/main" id="{615A7825-88A8-4068-8DE5-0AD9DD82E993}"/>
                </a:ext>
              </a:extLst>
            </p:cNvPr>
            <p:cNvSpPr/>
            <p:nvPr/>
          </p:nvSpPr>
          <p:spPr>
            <a:xfrm>
              <a:off x="1115203" y="496624"/>
              <a:ext cx="6246" cy="6246"/>
            </a:xfrm>
            <a:custGeom>
              <a:avLst/>
              <a:gdLst>
                <a:gd name="connsiteX0" fmla="*/ 62 w 0"/>
                <a:gd name="connsiteY0" fmla="*/ 4872 h 0"/>
                <a:gd name="connsiteX1" fmla="*/ 0 w 0"/>
                <a:gd name="connsiteY1" fmla="*/ 2936 h 0"/>
                <a:gd name="connsiteX2" fmla="*/ 1124 w 0"/>
                <a:gd name="connsiteY2" fmla="*/ 0 h 0"/>
                <a:gd name="connsiteX3" fmla="*/ 2311 w 0"/>
                <a:gd name="connsiteY3" fmla="*/ 62 h 0"/>
                <a:gd name="connsiteX4" fmla="*/ 2061 w 0"/>
                <a:gd name="connsiteY4" fmla="*/ 1874 h 0"/>
                <a:gd name="connsiteX5" fmla="*/ 62 w 0"/>
                <a:gd name="connsiteY5" fmla="*/ 487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62" y="4872"/>
                  </a:moveTo>
                  <a:cubicBezTo>
                    <a:pt x="62" y="4247"/>
                    <a:pt x="0" y="3623"/>
                    <a:pt x="0" y="2936"/>
                  </a:cubicBezTo>
                  <a:cubicBezTo>
                    <a:pt x="62" y="1874"/>
                    <a:pt x="-63" y="749"/>
                    <a:pt x="1124" y="0"/>
                  </a:cubicBezTo>
                  <a:cubicBezTo>
                    <a:pt x="1499" y="0"/>
                    <a:pt x="1936" y="62"/>
                    <a:pt x="2311" y="62"/>
                  </a:cubicBezTo>
                  <a:cubicBezTo>
                    <a:pt x="2249" y="687"/>
                    <a:pt x="2124" y="1312"/>
                    <a:pt x="2061" y="1874"/>
                  </a:cubicBezTo>
                  <a:cubicBezTo>
                    <a:pt x="1374" y="2936"/>
                    <a:pt x="749" y="3873"/>
                    <a:pt x="62" y="4872"/>
                  </a:cubicBezTo>
                  <a:close/>
                </a:path>
              </a:pathLst>
            </a:custGeom>
            <a:grpFill/>
            <a:ln w="6246" cap="flat">
              <a:noFill/>
              <a:prstDash val="solid"/>
              <a:miter/>
            </a:ln>
          </p:spPr>
          <p:txBody>
            <a:bodyPr rtlCol="0" anchor="ctr"/>
            <a:lstStyle/>
            <a:p>
              <a:endParaRPr lang="fr-FR" sz="2400"/>
            </a:p>
          </p:txBody>
        </p:sp>
        <p:sp>
          <p:nvSpPr>
            <p:cNvPr id="513" name="Freeform: Shape 512">
              <a:extLst>
                <a:ext uri="{FF2B5EF4-FFF2-40B4-BE49-F238E27FC236}">
                  <a16:creationId xmlns:a16="http://schemas.microsoft.com/office/drawing/2014/main" id="{823E670D-4DE8-4973-9559-F85B34BC4A0C}"/>
                </a:ext>
              </a:extLst>
            </p:cNvPr>
            <p:cNvSpPr/>
            <p:nvPr/>
          </p:nvSpPr>
          <p:spPr>
            <a:xfrm>
              <a:off x="1102398" y="549334"/>
              <a:ext cx="6246" cy="6246"/>
            </a:xfrm>
            <a:custGeom>
              <a:avLst/>
              <a:gdLst>
                <a:gd name="connsiteX0" fmla="*/ 0 w 0"/>
                <a:gd name="connsiteY0" fmla="*/ 3442 h 0"/>
                <a:gd name="connsiteX1" fmla="*/ 2748 w 0"/>
                <a:gd name="connsiteY1" fmla="*/ 2255 h 0"/>
                <a:gd name="connsiteX2" fmla="*/ 5309 w 0"/>
                <a:gd name="connsiteY2" fmla="*/ 257 h 0"/>
                <a:gd name="connsiteX3" fmla="*/ 5934 w 0"/>
                <a:gd name="connsiteY3" fmla="*/ 2318 h 0"/>
                <a:gd name="connsiteX4" fmla="*/ 2998 w 0"/>
                <a:gd name="connsiteY4" fmla="*/ 5378 h 0"/>
                <a:gd name="connsiteX5" fmla="*/ 62 w 0"/>
                <a:gd name="connsiteY5" fmla="*/ 5378 h 0"/>
                <a:gd name="connsiteX6" fmla="*/ 0 w 0"/>
                <a:gd name="connsiteY6" fmla="*/ 3442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a:moveTo>
                    <a:pt x="0" y="3442"/>
                  </a:moveTo>
                  <a:cubicBezTo>
                    <a:pt x="1062" y="3380"/>
                    <a:pt x="1999" y="3005"/>
                    <a:pt x="2748" y="2255"/>
                  </a:cubicBezTo>
                  <a:cubicBezTo>
                    <a:pt x="3498" y="1443"/>
                    <a:pt x="2998" y="-743"/>
                    <a:pt x="5309" y="257"/>
                  </a:cubicBezTo>
                  <a:cubicBezTo>
                    <a:pt x="6121" y="631"/>
                    <a:pt x="6496" y="1568"/>
                    <a:pt x="5934" y="2318"/>
                  </a:cubicBezTo>
                  <a:cubicBezTo>
                    <a:pt x="4997" y="3442"/>
                    <a:pt x="5559" y="5878"/>
                    <a:pt x="2998" y="5378"/>
                  </a:cubicBezTo>
                  <a:cubicBezTo>
                    <a:pt x="1936" y="5191"/>
                    <a:pt x="1062" y="4941"/>
                    <a:pt x="62" y="5378"/>
                  </a:cubicBezTo>
                  <a:cubicBezTo>
                    <a:pt x="62" y="4691"/>
                    <a:pt x="0" y="4067"/>
                    <a:pt x="0" y="3442"/>
                  </a:cubicBezTo>
                  <a:close/>
                </a:path>
              </a:pathLst>
            </a:custGeom>
            <a:grpFill/>
            <a:ln w="6246" cap="flat">
              <a:noFill/>
              <a:prstDash val="solid"/>
              <a:miter/>
            </a:ln>
          </p:spPr>
          <p:txBody>
            <a:bodyPr rtlCol="0" anchor="ctr"/>
            <a:lstStyle/>
            <a:p>
              <a:endParaRPr lang="fr-FR" sz="2400"/>
            </a:p>
          </p:txBody>
        </p:sp>
        <p:sp>
          <p:nvSpPr>
            <p:cNvPr id="514" name="Freeform: Shape 513">
              <a:extLst>
                <a:ext uri="{FF2B5EF4-FFF2-40B4-BE49-F238E27FC236}">
                  <a16:creationId xmlns:a16="http://schemas.microsoft.com/office/drawing/2014/main" id="{D34854A7-D44B-4882-BC2C-F049524FB01A}"/>
                </a:ext>
              </a:extLst>
            </p:cNvPr>
            <p:cNvSpPr/>
            <p:nvPr/>
          </p:nvSpPr>
          <p:spPr>
            <a:xfrm>
              <a:off x="1111746" y="504431"/>
              <a:ext cx="6246" cy="6246"/>
            </a:xfrm>
            <a:custGeom>
              <a:avLst/>
              <a:gdLst>
                <a:gd name="connsiteX0" fmla="*/ 396 w 0"/>
                <a:gd name="connsiteY0" fmla="*/ 999 h 0"/>
                <a:gd name="connsiteX1" fmla="*/ 2457 w 0"/>
                <a:gd name="connsiteY1" fmla="*/ 0 h 0"/>
                <a:gd name="connsiteX2" fmla="*/ 1395 w 0"/>
                <a:gd name="connsiteY2" fmla="*/ 4809 h 0"/>
                <a:gd name="connsiteX3" fmla="*/ 334 w 0"/>
                <a:gd name="connsiteY3" fmla="*/ 4809 h 0"/>
                <a:gd name="connsiteX4" fmla="*/ 396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96" y="999"/>
                  </a:moveTo>
                  <a:cubicBezTo>
                    <a:pt x="1083" y="687"/>
                    <a:pt x="1770" y="312"/>
                    <a:pt x="2457" y="0"/>
                  </a:cubicBezTo>
                  <a:cubicBezTo>
                    <a:pt x="2957" y="1749"/>
                    <a:pt x="1583" y="3185"/>
                    <a:pt x="1395" y="4809"/>
                  </a:cubicBezTo>
                  <a:cubicBezTo>
                    <a:pt x="1083" y="5372"/>
                    <a:pt x="708" y="5434"/>
                    <a:pt x="334" y="4809"/>
                  </a:cubicBezTo>
                  <a:cubicBezTo>
                    <a:pt x="-603" y="3560"/>
                    <a:pt x="771" y="2249"/>
                    <a:pt x="396" y="999"/>
                  </a:cubicBezTo>
                  <a:close/>
                </a:path>
              </a:pathLst>
            </a:custGeom>
            <a:grpFill/>
            <a:ln w="6246" cap="flat">
              <a:noFill/>
              <a:prstDash val="solid"/>
              <a:miter/>
            </a:ln>
          </p:spPr>
          <p:txBody>
            <a:bodyPr rtlCol="0" anchor="ctr"/>
            <a:lstStyle/>
            <a:p>
              <a:endParaRPr lang="fr-FR" sz="2400"/>
            </a:p>
          </p:txBody>
        </p:sp>
        <p:sp>
          <p:nvSpPr>
            <p:cNvPr id="515" name="Freeform: Shape 514">
              <a:extLst>
                <a:ext uri="{FF2B5EF4-FFF2-40B4-BE49-F238E27FC236}">
                  <a16:creationId xmlns:a16="http://schemas.microsoft.com/office/drawing/2014/main" id="{F255D8EC-48E9-4441-A30D-0095F58B6D4F}"/>
                </a:ext>
              </a:extLst>
            </p:cNvPr>
            <p:cNvSpPr/>
            <p:nvPr/>
          </p:nvSpPr>
          <p:spPr>
            <a:xfrm>
              <a:off x="1112025" y="509241"/>
              <a:ext cx="6246" cy="6246"/>
            </a:xfrm>
            <a:custGeom>
              <a:avLst/>
              <a:gdLst>
                <a:gd name="connsiteX0" fmla="*/ 55 w 0"/>
                <a:gd name="connsiteY0" fmla="*/ 0 h 0"/>
                <a:gd name="connsiteX1" fmla="*/ 1117 w 0"/>
                <a:gd name="connsiteY1" fmla="*/ 0 h 0"/>
                <a:gd name="connsiteX2" fmla="*/ 1117 w 0"/>
                <a:gd name="connsiteY2" fmla="*/ 5809 h 0"/>
                <a:gd name="connsiteX3" fmla="*/ 55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5" y="0"/>
                  </a:moveTo>
                  <a:cubicBezTo>
                    <a:pt x="430" y="0"/>
                    <a:pt x="742" y="0"/>
                    <a:pt x="1117" y="0"/>
                  </a:cubicBezTo>
                  <a:cubicBezTo>
                    <a:pt x="1117" y="1936"/>
                    <a:pt x="1117" y="3873"/>
                    <a:pt x="1117" y="5809"/>
                  </a:cubicBezTo>
                  <a:cubicBezTo>
                    <a:pt x="-757" y="4060"/>
                    <a:pt x="367" y="1936"/>
                    <a:pt x="55" y="0"/>
                  </a:cubicBezTo>
                  <a:close/>
                </a:path>
              </a:pathLst>
            </a:custGeom>
            <a:grpFill/>
            <a:ln w="6246" cap="flat">
              <a:noFill/>
              <a:prstDash val="solid"/>
              <a:miter/>
            </a:ln>
          </p:spPr>
          <p:txBody>
            <a:bodyPr rtlCol="0" anchor="ctr"/>
            <a:lstStyle/>
            <a:p>
              <a:endParaRPr lang="fr-FR" sz="2400"/>
            </a:p>
          </p:txBody>
        </p:sp>
        <p:sp>
          <p:nvSpPr>
            <p:cNvPr id="516" name="Freeform: Shape 515">
              <a:extLst>
                <a:ext uri="{FF2B5EF4-FFF2-40B4-BE49-F238E27FC236}">
                  <a16:creationId xmlns:a16="http://schemas.microsoft.com/office/drawing/2014/main" id="{9F6F5DBF-7D36-4728-8DBC-4511156A7FAE}"/>
                </a:ext>
              </a:extLst>
            </p:cNvPr>
            <p:cNvSpPr/>
            <p:nvPr/>
          </p:nvSpPr>
          <p:spPr>
            <a:xfrm>
              <a:off x="1108890" y="538086"/>
              <a:ext cx="6246" cy="6246"/>
            </a:xfrm>
            <a:custGeom>
              <a:avLst/>
              <a:gdLst>
                <a:gd name="connsiteX0" fmla="*/ 2127 w 0"/>
                <a:gd name="connsiteY0" fmla="*/ 1135 h 6246"/>
                <a:gd name="connsiteX1" fmla="*/ 2127 w 0"/>
                <a:gd name="connsiteY1" fmla="*/ 10317 h 6246"/>
                <a:gd name="connsiteX2" fmla="*/ 4 w 0"/>
                <a:gd name="connsiteY2" fmla="*/ 198 h 6246"/>
                <a:gd name="connsiteX3" fmla="*/ 2127 w 0"/>
                <a:gd name="connsiteY3" fmla="*/ 1135 h 6246"/>
              </a:gdLst>
              <a:ahLst/>
              <a:cxnLst>
                <a:cxn ang="0">
                  <a:pos x="connsiteX0" y="connsiteY0"/>
                </a:cxn>
                <a:cxn ang="0">
                  <a:pos x="connsiteX1" y="connsiteY1"/>
                </a:cxn>
                <a:cxn ang="0">
                  <a:pos x="connsiteX2" y="connsiteY2"/>
                </a:cxn>
                <a:cxn ang="0">
                  <a:pos x="connsiteX3" y="connsiteY3"/>
                </a:cxn>
              </a:cxnLst>
              <a:rect l="l" t="t" r="r" b="b"/>
              <a:pathLst>
                <a:path h="6246">
                  <a:moveTo>
                    <a:pt x="2127" y="1135"/>
                  </a:moveTo>
                  <a:cubicBezTo>
                    <a:pt x="2127" y="3759"/>
                    <a:pt x="2127" y="6320"/>
                    <a:pt x="2127" y="10317"/>
                  </a:cubicBezTo>
                  <a:cubicBezTo>
                    <a:pt x="-1120" y="6320"/>
                    <a:pt x="441" y="3072"/>
                    <a:pt x="4" y="198"/>
                  </a:cubicBezTo>
                  <a:cubicBezTo>
                    <a:pt x="1253" y="-426"/>
                    <a:pt x="1503" y="573"/>
                    <a:pt x="2127" y="1135"/>
                  </a:cubicBezTo>
                  <a:close/>
                </a:path>
              </a:pathLst>
            </a:custGeom>
            <a:grpFill/>
            <a:ln w="6246" cap="flat">
              <a:noFill/>
              <a:prstDash val="solid"/>
              <a:miter/>
            </a:ln>
          </p:spPr>
          <p:txBody>
            <a:bodyPr rtlCol="0" anchor="ctr"/>
            <a:lstStyle/>
            <a:p>
              <a:endParaRPr lang="fr-FR" sz="2400"/>
            </a:p>
          </p:txBody>
        </p:sp>
        <p:sp>
          <p:nvSpPr>
            <p:cNvPr id="517" name="Freeform: Shape 516">
              <a:extLst>
                <a:ext uri="{FF2B5EF4-FFF2-40B4-BE49-F238E27FC236}">
                  <a16:creationId xmlns:a16="http://schemas.microsoft.com/office/drawing/2014/main" id="{F239108C-BB9A-4F0B-910E-1E38F0A36480}"/>
                </a:ext>
              </a:extLst>
            </p:cNvPr>
            <p:cNvSpPr/>
            <p:nvPr/>
          </p:nvSpPr>
          <p:spPr>
            <a:xfrm>
              <a:off x="1108894" y="535349"/>
              <a:ext cx="6246" cy="6246"/>
            </a:xfrm>
            <a:custGeom>
              <a:avLst/>
              <a:gdLst>
                <a:gd name="connsiteX0" fmla="*/ 2124 w 0"/>
                <a:gd name="connsiteY0" fmla="*/ 3873 h 0"/>
                <a:gd name="connsiteX1" fmla="*/ 0 w 0"/>
                <a:gd name="connsiteY1" fmla="*/ 2873 h 0"/>
                <a:gd name="connsiteX2" fmla="*/ 63 w 0"/>
                <a:gd name="connsiteY2" fmla="*/ 0 h 0"/>
                <a:gd name="connsiteX3" fmla="*/ 2124 w 0"/>
                <a:gd name="connsiteY3" fmla="*/ 1936 h 0"/>
                <a:gd name="connsiteX4" fmla="*/ 2124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24" y="3873"/>
                  </a:moveTo>
                  <a:cubicBezTo>
                    <a:pt x="1437" y="3560"/>
                    <a:pt x="687" y="3248"/>
                    <a:pt x="0" y="2873"/>
                  </a:cubicBezTo>
                  <a:cubicBezTo>
                    <a:pt x="0" y="1936"/>
                    <a:pt x="0" y="937"/>
                    <a:pt x="63" y="0"/>
                  </a:cubicBezTo>
                  <a:cubicBezTo>
                    <a:pt x="750" y="625"/>
                    <a:pt x="1437" y="1249"/>
                    <a:pt x="2124" y="1936"/>
                  </a:cubicBezTo>
                  <a:cubicBezTo>
                    <a:pt x="2124" y="2561"/>
                    <a:pt x="2124" y="3186"/>
                    <a:pt x="2124" y="3873"/>
                  </a:cubicBezTo>
                  <a:close/>
                </a:path>
              </a:pathLst>
            </a:custGeom>
            <a:grpFill/>
            <a:ln w="6246" cap="flat">
              <a:noFill/>
              <a:prstDash val="solid"/>
              <a:miter/>
            </a:ln>
          </p:spPr>
          <p:txBody>
            <a:bodyPr rtlCol="0" anchor="ctr"/>
            <a:lstStyle/>
            <a:p>
              <a:endParaRPr lang="fr-FR" sz="2400"/>
            </a:p>
          </p:txBody>
        </p:sp>
        <p:sp>
          <p:nvSpPr>
            <p:cNvPr id="518" name="Freeform: Shape 517">
              <a:extLst>
                <a:ext uri="{FF2B5EF4-FFF2-40B4-BE49-F238E27FC236}">
                  <a16:creationId xmlns:a16="http://schemas.microsoft.com/office/drawing/2014/main" id="{E4E5AA50-06B1-44F0-BBA4-BCF04BD4A44C}"/>
                </a:ext>
              </a:extLst>
            </p:cNvPr>
            <p:cNvSpPr/>
            <p:nvPr/>
          </p:nvSpPr>
          <p:spPr>
            <a:xfrm>
              <a:off x="1104577" y="528541"/>
              <a:ext cx="6246" cy="6246"/>
            </a:xfrm>
            <a:custGeom>
              <a:avLst/>
              <a:gdLst>
                <a:gd name="connsiteX0" fmla="*/ 2131 w 0"/>
                <a:gd name="connsiteY0" fmla="*/ 3873 h 0"/>
                <a:gd name="connsiteX1" fmla="*/ 7 w 0"/>
                <a:gd name="connsiteY1" fmla="*/ 0 h 0"/>
                <a:gd name="connsiteX2" fmla="*/ 2131 w 0"/>
                <a:gd name="connsiteY2" fmla="*/ 1936 h 0"/>
                <a:gd name="connsiteX3" fmla="*/ 2193 w 0"/>
                <a:gd name="connsiteY3" fmla="*/ 2936 h 0"/>
                <a:gd name="connsiteX4" fmla="*/ 2131 w 0"/>
                <a:gd name="connsiteY4" fmla="*/ 387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2131" y="3873"/>
                  </a:moveTo>
                  <a:cubicBezTo>
                    <a:pt x="257" y="3123"/>
                    <a:pt x="-55" y="1686"/>
                    <a:pt x="7" y="0"/>
                  </a:cubicBezTo>
                  <a:cubicBezTo>
                    <a:pt x="694" y="625"/>
                    <a:pt x="1444" y="1312"/>
                    <a:pt x="2131" y="1936"/>
                  </a:cubicBezTo>
                  <a:cubicBezTo>
                    <a:pt x="2131" y="2249"/>
                    <a:pt x="2131" y="2623"/>
                    <a:pt x="2193" y="2936"/>
                  </a:cubicBezTo>
                  <a:cubicBezTo>
                    <a:pt x="2131" y="3248"/>
                    <a:pt x="2131" y="3560"/>
                    <a:pt x="2131" y="3873"/>
                  </a:cubicBezTo>
                  <a:close/>
                </a:path>
              </a:pathLst>
            </a:custGeom>
            <a:grpFill/>
            <a:ln w="6246" cap="flat">
              <a:noFill/>
              <a:prstDash val="solid"/>
              <a:miter/>
            </a:ln>
          </p:spPr>
          <p:txBody>
            <a:bodyPr rtlCol="0" anchor="ctr"/>
            <a:lstStyle/>
            <a:p>
              <a:endParaRPr lang="fr-FR" sz="2400"/>
            </a:p>
          </p:txBody>
        </p:sp>
        <p:sp>
          <p:nvSpPr>
            <p:cNvPr id="519" name="Freeform: Shape 518">
              <a:extLst>
                <a:ext uri="{FF2B5EF4-FFF2-40B4-BE49-F238E27FC236}">
                  <a16:creationId xmlns:a16="http://schemas.microsoft.com/office/drawing/2014/main" id="{80CC2E22-FBDD-49AA-887C-7F1CB0FFDF3D}"/>
                </a:ext>
              </a:extLst>
            </p:cNvPr>
            <p:cNvSpPr/>
            <p:nvPr/>
          </p:nvSpPr>
          <p:spPr>
            <a:xfrm>
              <a:off x="1210518" y="447917"/>
              <a:ext cx="37476" cy="24984"/>
            </a:xfrm>
            <a:custGeom>
              <a:avLst/>
              <a:gdLst>
                <a:gd name="connsiteX0" fmla="*/ 1062 w 37476"/>
                <a:gd name="connsiteY0" fmla="*/ 27470 h 24984"/>
                <a:gd name="connsiteX1" fmla="*/ 0 w 37476"/>
                <a:gd name="connsiteY1" fmla="*/ 25534 h 24984"/>
                <a:gd name="connsiteX2" fmla="*/ 4310 w 37476"/>
                <a:gd name="connsiteY2" fmla="*/ 20725 h 24984"/>
                <a:gd name="connsiteX3" fmla="*/ 8620 w 37476"/>
                <a:gd name="connsiteY3" fmla="*/ 14916 h 24984"/>
                <a:gd name="connsiteX4" fmla="*/ 26796 w 37476"/>
                <a:gd name="connsiteY4" fmla="*/ 2361 h 24984"/>
                <a:gd name="connsiteX5" fmla="*/ 37476 w 37476"/>
                <a:gd name="connsiteY5" fmla="*/ 1424 h 24984"/>
                <a:gd name="connsiteX6" fmla="*/ 34291 w 37476"/>
                <a:gd name="connsiteY6" fmla="*/ 4298 h 24984"/>
                <a:gd name="connsiteX7" fmla="*/ 11867 w 37476"/>
                <a:gd name="connsiteY7" fmla="*/ 19725 h 24984"/>
                <a:gd name="connsiteX8" fmla="*/ 5684 w 37476"/>
                <a:gd name="connsiteY8" fmla="*/ 24972 h 24984"/>
                <a:gd name="connsiteX9" fmla="*/ 1062 w 37476"/>
                <a:gd name="connsiteY9" fmla="*/ 27470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6" h="24984">
                  <a:moveTo>
                    <a:pt x="1062" y="27470"/>
                  </a:moveTo>
                  <a:cubicBezTo>
                    <a:pt x="250" y="27033"/>
                    <a:pt x="0" y="26346"/>
                    <a:pt x="0" y="25534"/>
                  </a:cubicBezTo>
                  <a:cubicBezTo>
                    <a:pt x="312" y="23098"/>
                    <a:pt x="1999" y="21724"/>
                    <a:pt x="4310" y="20725"/>
                  </a:cubicBezTo>
                  <a:cubicBezTo>
                    <a:pt x="8245" y="20287"/>
                    <a:pt x="7558" y="17102"/>
                    <a:pt x="8620" y="14916"/>
                  </a:cubicBezTo>
                  <a:cubicBezTo>
                    <a:pt x="13679" y="9544"/>
                    <a:pt x="18801" y="4235"/>
                    <a:pt x="26796" y="2361"/>
                  </a:cubicBezTo>
                  <a:cubicBezTo>
                    <a:pt x="30231" y="862"/>
                    <a:pt x="33541" y="-1574"/>
                    <a:pt x="37476" y="1424"/>
                  </a:cubicBezTo>
                  <a:cubicBezTo>
                    <a:pt x="36415" y="2361"/>
                    <a:pt x="35353" y="3361"/>
                    <a:pt x="34291" y="4298"/>
                  </a:cubicBezTo>
                  <a:cubicBezTo>
                    <a:pt x="27108" y="9794"/>
                    <a:pt x="19925" y="15228"/>
                    <a:pt x="11867" y="19725"/>
                  </a:cubicBezTo>
                  <a:cubicBezTo>
                    <a:pt x="9432" y="21099"/>
                    <a:pt x="7433" y="22911"/>
                    <a:pt x="5684" y="24972"/>
                  </a:cubicBezTo>
                  <a:cubicBezTo>
                    <a:pt x="4497" y="26346"/>
                    <a:pt x="3623" y="28157"/>
                    <a:pt x="1062" y="27470"/>
                  </a:cubicBezTo>
                  <a:close/>
                </a:path>
              </a:pathLst>
            </a:custGeom>
            <a:grpFill/>
            <a:ln w="6246" cap="flat">
              <a:noFill/>
              <a:prstDash val="solid"/>
              <a:miter/>
            </a:ln>
          </p:spPr>
          <p:txBody>
            <a:bodyPr rtlCol="0" anchor="ctr"/>
            <a:lstStyle/>
            <a:p>
              <a:endParaRPr lang="fr-FR" sz="2400"/>
            </a:p>
          </p:txBody>
        </p:sp>
        <p:sp>
          <p:nvSpPr>
            <p:cNvPr id="520" name="Freeform: Shape 519">
              <a:extLst>
                <a:ext uri="{FF2B5EF4-FFF2-40B4-BE49-F238E27FC236}">
                  <a16:creationId xmlns:a16="http://schemas.microsoft.com/office/drawing/2014/main" id="{F5D8B501-EF78-4A05-A68D-9CEADE05BA3E}"/>
                </a:ext>
              </a:extLst>
            </p:cNvPr>
            <p:cNvSpPr/>
            <p:nvPr/>
          </p:nvSpPr>
          <p:spPr>
            <a:xfrm>
              <a:off x="1171989" y="501496"/>
              <a:ext cx="6246" cy="37476"/>
            </a:xfrm>
            <a:custGeom>
              <a:avLst/>
              <a:gdLst>
                <a:gd name="connsiteX0" fmla="*/ 9672 w 6246"/>
                <a:gd name="connsiteY0" fmla="*/ 0 h 37476"/>
                <a:gd name="connsiteX1" fmla="*/ 8860 w 6246"/>
                <a:gd name="connsiteY1" fmla="*/ 8057 h 37476"/>
                <a:gd name="connsiteX2" fmla="*/ 1865 w 6246"/>
                <a:gd name="connsiteY2" fmla="*/ 39475 h 37476"/>
                <a:gd name="connsiteX3" fmla="*/ 53 w 6246"/>
                <a:gd name="connsiteY3" fmla="*/ 32854 h 37476"/>
                <a:gd name="connsiteX4" fmla="*/ 9672 w 6246"/>
                <a:gd name="connsiteY4" fmla="*/ 0 h 37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37476">
                  <a:moveTo>
                    <a:pt x="9672" y="0"/>
                  </a:moveTo>
                  <a:cubicBezTo>
                    <a:pt x="12108" y="2873"/>
                    <a:pt x="9735" y="5559"/>
                    <a:pt x="8860" y="8057"/>
                  </a:cubicBezTo>
                  <a:cubicBezTo>
                    <a:pt x="5237" y="18301"/>
                    <a:pt x="1427" y="28420"/>
                    <a:pt x="1865" y="39475"/>
                  </a:cubicBezTo>
                  <a:cubicBezTo>
                    <a:pt x="678" y="37351"/>
                    <a:pt x="1677" y="34791"/>
                    <a:pt x="53" y="32854"/>
                  </a:cubicBezTo>
                  <a:cubicBezTo>
                    <a:pt x="-634" y="20987"/>
                    <a:pt x="5487" y="10743"/>
                    <a:pt x="9672" y="0"/>
                  </a:cubicBezTo>
                  <a:close/>
                </a:path>
              </a:pathLst>
            </a:custGeom>
            <a:grpFill/>
            <a:ln w="6246" cap="flat">
              <a:noFill/>
              <a:prstDash val="solid"/>
              <a:miter/>
            </a:ln>
          </p:spPr>
          <p:txBody>
            <a:bodyPr rtlCol="0" anchor="ctr"/>
            <a:lstStyle/>
            <a:p>
              <a:endParaRPr lang="fr-FR" sz="2400"/>
            </a:p>
          </p:txBody>
        </p:sp>
        <p:sp>
          <p:nvSpPr>
            <p:cNvPr id="521" name="Freeform: Shape 520">
              <a:extLst>
                <a:ext uri="{FF2B5EF4-FFF2-40B4-BE49-F238E27FC236}">
                  <a16:creationId xmlns:a16="http://schemas.microsoft.com/office/drawing/2014/main" id="{B0341BC0-C947-4050-AC6C-39FF62C07460}"/>
                </a:ext>
              </a:extLst>
            </p:cNvPr>
            <p:cNvSpPr/>
            <p:nvPr/>
          </p:nvSpPr>
          <p:spPr>
            <a:xfrm>
              <a:off x="1191405" y="473513"/>
              <a:ext cx="12492" cy="31230"/>
            </a:xfrm>
            <a:custGeom>
              <a:avLst/>
              <a:gdLst>
                <a:gd name="connsiteX0" fmla="*/ 18051 w 12492"/>
                <a:gd name="connsiteY0" fmla="*/ 937 h 31230"/>
                <a:gd name="connsiteX1" fmla="*/ 6246 w 12492"/>
                <a:gd name="connsiteY1" fmla="*/ 23048 h 31230"/>
                <a:gd name="connsiteX2" fmla="*/ 0 w 12492"/>
                <a:gd name="connsiteY2" fmla="*/ 33854 h 31230"/>
                <a:gd name="connsiteX3" fmla="*/ 4185 w 12492"/>
                <a:gd name="connsiteY3" fmla="*/ 22236 h 31230"/>
                <a:gd name="connsiteX4" fmla="*/ 17052 w 12492"/>
                <a:gd name="connsiteY4" fmla="*/ 0 h 31230"/>
                <a:gd name="connsiteX5" fmla="*/ 18051 w 12492"/>
                <a:gd name="connsiteY5" fmla="*/ 93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31230">
                  <a:moveTo>
                    <a:pt x="18051" y="937"/>
                  </a:moveTo>
                  <a:cubicBezTo>
                    <a:pt x="12180" y="7433"/>
                    <a:pt x="10119" y="15615"/>
                    <a:pt x="6246" y="23048"/>
                  </a:cubicBezTo>
                  <a:cubicBezTo>
                    <a:pt x="4372" y="26733"/>
                    <a:pt x="2998" y="30606"/>
                    <a:pt x="0" y="33854"/>
                  </a:cubicBezTo>
                  <a:cubicBezTo>
                    <a:pt x="1374" y="29981"/>
                    <a:pt x="2748" y="26109"/>
                    <a:pt x="4185" y="22236"/>
                  </a:cubicBezTo>
                  <a:cubicBezTo>
                    <a:pt x="7933" y="14553"/>
                    <a:pt x="11305" y="6746"/>
                    <a:pt x="17052" y="0"/>
                  </a:cubicBezTo>
                  <a:cubicBezTo>
                    <a:pt x="17614" y="0"/>
                    <a:pt x="17739" y="562"/>
                    <a:pt x="18051" y="937"/>
                  </a:cubicBezTo>
                  <a:close/>
                </a:path>
              </a:pathLst>
            </a:custGeom>
            <a:grpFill/>
            <a:ln w="6246" cap="flat">
              <a:noFill/>
              <a:prstDash val="solid"/>
              <a:miter/>
            </a:ln>
          </p:spPr>
          <p:txBody>
            <a:bodyPr rtlCol="0" anchor="ctr"/>
            <a:lstStyle/>
            <a:p>
              <a:endParaRPr lang="fr-FR" sz="2400"/>
            </a:p>
          </p:txBody>
        </p:sp>
        <p:sp>
          <p:nvSpPr>
            <p:cNvPr id="522" name="Freeform: Shape 521">
              <a:extLst>
                <a:ext uri="{FF2B5EF4-FFF2-40B4-BE49-F238E27FC236}">
                  <a16:creationId xmlns:a16="http://schemas.microsoft.com/office/drawing/2014/main" id="{9B08DAB1-D731-415B-8690-513559B35541}"/>
                </a:ext>
              </a:extLst>
            </p:cNvPr>
            <p:cNvSpPr/>
            <p:nvPr/>
          </p:nvSpPr>
          <p:spPr>
            <a:xfrm>
              <a:off x="1182723" y="474575"/>
              <a:ext cx="12492" cy="18738"/>
            </a:xfrm>
            <a:custGeom>
              <a:avLst/>
              <a:gdLst>
                <a:gd name="connsiteX0" fmla="*/ 1062 w 12492"/>
                <a:gd name="connsiteY0" fmla="*/ 23048 h 18738"/>
                <a:gd name="connsiteX1" fmla="*/ 0 w 12492"/>
                <a:gd name="connsiteY1" fmla="*/ 23048 h 18738"/>
                <a:gd name="connsiteX2" fmla="*/ 12055 w 12492"/>
                <a:gd name="connsiteY2" fmla="*/ 0 h 18738"/>
                <a:gd name="connsiteX3" fmla="*/ 13741 w 12492"/>
                <a:gd name="connsiteY3" fmla="*/ 812 h 18738"/>
                <a:gd name="connsiteX4" fmla="*/ 1062 w 12492"/>
                <a:gd name="connsiteY4" fmla="*/ 2304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8738">
                  <a:moveTo>
                    <a:pt x="1062" y="23048"/>
                  </a:moveTo>
                  <a:cubicBezTo>
                    <a:pt x="687" y="23048"/>
                    <a:pt x="375" y="23048"/>
                    <a:pt x="0" y="23048"/>
                  </a:cubicBezTo>
                  <a:cubicBezTo>
                    <a:pt x="2249" y="14491"/>
                    <a:pt x="7308" y="7308"/>
                    <a:pt x="12055" y="0"/>
                  </a:cubicBezTo>
                  <a:cubicBezTo>
                    <a:pt x="12617" y="250"/>
                    <a:pt x="13179" y="500"/>
                    <a:pt x="13741" y="812"/>
                  </a:cubicBezTo>
                  <a:cubicBezTo>
                    <a:pt x="9494" y="8182"/>
                    <a:pt x="5309" y="15615"/>
                    <a:pt x="1062" y="23048"/>
                  </a:cubicBezTo>
                  <a:close/>
                </a:path>
              </a:pathLst>
            </a:custGeom>
            <a:grpFill/>
            <a:ln w="6246" cap="flat">
              <a:noFill/>
              <a:prstDash val="solid"/>
              <a:miter/>
            </a:ln>
          </p:spPr>
          <p:txBody>
            <a:bodyPr rtlCol="0" anchor="ctr"/>
            <a:lstStyle/>
            <a:p>
              <a:endParaRPr lang="fr-FR" sz="2400"/>
            </a:p>
          </p:txBody>
        </p:sp>
        <p:sp>
          <p:nvSpPr>
            <p:cNvPr id="523" name="Freeform: Shape 522">
              <a:extLst>
                <a:ext uri="{FF2B5EF4-FFF2-40B4-BE49-F238E27FC236}">
                  <a16:creationId xmlns:a16="http://schemas.microsoft.com/office/drawing/2014/main" id="{1687C9FF-3336-4F30-BE66-F996129E7A0D}"/>
                </a:ext>
              </a:extLst>
            </p:cNvPr>
            <p:cNvSpPr/>
            <p:nvPr/>
          </p:nvSpPr>
          <p:spPr>
            <a:xfrm>
              <a:off x="1188032" y="481071"/>
              <a:ext cx="6246" cy="24984"/>
            </a:xfrm>
            <a:custGeom>
              <a:avLst/>
              <a:gdLst>
                <a:gd name="connsiteX0" fmla="*/ 6434 w 6246"/>
                <a:gd name="connsiteY0" fmla="*/ 13679 h 24984"/>
                <a:gd name="connsiteX1" fmla="*/ 2873 w 6246"/>
                <a:gd name="connsiteY1" fmla="*/ 21861 h 24984"/>
                <a:gd name="connsiteX2" fmla="*/ 0 w 6246"/>
                <a:gd name="connsiteY2" fmla="*/ 25297 h 24984"/>
                <a:gd name="connsiteX3" fmla="*/ 12117 w 6246"/>
                <a:gd name="connsiteY3" fmla="*/ 0 h 24984"/>
                <a:gd name="connsiteX4" fmla="*/ 6434 w 6246"/>
                <a:gd name="connsiteY4" fmla="*/ 13679 h 2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24984">
                  <a:moveTo>
                    <a:pt x="6434" y="13679"/>
                  </a:moveTo>
                  <a:cubicBezTo>
                    <a:pt x="4497" y="16115"/>
                    <a:pt x="4185" y="19175"/>
                    <a:pt x="2873" y="21861"/>
                  </a:cubicBezTo>
                  <a:cubicBezTo>
                    <a:pt x="2249" y="23173"/>
                    <a:pt x="2374" y="25172"/>
                    <a:pt x="0" y="25297"/>
                  </a:cubicBezTo>
                  <a:cubicBezTo>
                    <a:pt x="2748" y="16365"/>
                    <a:pt x="6184" y="7683"/>
                    <a:pt x="12117" y="0"/>
                  </a:cubicBezTo>
                  <a:cubicBezTo>
                    <a:pt x="11555" y="4997"/>
                    <a:pt x="6996" y="8682"/>
                    <a:pt x="6434" y="13679"/>
                  </a:cubicBezTo>
                  <a:close/>
                </a:path>
              </a:pathLst>
            </a:custGeom>
            <a:grpFill/>
            <a:ln w="6246" cap="flat">
              <a:noFill/>
              <a:prstDash val="solid"/>
              <a:miter/>
            </a:ln>
          </p:spPr>
          <p:txBody>
            <a:bodyPr rtlCol="0" anchor="ctr"/>
            <a:lstStyle/>
            <a:p>
              <a:endParaRPr lang="fr-FR" sz="2400"/>
            </a:p>
          </p:txBody>
        </p:sp>
        <p:sp>
          <p:nvSpPr>
            <p:cNvPr id="524" name="Freeform: Shape 523">
              <a:extLst>
                <a:ext uri="{FF2B5EF4-FFF2-40B4-BE49-F238E27FC236}">
                  <a16:creationId xmlns:a16="http://schemas.microsoft.com/office/drawing/2014/main" id="{1A180B91-F14B-4182-93C5-BF049115C992}"/>
                </a:ext>
              </a:extLst>
            </p:cNvPr>
            <p:cNvSpPr/>
            <p:nvPr/>
          </p:nvSpPr>
          <p:spPr>
            <a:xfrm>
              <a:off x="1219075" y="450263"/>
              <a:ext cx="12492" cy="12492"/>
            </a:xfrm>
            <a:custGeom>
              <a:avLst/>
              <a:gdLst>
                <a:gd name="connsiteX0" fmla="*/ 18176 w 12492"/>
                <a:gd name="connsiteY0" fmla="*/ 15 h 12492"/>
                <a:gd name="connsiteX1" fmla="*/ 0 w 12492"/>
                <a:gd name="connsiteY1" fmla="*/ 12570 h 12492"/>
                <a:gd name="connsiteX2" fmla="*/ 18176 w 12492"/>
                <a:gd name="connsiteY2" fmla="*/ 15 h 12492"/>
              </a:gdLst>
              <a:ahLst/>
              <a:cxnLst>
                <a:cxn ang="0">
                  <a:pos x="connsiteX0" y="connsiteY0"/>
                </a:cxn>
                <a:cxn ang="0">
                  <a:pos x="connsiteX1" y="connsiteY1"/>
                </a:cxn>
                <a:cxn ang="0">
                  <a:pos x="connsiteX2" y="connsiteY2"/>
                </a:cxn>
              </a:cxnLst>
              <a:rect l="l" t="t" r="r" b="b"/>
              <a:pathLst>
                <a:path w="12492" h="12492">
                  <a:moveTo>
                    <a:pt x="18176" y="15"/>
                  </a:moveTo>
                  <a:cubicBezTo>
                    <a:pt x="11056" y="2951"/>
                    <a:pt x="5746" y="8072"/>
                    <a:pt x="0" y="12570"/>
                  </a:cubicBezTo>
                  <a:cubicBezTo>
                    <a:pt x="3123" y="6324"/>
                    <a:pt x="12804" y="-360"/>
                    <a:pt x="18176" y="15"/>
                  </a:cubicBezTo>
                  <a:close/>
                </a:path>
              </a:pathLst>
            </a:custGeom>
            <a:grpFill/>
            <a:ln w="6246" cap="flat">
              <a:noFill/>
              <a:prstDash val="solid"/>
              <a:miter/>
            </a:ln>
          </p:spPr>
          <p:txBody>
            <a:bodyPr rtlCol="0" anchor="ctr"/>
            <a:lstStyle/>
            <a:p>
              <a:endParaRPr lang="fr-FR" sz="2400"/>
            </a:p>
          </p:txBody>
        </p:sp>
        <p:sp>
          <p:nvSpPr>
            <p:cNvPr id="525" name="Freeform: Shape 524">
              <a:extLst>
                <a:ext uri="{FF2B5EF4-FFF2-40B4-BE49-F238E27FC236}">
                  <a16:creationId xmlns:a16="http://schemas.microsoft.com/office/drawing/2014/main" id="{B5622EC5-2F0D-44C0-BDFC-7B981BEB18B1}"/>
                </a:ext>
              </a:extLst>
            </p:cNvPr>
            <p:cNvSpPr/>
            <p:nvPr/>
          </p:nvSpPr>
          <p:spPr>
            <a:xfrm>
              <a:off x="1183874" y="491065"/>
              <a:ext cx="6246" cy="12492"/>
            </a:xfrm>
            <a:custGeom>
              <a:avLst/>
              <a:gdLst>
                <a:gd name="connsiteX0" fmla="*/ 972 w 6246"/>
                <a:gd name="connsiteY0" fmla="*/ 15303 h 12492"/>
                <a:gd name="connsiteX1" fmla="*/ 972 w 6246"/>
                <a:gd name="connsiteY1" fmla="*/ 11430 h 12492"/>
                <a:gd name="connsiteX2" fmla="*/ 7905 w 6246"/>
                <a:gd name="connsiteY2" fmla="*/ 0 h 12492"/>
                <a:gd name="connsiteX3" fmla="*/ 972 w 6246"/>
                <a:gd name="connsiteY3" fmla="*/ 15303 h 12492"/>
              </a:gdLst>
              <a:ahLst/>
              <a:cxnLst>
                <a:cxn ang="0">
                  <a:pos x="connsiteX0" y="connsiteY0"/>
                </a:cxn>
                <a:cxn ang="0">
                  <a:pos x="connsiteX1" y="connsiteY1"/>
                </a:cxn>
                <a:cxn ang="0">
                  <a:pos x="connsiteX2" y="connsiteY2"/>
                </a:cxn>
                <a:cxn ang="0">
                  <a:pos x="connsiteX3" y="connsiteY3"/>
                </a:cxn>
              </a:cxnLst>
              <a:rect l="l" t="t" r="r" b="b"/>
              <a:pathLst>
                <a:path w="6246" h="12492">
                  <a:moveTo>
                    <a:pt x="972" y="15303"/>
                  </a:moveTo>
                  <a:cubicBezTo>
                    <a:pt x="-902" y="13991"/>
                    <a:pt x="410" y="12742"/>
                    <a:pt x="972" y="11430"/>
                  </a:cubicBezTo>
                  <a:cubicBezTo>
                    <a:pt x="2971" y="7870"/>
                    <a:pt x="3034" y="3435"/>
                    <a:pt x="7905" y="0"/>
                  </a:cubicBezTo>
                  <a:cubicBezTo>
                    <a:pt x="5282" y="5746"/>
                    <a:pt x="3158" y="10493"/>
                    <a:pt x="972" y="15303"/>
                  </a:cubicBezTo>
                  <a:close/>
                </a:path>
              </a:pathLst>
            </a:custGeom>
            <a:grpFill/>
            <a:ln w="6246" cap="flat">
              <a:noFill/>
              <a:prstDash val="solid"/>
              <a:miter/>
            </a:ln>
          </p:spPr>
          <p:txBody>
            <a:bodyPr rtlCol="0" anchor="ctr"/>
            <a:lstStyle/>
            <a:p>
              <a:endParaRPr lang="fr-FR" sz="2400"/>
            </a:p>
          </p:txBody>
        </p:sp>
        <p:sp>
          <p:nvSpPr>
            <p:cNvPr id="526" name="Freeform: Shape 525">
              <a:extLst>
                <a:ext uri="{FF2B5EF4-FFF2-40B4-BE49-F238E27FC236}">
                  <a16:creationId xmlns:a16="http://schemas.microsoft.com/office/drawing/2014/main" id="{BD606C63-45A1-45BD-87BE-7F49D2BA1752}"/>
                </a:ext>
              </a:extLst>
            </p:cNvPr>
            <p:cNvSpPr/>
            <p:nvPr/>
          </p:nvSpPr>
          <p:spPr>
            <a:xfrm>
              <a:off x="1208394" y="464956"/>
              <a:ext cx="6246" cy="6246"/>
            </a:xfrm>
            <a:custGeom>
              <a:avLst/>
              <a:gdLst>
                <a:gd name="connsiteX0" fmla="*/ 1062 w 6246"/>
                <a:gd name="connsiteY0" fmla="*/ 9494 h 6246"/>
                <a:gd name="connsiteX1" fmla="*/ 0 w 6246"/>
                <a:gd name="connsiteY1" fmla="*/ 8557 h 6246"/>
                <a:gd name="connsiteX2" fmla="*/ 7683 w 6246"/>
                <a:gd name="connsiteY2" fmla="*/ 0 h 6246"/>
                <a:gd name="connsiteX3" fmla="*/ 6433 w 6246"/>
                <a:gd name="connsiteY3" fmla="*/ 3685 h 6246"/>
                <a:gd name="connsiteX4" fmla="*/ 2124 w 6246"/>
                <a:gd name="connsiteY4" fmla="*/ 8495 h 6246"/>
                <a:gd name="connsiteX5" fmla="*/ 1062 w 6246"/>
                <a:gd name="connsiteY5" fmla="*/ 949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9494"/>
                  </a:moveTo>
                  <a:cubicBezTo>
                    <a:pt x="687" y="9182"/>
                    <a:pt x="375" y="8869"/>
                    <a:pt x="0" y="8557"/>
                  </a:cubicBezTo>
                  <a:cubicBezTo>
                    <a:pt x="2498" y="5809"/>
                    <a:pt x="4934" y="3061"/>
                    <a:pt x="7683" y="0"/>
                  </a:cubicBezTo>
                  <a:cubicBezTo>
                    <a:pt x="8682" y="2124"/>
                    <a:pt x="6621" y="2561"/>
                    <a:pt x="6433" y="3685"/>
                  </a:cubicBezTo>
                  <a:cubicBezTo>
                    <a:pt x="4997" y="5309"/>
                    <a:pt x="3560" y="6933"/>
                    <a:pt x="2124" y="8495"/>
                  </a:cubicBezTo>
                  <a:cubicBezTo>
                    <a:pt x="1749" y="8807"/>
                    <a:pt x="1437" y="9182"/>
                    <a:pt x="1062" y="9494"/>
                  </a:cubicBezTo>
                  <a:close/>
                </a:path>
              </a:pathLst>
            </a:custGeom>
            <a:grpFill/>
            <a:ln w="6246" cap="flat">
              <a:noFill/>
              <a:prstDash val="solid"/>
              <a:miter/>
            </a:ln>
          </p:spPr>
          <p:txBody>
            <a:bodyPr rtlCol="0" anchor="ctr"/>
            <a:lstStyle/>
            <a:p>
              <a:endParaRPr lang="fr-FR" sz="2400"/>
            </a:p>
          </p:txBody>
        </p:sp>
        <p:sp>
          <p:nvSpPr>
            <p:cNvPr id="527" name="Freeform: Shape 526">
              <a:extLst>
                <a:ext uri="{FF2B5EF4-FFF2-40B4-BE49-F238E27FC236}">
                  <a16:creationId xmlns:a16="http://schemas.microsoft.com/office/drawing/2014/main" id="{9F3CECFA-7CE6-4ABF-B48B-7C60241105B7}"/>
                </a:ext>
              </a:extLst>
            </p:cNvPr>
            <p:cNvSpPr/>
            <p:nvPr/>
          </p:nvSpPr>
          <p:spPr>
            <a:xfrm>
              <a:off x="1191217" y="468641"/>
              <a:ext cx="6246" cy="6246"/>
            </a:xfrm>
            <a:custGeom>
              <a:avLst/>
              <a:gdLst>
                <a:gd name="connsiteX0" fmla="*/ 4310 w 0"/>
                <a:gd name="connsiteY0" fmla="*/ 0 h 0"/>
                <a:gd name="connsiteX1" fmla="*/ 5372 w 0"/>
                <a:gd name="connsiteY1" fmla="*/ 937 h 0"/>
                <a:gd name="connsiteX2" fmla="*/ 0 w 0"/>
                <a:gd name="connsiteY2" fmla="*/ 5934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4685" y="312"/>
                    <a:pt x="4997" y="625"/>
                    <a:pt x="5372" y="937"/>
                  </a:cubicBezTo>
                  <a:cubicBezTo>
                    <a:pt x="3748" y="2748"/>
                    <a:pt x="2998" y="5309"/>
                    <a:pt x="0" y="5934"/>
                  </a:cubicBezTo>
                  <a:cubicBezTo>
                    <a:pt x="2186" y="4372"/>
                    <a:pt x="1624" y="1187"/>
                    <a:pt x="4310" y="0"/>
                  </a:cubicBezTo>
                  <a:close/>
                </a:path>
              </a:pathLst>
            </a:custGeom>
            <a:grpFill/>
            <a:ln w="6246" cap="flat">
              <a:noFill/>
              <a:prstDash val="solid"/>
              <a:miter/>
            </a:ln>
          </p:spPr>
          <p:txBody>
            <a:bodyPr rtlCol="0" anchor="ctr"/>
            <a:lstStyle/>
            <a:p>
              <a:endParaRPr lang="fr-FR" sz="2400"/>
            </a:p>
          </p:txBody>
        </p:sp>
        <p:sp>
          <p:nvSpPr>
            <p:cNvPr id="528" name="Freeform: Shape 527">
              <a:extLst>
                <a:ext uri="{FF2B5EF4-FFF2-40B4-BE49-F238E27FC236}">
                  <a16:creationId xmlns:a16="http://schemas.microsoft.com/office/drawing/2014/main" id="{2C34478E-9FD8-489C-A4AD-B33C5027111B}"/>
                </a:ext>
              </a:extLst>
            </p:cNvPr>
            <p:cNvSpPr/>
            <p:nvPr/>
          </p:nvSpPr>
          <p:spPr>
            <a:xfrm>
              <a:off x="1160556" y="559522"/>
              <a:ext cx="6246" cy="6246"/>
            </a:xfrm>
            <a:custGeom>
              <a:avLst/>
              <a:gdLst>
                <a:gd name="connsiteX0" fmla="*/ 1805 w 0"/>
                <a:gd name="connsiteY0" fmla="*/ 3873 h 0"/>
                <a:gd name="connsiteX1" fmla="*/ 743 w 0"/>
                <a:gd name="connsiteY1" fmla="*/ 0 h 0"/>
                <a:gd name="connsiteX2" fmla="*/ 1805 w 0"/>
                <a:gd name="connsiteY2" fmla="*/ 3873 h 0"/>
              </a:gdLst>
              <a:ahLst/>
              <a:cxnLst>
                <a:cxn ang="0">
                  <a:pos x="connsiteX0" y="connsiteY0"/>
                </a:cxn>
                <a:cxn ang="0">
                  <a:pos x="connsiteX1" y="connsiteY1"/>
                </a:cxn>
                <a:cxn ang="0">
                  <a:pos x="connsiteX2" y="connsiteY2"/>
                </a:cxn>
              </a:cxnLst>
              <a:rect l="l" t="t" r="r" b="b"/>
              <a:pathLst>
                <a:path>
                  <a:moveTo>
                    <a:pt x="1805" y="3873"/>
                  </a:moveTo>
                  <a:cubicBezTo>
                    <a:pt x="743" y="2748"/>
                    <a:pt x="-1006" y="1749"/>
                    <a:pt x="743" y="0"/>
                  </a:cubicBezTo>
                  <a:cubicBezTo>
                    <a:pt x="2242" y="999"/>
                    <a:pt x="1680" y="2498"/>
                    <a:pt x="1805" y="3873"/>
                  </a:cubicBezTo>
                  <a:close/>
                </a:path>
              </a:pathLst>
            </a:custGeom>
            <a:grpFill/>
            <a:ln w="6246" cap="flat">
              <a:noFill/>
              <a:prstDash val="solid"/>
              <a:miter/>
            </a:ln>
          </p:spPr>
          <p:txBody>
            <a:bodyPr rtlCol="0" anchor="ctr"/>
            <a:lstStyle/>
            <a:p>
              <a:endParaRPr lang="fr-FR" sz="2400"/>
            </a:p>
          </p:txBody>
        </p:sp>
        <p:sp>
          <p:nvSpPr>
            <p:cNvPr id="529" name="Freeform: Shape 528">
              <a:extLst>
                <a:ext uri="{FF2B5EF4-FFF2-40B4-BE49-F238E27FC236}">
                  <a16:creationId xmlns:a16="http://schemas.microsoft.com/office/drawing/2014/main" id="{A68948CF-9160-4683-9BBB-0E48ADFA042E}"/>
                </a:ext>
              </a:extLst>
            </p:cNvPr>
            <p:cNvSpPr/>
            <p:nvPr/>
          </p:nvSpPr>
          <p:spPr>
            <a:xfrm>
              <a:off x="1166591" y="586629"/>
              <a:ext cx="74953" cy="49969"/>
            </a:xfrm>
            <a:custGeom>
              <a:avLst/>
              <a:gdLst>
                <a:gd name="connsiteX0" fmla="*/ 42864 w 74952"/>
                <a:gd name="connsiteY0" fmla="*/ 54091 h 49968"/>
                <a:gd name="connsiteX1" fmla="*/ 42302 w 74952"/>
                <a:gd name="connsiteY1" fmla="*/ 54091 h 49968"/>
                <a:gd name="connsiteX2" fmla="*/ 41740 w 74952"/>
                <a:gd name="connsiteY2" fmla="*/ 54091 h 49968"/>
                <a:gd name="connsiteX3" fmla="*/ 40241 w 74952"/>
                <a:gd name="connsiteY3" fmla="*/ 52217 h 49968"/>
                <a:gd name="connsiteX4" fmla="*/ 39492 w 74952"/>
                <a:gd name="connsiteY4" fmla="*/ 50218 h 49968"/>
                <a:gd name="connsiteX5" fmla="*/ 33370 w 74952"/>
                <a:gd name="connsiteY5" fmla="*/ 46221 h 49968"/>
                <a:gd name="connsiteX6" fmla="*/ 27562 w 74952"/>
                <a:gd name="connsiteY6" fmla="*/ 42411 h 49968"/>
                <a:gd name="connsiteX7" fmla="*/ 25938 w 74952"/>
                <a:gd name="connsiteY7" fmla="*/ 41037 h 49968"/>
                <a:gd name="connsiteX8" fmla="*/ 23626 w 74952"/>
                <a:gd name="connsiteY8" fmla="*/ 37601 h 49968"/>
                <a:gd name="connsiteX9" fmla="*/ 17255 w 74952"/>
                <a:gd name="connsiteY9" fmla="*/ 28794 h 49968"/>
                <a:gd name="connsiteX10" fmla="*/ 4326 w 74952"/>
                <a:gd name="connsiteY10" fmla="*/ 12242 h 49968"/>
                <a:gd name="connsiteX11" fmla="*/ 2203 w 74952"/>
                <a:gd name="connsiteY11" fmla="*/ 6746 h 49968"/>
                <a:gd name="connsiteX12" fmla="*/ 79 w 74952"/>
                <a:gd name="connsiteY12" fmla="*/ 0 h 49968"/>
                <a:gd name="connsiteX13" fmla="*/ 6137 w 74952"/>
                <a:gd name="connsiteY13" fmla="*/ 5934 h 49968"/>
                <a:gd name="connsiteX14" fmla="*/ 25875 w 74952"/>
                <a:gd name="connsiteY14" fmla="*/ 29544 h 49968"/>
                <a:gd name="connsiteX15" fmla="*/ 44613 w 74952"/>
                <a:gd name="connsiteY15" fmla="*/ 44410 h 49968"/>
                <a:gd name="connsiteX16" fmla="*/ 65475 w 74952"/>
                <a:gd name="connsiteY16" fmla="*/ 50718 h 49968"/>
                <a:gd name="connsiteX17" fmla="*/ 75594 w 74952"/>
                <a:gd name="connsiteY17" fmla="*/ 50905 h 49968"/>
                <a:gd name="connsiteX18" fmla="*/ 79216 w 74952"/>
                <a:gd name="connsiteY18" fmla="*/ 52904 h 49968"/>
                <a:gd name="connsiteX19" fmla="*/ 75531 w 74952"/>
                <a:gd name="connsiteY19" fmla="*/ 55028 h 49968"/>
                <a:gd name="connsiteX20" fmla="*/ 72846 w 74952"/>
                <a:gd name="connsiteY20" fmla="*/ 55090 h 49968"/>
                <a:gd name="connsiteX21" fmla="*/ 63227 w 74952"/>
                <a:gd name="connsiteY21" fmla="*/ 55090 h 49968"/>
                <a:gd name="connsiteX22" fmla="*/ 42864 w 74952"/>
                <a:gd name="connsiteY22" fmla="*/ 54091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52" h="49968">
                  <a:moveTo>
                    <a:pt x="42864" y="54091"/>
                  </a:moveTo>
                  <a:lnTo>
                    <a:pt x="42302" y="54091"/>
                  </a:lnTo>
                  <a:lnTo>
                    <a:pt x="41740" y="54091"/>
                  </a:lnTo>
                  <a:cubicBezTo>
                    <a:pt x="41053" y="53591"/>
                    <a:pt x="40179" y="53217"/>
                    <a:pt x="40241" y="52217"/>
                  </a:cubicBezTo>
                  <a:cubicBezTo>
                    <a:pt x="40366" y="51468"/>
                    <a:pt x="40303" y="50718"/>
                    <a:pt x="39492" y="50218"/>
                  </a:cubicBezTo>
                  <a:cubicBezTo>
                    <a:pt x="37368" y="49032"/>
                    <a:pt x="35369" y="47595"/>
                    <a:pt x="33370" y="46221"/>
                  </a:cubicBezTo>
                  <a:cubicBezTo>
                    <a:pt x="31684" y="44659"/>
                    <a:pt x="29498" y="43722"/>
                    <a:pt x="27562" y="42411"/>
                  </a:cubicBezTo>
                  <a:cubicBezTo>
                    <a:pt x="26999" y="41974"/>
                    <a:pt x="26437" y="41536"/>
                    <a:pt x="25938" y="41037"/>
                  </a:cubicBezTo>
                  <a:cubicBezTo>
                    <a:pt x="24938" y="40037"/>
                    <a:pt x="24001" y="38975"/>
                    <a:pt x="23626" y="37601"/>
                  </a:cubicBezTo>
                  <a:cubicBezTo>
                    <a:pt x="24251" y="33042"/>
                    <a:pt x="20379" y="31168"/>
                    <a:pt x="17255" y="28794"/>
                  </a:cubicBezTo>
                  <a:cubicBezTo>
                    <a:pt x="12384" y="23610"/>
                    <a:pt x="7324" y="18613"/>
                    <a:pt x="4326" y="12242"/>
                  </a:cubicBezTo>
                  <a:cubicBezTo>
                    <a:pt x="3327" y="10493"/>
                    <a:pt x="1078" y="9119"/>
                    <a:pt x="2203" y="6746"/>
                  </a:cubicBezTo>
                  <a:cubicBezTo>
                    <a:pt x="2765" y="4185"/>
                    <a:pt x="-546" y="2561"/>
                    <a:pt x="79" y="0"/>
                  </a:cubicBezTo>
                  <a:cubicBezTo>
                    <a:pt x="4014" y="312"/>
                    <a:pt x="4701" y="3623"/>
                    <a:pt x="6137" y="5934"/>
                  </a:cubicBezTo>
                  <a:cubicBezTo>
                    <a:pt x="11572" y="14616"/>
                    <a:pt x="17818" y="22736"/>
                    <a:pt x="25875" y="29544"/>
                  </a:cubicBezTo>
                  <a:cubicBezTo>
                    <a:pt x="32059" y="34603"/>
                    <a:pt x="37992" y="39912"/>
                    <a:pt x="44613" y="44410"/>
                  </a:cubicBezTo>
                  <a:cubicBezTo>
                    <a:pt x="50610" y="48532"/>
                    <a:pt x="57855" y="50406"/>
                    <a:pt x="65475" y="50718"/>
                  </a:cubicBezTo>
                  <a:cubicBezTo>
                    <a:pt x="68848" y="50843"/>
                    <a:pt x="72221" y="50593"/>
                    <a:pt x="75594" y="50905"/>
                  </a:cubicBezTo>
                  <a:cubicBezTo>
                    <a:pt x="77093" y="51030"/>
                    <a:pt x="79279" y="51093"/>
                    <a:pt x="79216" y="52904"/>
                  </a:cubicBezTo>
                  <a:cubicBezTo>
                    <a:pt x="79154" y="54466"/>
                    <a:pt x="77218" y="54965"/>
                    <a:pt x="75531" y="55028"/>
                  </a:cubicBezTo>
                  <a:cubicBezTo>
                    <a:pt x="74657" y="55090"/>
                    <a:pt x="73782" y="55090"/>
                    <a:pt x="72846" y="55090"/>
                  </a:cubicBezTo>
                  <a:cubicBezTo>
                    <a:pt x="69660" y="55090"/>
                    <a:pt x="66412" y="55090"/>
                    <a:pt x="63227" y="55090"/>
                  </a:cubicBezTo>
                  <a:cubicBezTo>
                    <a:pt x="56356" y="55340"/>
                    <a:pt x="49735" y="52404"/>
                    <a:pt x="42864" y="54091"/>
                  </a:cubicBezTo>
                  <a:close/>
                </a:path>
              </a:pathLst>
            </a:custGeom>
            <a:grpFill/>
            <a:ln w="6246" cap="flat">
              <a:noFill/>
              <a:prstDash val="solid"/>
              <a:miter/>
            </a:ln>
          </p:spPr>
          <p:txBody>
            <a:bodyPr rtlCol="0" anchor="ctr"/>
            <a:lstStyle/>
            <a:p>
              <a:endParaRPr lang="fr-FR" sz="2400"/>
            </a:p>
          </p:txBody>
        </p:sp>
        <p:sp>
          <p:nvSpPr>
            <p:cNvPr id="530" name="Freeform: Shape 529">
              <a:extLst>
                <a:ext uri="{FF2B5EF4-FFF2-40B4-BE49-F238E27FC236}">
                  <a16:creationId xmlns:a16="http://schemas.microsoft.com/office/drawing/2014/main" id="{E2697E74-CC04-4924-9DF0-1F9D99A41150}"/>
                </a:ext>
              </a:extLst>
            </p:cNvPr>
            <p:cNvSpPr/>
            <p:nvPr/>
          </p:nvSpPr>
          <p:spPr>
            <a:xfrm>
              <a:off x="1166202" y="583756"/>
              <a:ext cx="24984" cy="31230"/>
            </a:xfrm>
            <a:custGeom>
              <a:avLst/>
              <a:gdLst>
                <a:gd name="connsiteX0" fmla="*/ 25078 w 24984"/>
                <a:gd name="connsiteY0" fmla="*/ 32792 h 31230"/>
                <a:gd name="connsiteX1" fmla="*/ 5778 w 24984"/>
                <a:gd name="connsiteY1" fmla="*/ 9806 h 31230"/>
                <a:gd name="connsiteX2" fmla="*/ 468 w 24984"/>
                <a:gd name="connsiteY2" fmla="*/ 2873 h 31230"/>
                <a:gd name="connsiteX3" fmla="*/ 468 w 24984"/>
                <a:gd name="connsiteY3" fmla="*/ 1936 h 31230"/>
                <a:gd name="connsiteX4" fmla="*/ 468 w 24984"/>
                <a:gd name="connsiteY4" fmla="*/ 0 h 31230"/>
                <a:gd name="connsiteX5" fmla="*/ 25390 w 24984"/>
                <a:gd name="connsiteY5" fmla="*/ 27795 h 31230"/>
                <a:gd name="connsiteX6" fmla="*/ 29388 w 24984"/>
                <a:gd name="connsiteY6" fmla="*/ 30918 h 31230"/>
                <a:gd name="connsiteX7" fmla="*/ 29325 w 24984"/>
                <a:gd name="connsiteY7" fmla="*/ 33916 h 31230"/>
                <a:gd name="connsiteX8" fmla="*/ 25078 w 24984"/>
                <a:gd name="connsiteY8" fmla="*/ 3279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31230">
                  <a:moveTo>
                    <a:pt x="25078" y="32792"/>
                  </a:moveTo>
                  <a:cubicBezTo>
                    <a:pt x="16646" y="26483"/>
                    <a:pt x="10712" y="18426"/>
                    <a:pt x="5778" y="9806"/>
                  </a:cubicBezTo>
                  <a:cubicBezTo>
                    <a:pt x="4341" y="7245"/>
                    <a:pt x="3092" y="4622"/>
                    <a:pt x="468" y="2873"/>
                  </a:cubicBezTo>
                  <a:cubicBezTo>
                    <a:pt x="468" y="2561"/>
                    <a:pt x="468" y="2249"/>
                    <a:pt x="468" y="1936"/>
                  </a:cubicBezTo>
                  <a:cubicBezTo>
                    <a:pt x="-156" y="1312"/>
                    <a:pt x="-156" y="625"/>
                    <a:pt x="468" y="0"/>
                  </a:cubicBezTo>
                  <a:cubicBezTo>
                    <a:pt x="9150" y="8994"/>
                    <a:pt x="15834" y="19488"/>
                    <a:pt x="25390" y="27795"/>
                  </a:cubicBezTo>
                  <a:cubicBezTo>
                    <a:pt x="26639" y="28919"/>
                    <a:pt x="28014" y="29856"/>
                    <a:pt x="29388" y="30918"/>
                  </a:cubicBezTo>
                  <a:cubicBezTo>
                    <a:pt x="30262" y="31917"/>
                    <a:pt x="30512" y="33042"/>
                    <a:pt x="29325" y="33916"/>
                  </a:cubicBezTo>
                  <a:cubicBezTo>
                    <a:pt x="27514" y="35103"/>
                    <a:pt x="26452" y="33167"/>
                    <a:pt x="25078" y="32792"/>
                  </a:cubicBezTo>
                  <a:close/>
                </a:path>
              </a:pathLst>
            </a:custGeom>
            <a:grpFill/>
            <a:ln w="6246" cap="flat">
              <a:noFill/>
              <a:prstDash val="solid"/>
              <a:miter/>
            </a:ln>
          </p:spPr>
          <p:txBody>
            <a:bodyPr rtlCol="0" anchor="ctr"/>
            <a:lstStyle/>
            <a:p>
              <a:endParaRPr lang="fr-FR" sz="2400"/>
            </a:p>
          </p:txBody>
        </p:sp>
        <p:sp>
          <p:nvSpPr>
            <p:cNvPr id="531" name="Freeform: Shape 530">
              <a:extLst>
                <a:ext uri="{FF2B5EF4-FFF2-40B4-BE49-F238E27FC236}">
                  <a16:creationId xmlns:a16="http://schemas.microsoft.com/office/drawing/2014/main" id="{882296A6-10E1-469D-BA9C-D81CC862ACB0}"/>
                </a:ext>
              </a:extLst>
            </p:cNvPr>
            <p:cNvSpPr/>
            <p:nvPr/>
          </p:nvSpPr>
          <p:spPr>
            <a:xfrm>
              <a:off x="1152492" y="512174"/>
              <a:ext cx="6246" cy="18738"/>
            </a:xfrm>
            <a:custGeom>
              <a:avLst/>
              <a:gdLst>
                <a:gd name="connsiteX0" fmla="*/ 1437 w 0"/>
                <a:gd name="connsiteY0" fmla="*/ 19428 h 18738"/>
                <a:gd name="connsiteX1" fmla="*/ 0 w 0"/>
                <a:gd name="connsiteY1" fmla="*/ 6499 h 18738"/>
                <a:gd name="connsiteX2" fmla="*/ 2498 w 0"/>
                <a:gd name="connsiteY2" fmla="*/ 3 h 18738"/>
                <a:gd name="connsiteX3" fmla="*/ 4560 w 0"/>
                <a:gd name="connsiteY3" fmla="*/ 2813 h 18738"/>
                <a:gd name="connsiteX4" fmla="*/ 1437 w 0"/>
                <a:gd name="connsiteY4" fmla="*/ 19428 h 18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8738">
                  <a:moveTo>
                    <a:pt x="1437" y="19428"/>
                  </a:moveTo>
                  <a:cubicBezTo>
                    <a:pt x="375" y="15181"/>
                    <a:pt x="2373" y="10621"/>
                    <a:pt x="0" y="6499"/>
                  </a:cubicBezTo>
                  <a:cubicBezTo>
                    <a:pt x="0" y="4063"/>
                    <a:pt x="1374" y="2064"/>
                    <a:pt x="2498" y="3"/>
                  </a:cubicBezTo>
                  <a:cubicBezTo>
                    <a:pt x="4872" y="-60"/>
                    <a:pt x="5496" y="940"/>
                    <a:pt x="4560" y="2813"/>
                  </a:cubicBezTo>
                  <a:cubicBezTo>
                    <a:pt x="3498" y="8372"/>
                    <a:pt x="2436" y="13932"/>
                    <a:pt x="1437" y="19428"/>
                  </a:cubicBezTo>
                  <a:close/>
                </a:path>
              </a:pathLst>
            </a:custGeom>
            <a:grpFill/>
            <a:ln w="6246" cap="flat">
              <a:noFill/>
              <a:prstDash val="solid"/>
              <a:miter/>
            </a:ln>
          </p:spPr>
          <p:txBody>
            <a:bodyPr rtlCol="0" anchor="ctr"/>
            <a:lstStyle/>
            <a:p>
              <a:endParaRPr lang="fr-FR" sz="2400"/>
            </a:p>
          </p:txBody>
        </p:sp>
        <p:sp>
          <p:nvSpPr>
            <p:cNvPr id="532" name="Freeform: Shape 531">
              <a:extLst>
                <a:ext uri="{FF2B5EF4-FFF2-40B4-BE49-F238E27FC236}">
                  <a16:creationId xmlns:a16="http://schemas.microsoft.com/office/drawing/2014/main" id="{CFCB5C38-8281-486C-9544-AD6AB623DDD9}"/>
                </a:ext>
              </a:extLst>
            </p:cNvPr>
            <p:cNvSpPr/>
            <p:nvPr/>
          </p:nvSpPr>
          <p:spPr>
            <a:xfrm>
              <a:off x="1164979" y="590502"/>
              <a:ext cx="6246" cy="6246"/>
            </a:xfrm>
            <a:custGeom>
              <a:avLst/>
              <a:gdLst>
                <a:gd name="connsiteX0" fmla="*/ 3815 w 6246"/>
                <a:gd name="connsiteY0" fmla="*/ 2811 h 6246"/>
                <a:gd name="connsiteX1" fmla="*/ 7000 w 6246"/>
                <a:gd name="connsiteY1" fmla="*/ 7620 h 6246"/>
                <a:gd name="connsiteX2" fmla="*/ 5439 w 6246"/>
                <a:gd name="connsiteY2" fmla="*/ 9369 h 6246"/>
                <a:gd name="connsiteX3" fmla="*/ 2816 w 6246"/>
                <a:gd name="connsiteY3" fmla="*/ 7932 h 6246"/>
                <a:gd name="connsiteX4" fmla="*/ 67 w 6246"/>
                <a:gd name="connsiteY4" fmla="*/ 2623 h 6246"/>
                <a:gd name="connsiteX5" fmla="*/ 505 w 6246"/>
                <a:gd name="connsiteY5" fmla="*/ 0 h 6246"/>
                <a:gd name="connsiteX6" fmla="*/ 3815 w 6246"/>
                <a:gd name="connsiteY6" fmla="*/ 28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815" y="2811"/>
                  </a:moveTo>
                  <a:cubicBezTo>
                    <a:pt x="4877" y="4435"/>
                    <a:pt x="5939" y="6059"/>
                    <a:pt x="7000" y="7620"/>
                  </a:cubicBezTo>
                  <a:cubicBezTo>
                    <a:pt x="7812" y="9244"/>
                    <a:pt x="7500" y="10056"/>
                    <a:pt x="5439" y="9369"/>
                  </a:cubicBezTo>
                  <a:cubicBezTo>
                    <a:pt x="4502" y="9057"/>
                    <a:pt x="3690" y="8432"/>
                    <a:pt x="2816" y="7932"/>
                  </a:cubicBezTo>
                  <a:cubicBezTo>
                    <a:pt x="692" y="6683"/>
                    <a:pt x="1754" y="4060"/>
                    <a:pt x="67" y="2623"/>
                  </a:cubicBezTo>
                  <a:cubicBezTo>
                    <a:pt x="-58" y="1686"/>
                    <a:pt x="-58" y="812"/>
                    <a:pt x="505" y="0"/>
                  </a:cubicBezTo>
                  <a:cubicBezTo>
                    <a:pt x="1566" y="937"/>
                    <a:pt x="2691" y="1874"/>
                    <a:pt x="3815" y="2811"/>
                  </a:cubicBezTo>
                  <a:close/>
                </a:path>
              </a:pathLst>
            </a:custGeom>
            <a:grpFill/>
            <a:ln w="6246" cap="flat">
              <a:noFill/>
              <a:prstDash val="solid"/>
              <a:miter/>
            </a:ln>
          </p:spPr>
          <p:txBody>
            <a:bodyPr rtlCol="0" anchor="ctr"/>
            <a:lstStyle/>
            <a:p>
              <a:endParaRPr lang="fr-FR" sz="2400"/>
            </a:p>
          </p:txBody>
        </p:sp>
        <p:sp>
          <p:nvSpPr>
            <p:cNvPr id="533" name="Freeform: Shape 532">
              <a:extLst>
                <a:ext uri="{FF2B5EF4-FFF2-40B4-BE49-F238E27FC236}">
                  <a16:creationId xmlns:a16="http://schemas.microsoft.com/office/drawing/2014/main" id="{1B3CE4DA-962A-44C0-A636-8E56D911073A}"/>
                </a:ext>
              </a:extLst>
            </p:cNvPr>
            <p:cNvSpPr/>
            <p:nvPr/>
          </p:nvSpPr>
          <p:spPr>
            <a:xfrm>
              <a:off x="1155884" y="505243"/>
              <a:ext cx="6246" cy="6246"/>
            </a:xfrm>
            <a:custGeom>
              <a:avLst/>
              <a:gdLst>
                <a:gd name="connsiteX0" fmla="*/ 1979 w 0"/>
                <a:gd name="connsiteY0" fmla="*/ 0 h 0"/>
                <a:gd name="connsiteX1" fmla="*/ 3353 w 0"/>
                <a:gd name="connsiteY1" fmla="*/ 2186 h 0"/>
                <a:gd name="connsiteX2" fmla="*/ 2291 w 0"/>
                <a:gd name="connsiteY2" fmla="*/ 5934 h 0"/>
                <a:gd name="connsiteX3" fmla="*/ 43 w 0"/>
                <a:gd name="connsiteY3" fmla="*/ 4934 h 0"/>
                <a:gd name="connsiteX4" fmla="*/ 1979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979" y="0"/>
                  </a:moveTo>
                  <a:cubicBezTo>
                    <a:pt x="2978" y="437"/>
                    <a:pt x="3228" y="1312"/>
                    <a:pt x="3353" y="2186"/>
                  </a:cubicBezTo>
                  <a:cubicBezTo>
                    <a:pt x="2978" y="3435"/>
                    <a:pt x="2604" y="4685"/>
                    <a:pt x="2291" y="5934"/>
                  </a:cubicBezTo>
                  <a:cubicBezTo>
                    <a:pt x="1042" y="6496"/>
                    <a:pt x="480" y="5871"/>
                    <a:pt x="43" y="4934"/>
                  </a:cubicBezTo>
                  <a:cubicBezTo>
                    <a:pt x="-207" y="2998"/>
                    <a:pt x="667" y="1437"/>
                    <a:pt x="1979" y="0"/>
                  </a:cubicBezTo>
                  <a:close/>
                </a:path>
              </a:pathLst>
            </a:custGeom>
            <a:grpFill/>
            <a:ln w="6246" cap="flat">
              <a:noFill/>
              <a:prstDash val="solid"/>
              <a:miter/>
            </a:ln>
          </p:spPr>
          <p:txBody>
            <a:bodyPr rtlCol="0" anchor="ctr"/>
            <a:lstStyle/>
            <a:p>
              <a:endParaRPr lang="fr-FR" sz="2400"/>
            </a:p>
          </p:txBody>
        </p:sp>
        <p:sp>
          <p:nvSpPr>
            <p:cNvPr id="534" name="Freeform: Shape 533">
              <a:extLst>
                <a:ext uri="{FF2B5EF4-FFF2-40B4-BE49-F238E27FC236}">
                  <a16:creationId xmlns:a16="http://schemas.microsoft.com/office/drawing/2014/main" id="{30734068-65DD-4D4D-894A-99CDDAEB0F94}"/>
                </a:ext>
              </a:extLst>
            </p:cNvPr>
            <p:cNvSpPr/>
            <p:nvPr/>
          </p:nvSpPr>
          <p:spPr>
            <a:xfrm>
              <a:off x="1161299" y="574012"/>
              <a:ext cx="6246" cy="6246"/>
            </a:xfrm>
            <a:custGeom>
              <a:avLst/>
              <a:gdLst>
                <a:gd name="connsiteX0" fmla="*/ 0 w 0"/>
                <a:gd name="connsiteY0" fmla="*/ 0 h 6246"/>
                <a:gd name="connsiteX1" fmla="*/ 3186 w 0"/>
                <a:gd name="connsiteY1" fmla="*/ 7745 h 6246"/>
                <a:gd name="connsiteX2" fmla="*/ 0 w 0"/>
                <a:gd name="connsiteY2" fmla="*/ 0 h 6246"/>
              </a:gdLst>
              <a:ahLst/>
              <a:cxnLst>
                <a:cxn ang="0">
                  <a:pos x="connsiteX0" y="connsiteY0"/>
                </a:cxn>
                <a:cxn ang="0">
                  <a:pos x="connsiteX1" y="connsiteY1"/>
                </a:cxn>
                <a:cxn ang="0">
                  <a:pos x="connsiteX2" y="connsiteY2"/>
                </a:cxn>
              </a:cxnLst>
              <a:rect l="l" t="t" r="r" b="b"/>
              <a:pathLst>
                <a:path h="6246">
                  <a:moveTo>
                    <a:pt x="0" y="0"/>
                  </a:moveTo>
                  <a:cubicBezTo>
                    <a:pt x="2561" y="2061"/>
                    <a:pt x="3685" y="4622"/>
                    <a:pt x="3186" y="7745"/>
                  </a:cubicBezTo>
                  <a:cubicBezTo>
                    <a:pt x="937" y="5559"/>
                    <a:pt x="312" y="2811"/>
                    <a:pt x="0" y="0"/>
                  </a:cubicBezTo>
                  <a:close/>
                </a:path>
              </a:pathLst>
            </a:custGeom>
            <a:grpFill/>
            <a:ln w="6246" cap="flat">
              <a:noFill/>
              <a:prstDash val="solid"/>
              <a:miter/>
            </a:ln>
          </p:spPr>
          <p:txBody>
            <a:bodyPr rtlCol="0" anchor="ctr"/>
            <a:lstStyle/>
            <a:p>
              <a:endParaRPr lang="fr-FR" sz="2400"/>
            </a:p>
          </p:txBody>
        </p:sp>
        <p:sp>
          <p:nvSpPr>
            <p:cNvPr id="535" name="Freeform: Shape 534">
              <a:extLst>
                <a:ext uri="{FF2B5EF4-FFF2-40B4-BE49-F238E27FC236}">
                  <a16:creationId xmlns:a16="http://schemas.microsoft.com/office/drawing/2014/main" id="{D2E6E504-6E08-4180-A7EF-259792DF3167}"/>
                </a:ext>
              </a:extLst>
            </p:cNvPr>
            <p:cNvSpPr/>
            <p:nvPr/>
          </p:nvSpPr>
          <p:spPr>
            <a:xfrm>
              <a:off x="1152343" y="532476"/>
              <a:ext cx="6246" cy="6246"/>
            </a:xfrm>
            <a:custGeom>
              <a:avLst/>
              <a:gdLst>
                <a:gd name="connsiteX0" fmla="*/ 1336 w 0"/>
                <a:gd name="connsiteY0" fmla="*/ 9681 h 6246"/>
                <a:gd name="connsiteX1" fmla="*/ 1398 w 0"/>
                <a:gd name="connsiteY1" fmla="*/ 0 h 6246"/>
                <a:gd name="connsiteX2" fmla="*/ 1336 w 0"/>
                <a:gd name="connsiteY2" fmla="*/ 9681 h 6246"/>
              </a:gdLst>
              <a:ahLst/>
              <a:cxnLst>
                <a:cxn ang="0">
                  <a:pos x="connsiteX0" y="connsiteY0"/>
                </a:cxn>
                <a:cxn ang="0">
                  <a:pos x="connsiteX1" y="connsiteY1"/>
                </a:cxn>
                <a:cxn ang="0">
                  <a:pos x="connsiteX2" y="connsiteY2"/>
                </a:cxn>
              </a:cxnLst>
              <a:rect l="l" t="t" r="r" b="b"/>
              <a:pathLst>
                <a:path h="6246">
                  <a:moveTo>
                    <a:pt x="1336" y="9681"/>
                  </a:moveTo>
                  <a:cubicBezTo>
                    <a:pt x="399" y="6433"/>
                    <a:pt x="-1163" y="3186"/>
                    <a:pt x="1398" y="0"/>
                  </a:cubicBezTo>
                  <a:cubicBezTo>
                    <a:pt x="1398" y="3186"/>
                    <a:pt x="1398" y="6433"/>
                    <a:pt x="1336" y="9681"/>
                  </a:cubicBezTo>
                  <a:close/>
                </a:path>
              </a:pathLst>
            </a:custGeom>
            <a:grpFill/>
            <a:ln w="6246" cap="flat">
              <a:noFill/>
              <a:prstDash val="solid"/>
              <a:miter/>
            </a:ln>
          </p:spPr>
          <p:txBody>
            <a:bodyPr rtlCol="0" anchor="ctr"/>
            <a:lstStyle/>
            <a:p>
              <a:endParaRPr lang="fr-FR" sz="2400"/>
            </a:p>
          </p:txBody>
        </p:sp>
        <p:sp>
          <p:nvSpPr>
            <p:cNvPr id="536" name="Freeform: Shape 535">
              <a:extLst>
                <a:ext uri="{FF2B5EF4-FFF2-40B4-BE49-F238E27FC236}">
                  <a16:creationId xmlns:a16="http://schemas.microsoft.com/office/drawing/2014/main" id="{2E4CF670-8C39-4323-8839-74C1098395A3}"/>
                </a:ext>
              </a:extLst>
            </p:cNvPr>
            <p:cNvSpPr/>
            <p:nvPr/>
          </p:nvSpPr>
          <p:spPr>
            <a:xfrm>
              <a:off x="1159164" y="575824"/>
              <a:ext cx="6246" cy="6246"/>
            </a:xfrm>
            <a:custGeom>
              <a:avLst/>
              <a:gdLst>
                <a:gd name="connsiteX0" fmla="*/ 2135 w 0"/>
                <a:gd name="connsiteY0" fmla="*/ 6871 h 6246"/>
                <a:gd name="connsiteX1" fmla="*/ 73 w 0"/>
                <a:gd name="connsiteY1" fmla="*/ 0 h 6246"/>
                <a:gd name="connsiteX2" fmla="*/ 2135 w 0"/>
                <a:gd name="connsiteY2" fmla="*/ 6871 h 6246"/>
              </a:gdLst>
              <a:ahLst/>
              <a:cxnLst>
                <a:cxn ang="0">
                  <a:pos x="connsiteX0" y="connsiteY0"/>
                </a:cxn>
                <a:cxn ang="0">
                  <a:pos x="connsiteX1" y="connsiteY1"/>
                </a:cxn>
                <a:cxn ang="0">
                  <a:pos x="connsiteX2" y="connsiteY2"/>
                </a:cxn>
              </a:cxnLst>
              <a:rect l="l" t="t" r="r" b="b"/>
              <a:pathLst>
                <a:path h="6246">
                  <a:moveTo>
                    <a:pt x="2135" y="6871"/>
                  </a:moveTo>
                  <a:cubicBezTo>
                    <a:pt x="-301" y="4997"/>
                    <a:pt x="-52" y="2498"/>
                    <a:pt x="73" y="0"/>
                  </a:cubicBezTo>
                  <a:cubicBezTo>
                    <a:pt x="1572" y="2124"/>
                    <a:pt x="2447" y="4372"/>
                    <a:pt x="2135" y="6871"/>
                  </a:cubicBezTo>
                  <a:close/>
                </a:path>
              </a:pathLst>
            </a:custGeom>
            <a:grpFill/>
            <a:ln w="6246" cap="flat">
              <a:noFill/>
              <a:prstDash val="solid"/>
              <a:miter/>
            </a:ln>
          </p:spPr>
          <p:txBody>
            <a:bodyPr rtlCol="0" anchor="ctr"/>
            <a:lstStyle/>
            <a:p>
              <a:endParaRPr lang="fr-FR" sz="2400"/>
            </a:p>
          </p:txBody>
        </p:sp>
        <p:sp>
          <p:nvSpPr>
            <p:cNvPr id="537" name="Freeform: Shape 536">
              <a:extLst>
                <a:ext uri="{FF2B5EF4-FFF2-40B4-BE49-F238E27FC236}">
                  <a16:creationId xmlns:a16="http://schemas.microsoft.com/office/drawing/2014/main" id="{0C4A975F-4F55-4EA6-9280-9FE78991E41B}"/>
                </a:ext>
              </a:extLst>
            </p:cNvPr>
            <p:cNvSpPr/>
            <p:nvPr/>
          </p:nvSpPr>
          <p:spPr>
            <a:xfrm>
              <a:off x="1154942" y="510178"/>
              <a:ext cx="6246" cy="6246"/>
            </a:xfrm>
            <a:custGeom>
              <a:avLst/>
              <a:gdLst>
                <a:gd name="connsiteX0" fmla="*/ 985 w 0"/>
                <a:gd name="connsiteY0" fmla="*/ 0 h 0"/>
                <a:gd name="connsiteX1" fmla="*/ 3233 w 0"/>
                <a:gd name="connsiteY1" fmla="*/ 999 h 0"/>
                <a:gd name="connsiteX2" fmla="*/ 2109 w 0"/>
                <a:gd name="connsiteY2" fmla="*/ 4809 h 0"/>
                <a:gd name="connsiteX3" fmla="*/ 48 w 0"/>
                <a:gd name="connsiteY3" fmla="*/ 1999 h 0"/>
                <a:gd name="connsiteX4" fmla="*/ 985 w 0"/>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985" y="0"/>
                  </a:moveTo>
                  <a:cubicBezTo>
                    <a:pt x="1734" y="312"/>
                    <a:pt x="2484" y="687"/>
                    <a:pt x="3233" y="999"/>
                  </a:cubicBezTo>
                  <a:cubicBezTo>
                    <a:pt x="3046" y="2311"/>
                    <a:pt x="3546" y="3810"/>
                    <a:pt x="2109" y="4809"/>
                  </a:cubicBezTo>
                  <a:cubicBezTo>
                    <a:pt x="1984" y="3560"/>
                    <a:pt x="1422" y="2498"/>
                    <a:pt x="48" y="1999"/>
                  </a:cubicBezTo>
                  <a:cubicBezTo>
                    <a:pt x="-140" y="1187"/>
                    <a:pt x="235" y="500"/>
                    <a:pt x="985" y="0"/>
                  </a:cubicBezTo>
                  <a:close/>
                </a:path>
              </a:pathLst>
            </a:custGeom>
            <a:grpFill/>
            <a:ln w="6246" cap="flat">
              <a:noFill/>
              <a:prstDash val="solid"/>
              <a:miter/>
            </a:ln>
          </p:spPr>
          <p:txBody>
            <a:bodyPr rtlCol="0" anchor="ctr"/>
            <a:lstStyle/>
            <a:p>
              <a:endParaRPr lang="fr-FR" sz="2400"/>
            </a:p>
          </p:txBody>
        </p:sp>
        <p:sp>
          <p:nvSpPr>
            <p:cNvPr id="538" name="Freeform: Shape 537">
              <a:extLst>
                <a:ext uri="{FF2B5EF4-FFF2-40B4-BE49-F238E27FC236}">
                  <a16:creationId xmlns:a16="http://schemas.microsoft.com/office/drawing/2014/main" id="{F467BB5A-F557-4A59-90B7-F4E2D61BD4C9}"/>
                </a:ext>
              </a:extLst>
            </p:cNvPr>
            <p:cNvSpPr/>
            <p:nvPr/>
          </p:nvSpPr>
          <p:spPr>
            <a:xfrm>
              <a:off x="1160629" y="585755"/>
              <a:ext cx="6246" cy="6246"/>
            </a:xfrm>
            <a:custGeom>
              <a:avLst/>
              <a:gdLst>
                <a:gd name="connsiteX0" fmla="*/ 732 w 0"/>
                <a:gd name="connsiteY0" fmla="*/ 3623 h 0"/>
                <a:gd name="connsiteX1" fmla="*/ 1606 w 0"/>
                <a:gd name="connsiteY1" fmla="*/ 0 h 0"/>
                <a:gd name="connsiteX2" fmla="*/ 3043 w 0"/>
                <a:gd name="connsiteY2" fmla="*/ 2623 h 0"/>
                <a:gd name="connsiteX3" fmla="*/ 732 w 0"/>
                <a:gd name="connsiteY3" fmla="*/ 3623 h 0"/>
              </a:gdLst>
              <a:ahLst/>
              <a:cxnLst>
                <a:cxn ang="0">
                  <a:pos x="connsiteX0" y="connsiteY0"/>
                </a:cxn>
                <a:cxn ang="0">
                  <a:pos x="connsiteX1" y="connsiteY1"/>
                </a:cxn>
                <a:cxn ang="0">
                  <a:pos x="connsiteX2" y="connsiteY2"/>
                </a:cxn>
                <a:cxn ang="0">
                  <a:pos x="connsiteX3" y="connsiteY3"/>
                </a:cxn>
              </a:cxnLst>
              <a:rect l="l" t="t" r="r" b="b"/>
              <a:pathLst>
                <a:path>
                  <a:moveTo>
                    <a:pt x="732" y="3623"/>
                  </a:moveTo>
                  <a:cubicBezTo>
                    <a:pt x="-767" y="2061"/>
                    <a:pt x="295" y="999"/>
                    <a:pt x="1606" y="0"/>
                  </a:cubicBezTo>
                  <a:cubicBezTo>
                    <a:pt x="2793" y="562"/>
                    <a:pt x="2918" y="1562"/>
                    <a:pt x="3043" y="2623"/>
                  </a:cubicBezTo>
                  <a:cubicBezTo>
                    <a:pt x="2418" y="3310"/>
                    <a:pt x="1981" y="4247"/>
                    <a:pt x="732" y="3623"/>
                  </a:cubicBezTo>
                  <a:close/>
                </a:path>
              </a:pathLst>
            </a:custGeom>
            <a:grpFill/>
            <a:ln w="6246" cap="flat">
              <a:noFill/>
              <a:prstDash val="solid"/>
              <a:miter/>
            </a:ln>
          </p:spPr>
          <p:txBody>
            <a:bodyPr rtlCol="0" anchor="ctr"/>
            <a:lstStyle/>
            <a:p>
              <a:endParaRPr lang="fr-FR" sz="2400"/>
            </a:p>
          </p:txBody>
        </p:sp>
        <p:sp>
          <p:nvSpPr>
            <p:cNvPr id="539" name="Freeform: Shape 538">
              <a:extLst>
                <a:ext uri="{FF2B5EF4-FFF2-40B4-BE49-F238E27FC236}">
                  <a16:creationId xmlns:a16="http://schemas.microsoft.com/office/drawing/2014/main" id="{13161E1F-7F5B-4724-BB28-362CAFFA8BF7}"/>
                </a:ext>
              </a:extLst>
            </p:cNvPr>
            <p:cNvSpPr/>
            <p:nvPr/>
          </p:nvSpPr>
          <p:spPr>
            <a:xfrm>
              <a:off x="1163758" y="590377"/>
              <a:ext cx="6246" cy="6246"/>
            </a:xfrm>
            <a:custGeom>
              <a:avLst/>
              <a:gdLst>
                <a:gd name="connsiteX0" fmla="*/ 1725 w 0"/>
                <a:gd name="connsiteY0" fmla="*/ 125 h 0"/>
                <a:gd name="connsiteX1" fmla="*/ 1912 w 0"/>
                <a:gd name="connsiteY1" fmla="*/ 2811 h 0"/>
                <a:gd name="connsiteX2" fmla="*/ 1725 w 0"/>
                <a:gd name="connsiteY2" fmla="*/ 4060 h 0"/>
                <a:gd name="connsiteX3" fmla="*/ 788 w 0"/>
                <a:gd name="connsiteY3" fmla="*/ 0 h 0"/>
                <a:gd name="connsiteX4" fmla="*/ 1725 w 0"/>
                <a:gd name="connsiteY4" fmla="*/ 12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1725" y="125"/>
                  </a:moveTo>
                  <a:cubicBezTo>
                    <a:pt x="1788" y="999"/>
                    <a:pt x="1850" y="1874"/>
                    <a:pt x="1912" y="2811"/>
                  </a:cubicBezTo>
                  <a:cubicBezTo>
                    <a:pt x="2350" y="3248"/>
                    <a:pt x="2287" y="3685"/>
                    <a:pt x="1725" y="4060"/>
                  </a:cubicBezTo>
                  <a:cubicBezTo>
                    <a:pt x="-1710" y="3310"/>
                    <a:pt x="1100" y="1374"/>
                    <a:pt x="788" y="0"/>
                  </a:cubicBezTo>
                  <a:cubicBezTo>
                    <a:pt x="1163" y="0"/>
                    <a:pt x="1413" y="0"/>
                    <a:pt x="1725" y="125"/>
                  </a:cubicBezTo>
                  <a:close/>
                </a:path>
              </a:pathLst>
            </a:custGeom>
            <a:grpFill/>
            <a:ln w="6246" cap="flat">
              <a:noFill/>
              <a:prstDash val="solid"/>
              <a:miter/>
            </a:ln>
          </p:spPr>
          <p:txBody>
            <a:bodyPr rtlCol="0" anchor="ctr"/>
            <a:lstStyle/>
            <a:p>
              <a:endParaRPr lang="fr-FR" sz="2400"/>
            </a:p>
          </p:txBody>
        </p:sp>
        <p:sp>
          <p:nvSpPr>
            <p:cNvPr id="540" name="Freeform: Shape 539">
              <a:extLst>
                <a:ext uri="{FF2B5EF4-FFF2-40B4-BE49-F238E27FC236}">
                  <a16:creationId xmlns:a16="http://schemas.microsoft.com/office/drawing/2014/main" id="{312CBA53-481A-4916-9038-88C5ECE950AB}"/>
                </a:ext>
              </a:extLst>
            </p:cNvPr>
            <p:cNvSpPr/>
            <p:nvPr/>
          </p:nvSpPr>
          <p:spPr>
            <a:xfrm>
              <a:off x="1164547" y="581758"/>
              <a:ext cx="6246" cy="6246"/>
            </a:xfrm>
            <a:custGeom>
              <a:avLst/>
              <a:gdLst>
                <a:gd name="connsiteX0" fmla="*/ 2124 w 0"/>
                <a:gd name="connsiteY0" fmla="*/ 1936 h 0"/>
                <a:gd name="connsiteX1" fmla="*/ 2124 w 0"/>
                <a:gd name="connsiteY1" fmla="*/ 3873 h 0"/>
                <a:gd name="connsiteX2" fmla="*/ 0 w 0"/>
                <a:gd name="connsiteY2" fmla="*/ 0 h 0"/>
                <a:gd name="connsiteX3" fmla="*/ 212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2124" y="1936"/>
                  </a:moveTo>
                  <a:cubicBezTo>
                    <a:pt x="2124" y="2561"/>
                    <a:pt x="2124" y="3248"/>
                    <a:pt x="2124" y="3873"/>
                  </a:cubicBezTo>
                  <a:cubicBezTo>
                    <a:pt x="749" y="2873"/>
                    <a:pt x="187" y="1562"/>
                    <a:pt x="0" y="0"/>
                  </a:cubicBezTo>
                  <a:cubicBezTo>
                    <a:pt x="687" y="625"/>
                    <a:pt x="1374" y="1312"/>
                    <a:pt x="2124" y="1936"/>
                  </a:cubicBezTo>
                  <a:close/>
                </a:path>
              </a:pathLst>
            </a:custGeom>
            <a:grpFill/>
            <a:ln w="6246" cap="flat">
              <a:noFill/>
              <a:prstDash val="solid"/>
              <a:miter/>
            </a:ln>
          </p:spPr>
          <p:txBody>
            <a:bodyPr rtlCol="0" anchor="ctr"/>
            <a:lstStyle/>
            <a:p>
              <a:endParaRPr lang="fr-FR" sz="2400"/>
            </a:p>
          </p:txBody>
        </p:sp>
        <p:sp>
          <p:nvSpPr>
            <p:cNvPr id="541" name="Freeform: Shape 540">
              <a:extLst>
                <a:ext uri="{FF2B5EF4-FFF2-40B4-BE49-F238E27FC236}">
                  <a16:creationId xmlns:a16="http://schemas.microsoft.com/office/drawing/2014/main" id="{AAE155D9-FD3F-4AF9-B559-5FFEF8E9FA52}"/>
                </a:ext>
              </a:extLst>
            </p:cNvPr>
            <p:cNvSpPr/>
            <p:nvPr/>
          </p:nvSpPr>
          <p:spPr>
            <a:xfrm>
              <a:off x="1161361" y="588378"/>
              <a:ext cx="6246" cy="6246"/>
            </a:xfrm>
            <a:custGeom>
              <a:avLst/>
              <a:gdLst>
                <a:gd name="connsiteX0" fmla="*/ 0 w 0"/>
                <a:gd name="connsiteY0" fmla="*/ 999 h 0"/>
                <a:gd name="connsiteX1" fmla="*/ 2311 w 0"/>
                <a:gd name="connsiteY1" fmla="*/ 0 h 0"/>
                <a:gd name="connsiteX2" fmla="*/ 3248 w 0"/>
                <a:gd name="connsiteY2" fmla="*/ 1999 h 0"/>
                <a:gd name="connsiteX3" fmla="*/ 0 w 0"/>
                <a:gd name="connsiteY3" fmla="*/ 999 h 0"/>
              </a:gdLst>
              <a:ahLst/>
              <a:cxnLst>
                <a:cxn ang="0">
                  <a:pos x="connsiteX0" y="connsiteY0"/>
                </a:cxn>
                <a:cxn ang="0">
                  <a:pos x="connsiteX1" y="connsiteY1"/>
                </a:cxn>
                <a:cxn ang="0">
                  <a:pos x="connsiteX2" y="connsiteY2"/>
                </a:cxn>
                <a:cxn ang="0">
                  <a:pos x="connsiteX3" y="connsiteY3"/>
                </a:cxn>
              </a:cxnLst>
              <a:rect l="l" t="t" r="r" b="b"/>
              <a:pathLst>
                <a:path>
                  <a:moveTo>
                    <a:pt x="0" y="999"/>
                  </a:moveTo>
                  <a:cubicBezTo>
                    <a:pt x="749" y="687"/>
                    <a:pt x="1562" y="312"/>
                    <a:pt x="2311" y="0"/>
                  </a:cubicBezTo>
                  <a:cubicBezTo>
                    <a:pt x="2623" y="687"/>
                    <a:pt x="2936" y="1312"/>
                    <a:pt x="3248" y="1999"/>
                  </a:cubicBezTo>
                  <a:cubicBezTo>
                    <a:pt x="1749" y="2811"/>
                    <a:pt x="562" y="2748"/>
                    <a:pt x="0" y="999"/>
                  </a:cubicBezTo>
                  <a:close/>
                </a:path>
              </a:pathLst>
            </a:custGeom>
            <a:grpFill/>
            <a:ln w="6246" cap="flat">
              <a:noFill/>
              <a:prstDash val="solid"/>
              <a:miter/>
            </a:ln>
          </p:spPr>
          <p:txBody>
            <a:bodyPr rtlCol="0" anchor="ctr"/>
            <a:lstStyle/>
            <a:p>
              <a:endParaRPr lang="fr-FR" sz="2400"/>
            </a:p>
          </p:txBody>
        </p:sp>
        <p:sp>
          <p:nvSpPr>
            <p:cNvPr id="542" name="Freeform: Shape 541">
              <a:extLst>
                <a:ext uri="{FF2B5EF4-FFF2-40B4-BE49-F238E27FC236}">
                  <a16:creationId xmlns:a16="http://schemas.microsoft.com/office/drawing/2014/main" id="{BA841942-90E9-49CB-B26A-2E77976000A5}"/>
                </a:ext>
              </a:extLst>
            </p:cNvPr>
            <p:cNvSpPr/>
            <p:nvPr/>
          </p:nvSpPr>
          <p:spPr>
            <a:xfrm>
              <a:off x="1156215" y="500232"/>
              <a:ext cx="6246" cy="6246"/>
            </a:xfrm>
            <a:custGeom>
              <a:avLst/>
              <a:gdLst>
                <a:gd name="connsiteX0" fmla="*/ 2960 w 0"/>
                <a:gd name="connsiteY0" fmla="*/ 327 h 0"/>
                <a:gd name="connsiteX1" fmla="*/ 1961 w 0"/>
                <a:gd name="connsiteY1" fmla="*/ 3325 h 0"/>
                <a:gd name="connsiteX2" fmla="*/ 274 w 0"/>
                <a:gd name="connsiteY2" fmla="*/ 1263 h 0"/>
                <a:gd name="connsiteX3" fmla="*/ 2960 w 0"/>
                <a:gd name="connsiteY3" fmla="*/ 327 h 0"/>
              </a:gdLst>
              <a:ahLst/>
              <a:cxnLst>
                <a:cxn ang="0">
                  <a:pos x="connsiteX0" y="connsiteY0"/>
                </a:cxn>
                <a:cxn ang="0">
                  <a:pos x="connsiteX1" y="connsiteY1"/>
                </a:cxn>
                <a:cxn ang="0">
                  <a:pos x="connsiteX2" y="connsiteY2"/>
                </a:cxn>
                <a:cxn ang="0">
                  <a:pos x="connsiteX3" y="connsiteY3"/>
                </a:cxn>
              </a:cxnLst>
              <a:rect l="l" t="t" r="r" b="b"/>
              <a:pathLst>
                <a:path>
                  <a:moveTo>
                    <a:pt x="2960" y="327"/>
                  </a:moveTo>
                  <a:cubicBezTo>
                    <a:pt x="3085" y="1451"/>
                    <a:pt x="3023" y="2513"/>
                    <a:pt x="1961" y="3325"/>
                  </a:cubicBezTo>
                  <a:cubicBezTo>
                    <a:pt x="1836" y="2325"/>
                    <a:pt x="-850" y="3200"/>
                    <a:pt x="274" y="1263"/>
                  </a:cubicBezTo>
                  <a:cubicBezTo>
                    <a:pt x="899" y="77"/>
                    <a:pt x="1649" y="-361"/>
                    <a:pt x="2960" y="327"/>
                  </a:cubicBezTo>
                  <a:close/>
                </a:path>
              </a:pathLst>
            </a:custGeom>
            <a:grpFill/>
            <a:ln w="6246" cap="flat">
              <a:noFill/>
              <a:prstDash val="solid"/>
              <a:miter/>
            </a:ln>
          </p:spPr>
          <p:txBody>
            <a:bodyPr rtlCol="0" anchor="ctr"/>
            <a:lstStyle/>
            <a:p>
              <a:endParaRPr lang="fr-FR" sz="2400"/>
            </a:p>
          </p:txBody>
        </p:sp>
        <p:sp>
          <p:nvSpPr>
            <p:cNvPr id="543" name="Freeform: Shape 542">
              <a:extLst>
                <a:ext uri="{FF2B5EF4-FFF2-40B4-BE49-F238E27FC236}">
                  <a16:creationId xmlns:a16="http://schemas.microsoft.com/office/drawing/2014/main" id="{C0B6BDEC-3466-4358-97B2-D0E3F3C35694}"/>
                </a:ext>
              </a:extLst>
            </p:cNvPr>
            <p:cNvSpPr/>
            <p:nvPr/>
          </p:nvSpPr>
          <p:spPr>
            <a:xfrm>
              <a:off x="1213523" y="518324"/>
              <a:ext cx="137413" cy="99937"/>
            </a:xfrm>
            <a:custGeom>
              <a:avLst/>
              <a:gdLst>
                <a:gd name="connsiteX0" fmla="*/ 180 w 137413"/>
                <a:gd name="connsiteY0" fmla="*/ 78923 h 99937"/>
                <a:gd name="connsiteX1" fmla="*/ 3365 w 137413"/>
                <a:gd name="connsiteY1" fmla="*/ 76987 h 99937"/>
                <a:gd name="connsiteX2" fmla="*/ 17793 w 137413"/>
                <a:gd name="connsiteY2" fmla="*/ 81297 h 99937"/>
                <a:gd name="connsiteX3" fmla="*/ 48337 w 137413"/>
                <a:gd name="connsiteY3" fmla="*/ 85669 h 99937"/>
                <a:gd name="connsiteX4" fmla="*/ 51522 w 137413"/>
                <a:gd name="connsiteY4" fmla="*/ 84732 h 99937"/>
                <a:gd name="connsiteX5" fmla="*/ 66013 w 137413"/>
                <a:gd name="connsiteY5" fmla="*/ 78986 h 99937"/>
                <a:gd name="connsiteX6" fmla="*/ 72322 w 137413"/>
                <a:gd name="connsiteY6" fmla="*/ 76800 h 99937"/>
                <a:gd name="connsiteX7" fmla="*/ 76382 w 137413"/>
                <a:gd name="connsiteY7" fmla="*/ 78361 h 99937"/>
                <a:gd name="connsiteX8" fmla="*/ 73009 w 137413"/>
                <a:gd name="connsiteY8" fmla="*/ 81734 h 99937"/>
                <a:gd name="connsiteX9" fmla="*/ 65638 w 137413"/>
                <a:gd name="connsiteY9" fmla="*/ 86231 h 99937"/>
                <a:gd name="connsiteX10" fmla="*/ 57394 w 137413"/>
                <a:gd name="connsiteY10" fmla="*/ 87855 h 99937"/>
                <a:gd name="connsiteX11" fmla="*/ 86063 w 137413"/>
                <a:gd name="connsiteY11" fmla="*/ 79048 h 99937"/>
                <a:gd name="connsiteX12" fmla="*/ 106987 w 137413"/>
                <a:gd name="connsiteY12" fmla="*/ 62996 h 99937"/>
                <a:gd name="connsiteX13" fmla="*/ 104426 w 137413"/>
                <a:gd name="connsiteY13" fmla="*/ 65120 h 99937"/>
                <a:gd name="connsiteX14" fmla="*/ 98430 w 137413"/>
                <a:gd name="connsiteY14" fmla="*/ 67805 h 99937"/>
                <a:gd name="connsiteX15" fmla="*/ 98867 w 137413"/>
                <a:gd name="connsiteY15" fmla="*/ 63808 h 99937"/>
                <a:gd name="connsiteX16" fmla="*/ 105176 w 137413"/>
                <a:gd name="connsiteY16" fmla="*/ 58936 h 99937"/>
                <a:gd name="connsiteX17" fmla="*/ 117231 w 137413"/>
                <a:gd name="connsiteY17" fmla="*/ 46881 h 99937"/>
                <a:gd name="connsiteX18" fmla="*/ 110048 w 137413"/>
                <a:gd name="connsiteY18" fmla="*/ 53252 h 99937"/>
                <a:gd name="connsiteX19" fmla="*/ 111609 w 137413"/>
                <a:gd name="connsiteY19" fmla="*/ 41759 h 99937"/>
                <a:gd name="connsiteX20" fmla="*/ 113671 w 137413"/>
                <a:gd name="connsiteY20" fmla="*/ 37200 h 99937"/>
                <a:gd name="connsiteX21" fmla="*/ 115482 w 137413"/>
                <a:gd name="connsiteY21" fmla="*/ 32515 h 99937"/>
                <a:gd name="connsiteX22" fmla="*/ 123727 w 137413"/>
                <a:gd name="connsiteY22" fmla="*/ 21959 h 99937"/>
                <a:gd name="connsiteX23" fmla="*/ 126288 w 137413"/>
                <a:gd name="connsiteY23" fmla="*/ 15963 h 99937"/>
                <a:gd name="connsiteX24" fmla="*/ 123414 w 137413"/>
                <a:gd name="connsiteY24" fmla="*/ 21272 h 99937"/>
                <a:gd name="connsiteX25" fmla="*/ 119042 w 137413"/>
                <a:gd name="connsiteY25" fmla="*/ 24270 h 99937"/>
                <a:gd name="connsiteX26" fmla="*/ 117855 w 137413"/>
                <a:gd name="connsiteY26" fmla="*/ 20648 h 99937"/>
                <a:gd name="connsiteX27" fmla="*/ 122228 w 137413"/>
                <a:gd name="connsiteY27" fmla="*/ 14089 h 99937"/>
                <a:gd name="connsiteX28" fmla="*/ 131222 w 137413"/>
                <a:gd name="connsiteY28" fmla="*/ 348 h 99937"/>
                <a:gd name="connsiteX29" fmla="*/ 132909 w 137413"/>
                <a:gd name="connsiteY29" fmla="*/ 535 h 99937"/>
                <a:gd name="connsiteX30" fmla="*/ 132221 w 137413"/>
                <a:gd name="connsiteY30" fmla="*/ 15276 h 99937"/>
                <a:gd name="connsiteX31" fmla="*/ 134158 w 137413"/>
                <a:gd name="connsiteY31" fmla="*/ 7281 h 99937"/>
                <a:gd name="connsiteX32" fmla="*/ 137218 w 137413"/>
                <a:gd name="connsiteY32" fmla="*/ 4345 h 99937"/>
                <a:gd name="connsiteX33" fmla="*/ 138655 w 137413"/>
                <a:gd name="connsiteY33" fmla="*/ 972 h 99937"/>
                <a:gd name="connsiteX34" fmla="*/ 140404 w 137413"/>
                <a:gd name="connsiteY34" fmla="*/ 1410 h 99937"/>
                <a:gd name="connsiteX35" fmla="*/ 129848 w 137413"/>
                <a:gd name="connsiteY35" fmla="*/ 38574 h 99937"/>
                <a:gd name="connsiteX36" fmla="*/ 134595 w 137413"/>
                <a:gd name="connsiteY36" fmla="*/ 30391 h 99937"/>
                <a:gd name="connsiteX37" fmla="*/ 136906 w 137413"/>
                <a:gd name="connsiteY37" fmla="*/ 29080 h 99937"/>
                <a:gd name="connsiteX38" fmla="*/ 136719 w 137413"/>
                <a:gd name="connsiteY38" fmla="*/ 31516 h 99937"/>
                <a:gd name="connsiteX39" fmla="*/ 131284 w 137413"/>
                <a:gd name="connsiteY39" fmla="*/ 38511 h 99937"/>
                <a:gd name="connsiteX40" fmla="*/ 134033 w 137413"/>
                <a:gd name="connsiteY40" fmla="*/ 41322 h 99937"/>
                <a:gd name="connsiteX41" fmla="*/ 117855 w 137413"/>
                <a:gd name="connsiteY41" fmla="*/ 58061 h 99937"/>
                <a:gd name="connsiteX42" fmla="*/ 114483 w 137413"/>
                <a:gd name="connsiteY42" fmla="*/ 61747 h 99937"/>
                <a:gd name="connsiteX43" fmla="*/ 130598 w 137413"/>
                <a:gd name="connsiteY43" fmla="*/ 48130 h 99937"/>
                <a:gd name="connsiteX44" fmla="*/ 135032 w 137413"/>
                <a:gd name="connsiteY44" fmla="*/ 44945 h 99937"/>
                <a:gd name="connsiteX45" fmla="*/ 131659 w 137413"/>
                <a:gd name="connsiteY45" fmla="*/ 55563 h 99937"/>
                <a:gd name="connsiteX46" fmla="*/ 127537 w 137413"/>
                <a:gd name="connsiteY46" fmla="*/ 61372 h 99937"/>
                <a:gd name="connsiteX47" fmla="*/ 125413 w 137413"/>
                <a:gd name="connsiteY47" fmla="*/ 68118 h 99937"/>
                <a:gd name="connsiteX48" fmla="*/ 123477 w 137413"/>
                <a:gd name="connsiteY48" fmla="*/ 75988 h 99937"/>
                <a:gd name="connsiteX49" fmla="*/ 120042 w 137413"/>
                <a:gd name="connsiteY49" fmla="*/ 81984 h 99937"/>
                <a:gd name="connsiteX50" fmla="*/ 115482 w 137413"/>
                <a:gd name="connsiteY50" fmla="*/ 87980 h 99937"/>
                <a:gd name="connsiteX51" fmla="*/ 108611 w 137413"/>
                <a:gd name="connsiteY51" fmla="*/ 93602 h 99937"/>
                <a:gd name="connsiteX52" fmla="*/ 104739 w 137413"/>
                <a:gd name="connsiteY52" fmla="*/ 92977 h 99937"/>
                <a:gd name="connsiteX53" fmla="*/ 102740 w 137413"/>
                <a:gd name="connsiteY53" fmla="*/ 92227 h 99937"/>
                <a:gd name="connsiteX54" fmla="*/ 105613 w 137413"/>
                <a:gd name="connsiteY54" fmla="*/ 88605 h 99937"/>
                <a:gd name="connsiteX55" fmla="*/ 107799 w 137413"/>
                <a:gd name="connsiteY55" fmla="*/ 87480 h 99937"/>
                <a:gd name="connsiteX56" fmla="*/ 107924 w 137413"/>
                <a:gd name="connsiteY56" fmla="*/ 87293 h 99937"/>
                <a:gd name="connsiteX57" fmla="*/ 107487 w 137413"/>
                <a:gd name="connsiteY57" fmla="*/ 87543 h 99937"/>
                <a:gd name="connsiteX58" fmla="*/ 101303 w 137413"/>
                <a:gd name="connsiteY58" fmla="*/ 91228 h 99937"/>
                <a:gd name="connsiteX59" fmla="*/ 91872 w 137413"/>
                <a:gd name="connsiteY59" fmla="*/ 96225 h 99937"/>
                <a:gd name="connsiteX60" fmla="*/ 83315 w 137413"/>
                <a:gd name="connsiteY60" fmla="*/ 102034 h 99937"/>
                <a:gd name="connsiteX61" fmla="*/ 67887 w 137413"/>
                <a:gd name="connsiteY61" fmla="*/ 105407 h 99937"/>
                <a:gd name="connsiteX62" fmla="*/ 61578 w 137413"/>
                <a:gd name="connsiteY62" fmla="*/ 104532 h 99937"/>
                <a:gd name="connsiteX63" fmla="*/ 57206 w 137413"/>
                <a:gd name="connsiteY63" fmla="*/ 102034 h 99937"/>
                <a:gd name="connsiteX64" fmla="*/ 56019 w 137413"/>
                <a:gd name="connsiteY64" fmla="*/ 99598 h 99937"/>
                <a:gd name="connsiteX65" fmla="*/ 50460 w 137413"/>
                <a:gd name="connsiteY65" fmla="*/ 99598 h 99937"/>
                <a:gd name="connsiteX66" fmla="*/ 37656 w 137413"/>
                <a:gd name="connsiteY66" fmla="*/ 98036 h 99937"/>
                <a:gd name="connsiteX67" fmla="*/ 20042 w 137413"/>
                <a:gd name="connsiteY67" fmla="*/ 93914 h 99937"/>
                <a:gd name="connsiteX68" fmla="*/ 55332 w 137413"/>
                <a:gd name="connsiteY68" fmla="*/ 94414 h 99937"/>
                <a:gd name="connsiteX69" fmla="*/ 67575 w 137413"/>
                <a:gd name="connsiteY69" fmla="*/ 93227 h 99937"/>
                <a:gd name="connsiteX70" fmla="*/ 75944 w 137413"/>
                <a:gd name="connsiteY70" fmla="*/ 90479 h 99937"/>
                <a:gd name="connsiteX71" fmla="*/ 67575 w 137413"/>
                <a:gd name="connsiteY71" fmla="*/ 92290 h 99937"/>
                <a:gd name="connsiteX72" fmla="*/ 45089 w 137413"/>
                <a:gd name="connsiteY72" fmla="*/ 92290 h 99937"/>
                <a:gd name="connsiteX73" fmla="*/ 34158 w 137413"/>
                <a:gd name="connsiteY73" fmla="*/ 92165 h 99937"/>
                <a:gd name="connsiteX74" fmla="*/ 11672 w 137413"/>
                <a:gd name="connsiteY74" fmla="*/ 87356 h 99937"/>
                <a:gd name="connsiteX75" fmla="*/ 4802 w 137413"/>
                <a:gd name="connsiteY75" fmla="*/ 83795 h 99937"/>
                <a:gd name="connsiteX76" fmla="*/ 679 w 137413"/>
                <a:gd name="connsiteY76" fmla="*/ 80360 h 99937"/>
                <a:gd name="connsiteX77" fmla="*/ 180 w 137413"/>
                <a:gd name="connsiteY77" fmla="*/ 78923 h 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7413" h="99937">
                  <a:moveTo>
                    <a:pt x="180" y="78923"/>
                  </a:moveTo>
                  <a:cubicBezTo>
                    <a:pt x="304" y="77049"/>
                    <a:pt x="1804" y="76987"/>
                    <a:pt x="3365" y="76987"/>
                  </a:cubicBezTo>
                  <a:cubicBezTo>
                    <a:pt x="8487" y="77487"/>
                    <a:pt x="12734" y="80235"/>
                    <a:pt x="17793" y="81297"/>
                  </a:cubicBezTo>
                  <a:cubicBezTo>
                    <a:pt x="27912" y="83420"/>
                    <a:pt x="37718" y="86543"/>
                    <a:pt x="48337" y="85669"/>
                  </a:cubicBezTo>
                  <a:cubicBezTo>
                    <a:pt x="49399" y="85357"/>
                    <a:pt x="50460" y="85044"/>
                    <a:pt x="51522" y="84732"/>
                  </a:cubicBezTo>
                  <a:cubicBezTo>
                    <a:pt x="55707" y="81422"/>
                    <a:pt x="61828" y="82171"/>
                    <a:pt x="66013" y="78986"/>
                  </a:cubicBezTo>
                  <a:cubicBezTo>
                    <a:pt x="67637" y="77049"/>
                    <a:pt x="70136" y="77362"/>
                    <a:pt x="72322" y="76800"/>
                  </a:cubicBezTo>
                  <a:cubicBezTo>
                    <a:pt x="73946" y="76800"/>
                    <a:pt x="75507" y="76800"/>
                    <a:pt x="76382" y="78361"/>
                  </a:cubicBezTo>
                  <a:cubicBezTo>
                    <a:pt x="76319" y="80297"/>
                    <a:pt x="74508" y="80922"/>
                    <a:pt x="73009" y="81734"/>
                  </a:cubicBezTo>
                  <a:cubicBezTo>
                    <a:pt x="70448" y="83108"/>
                    <a:pt x="67700" y="83983"/>
                    <a:pt x="65638" y="86231"/>
                  </a:cubicBezTo>
                  <a:cubicBezTo>
                    <a:pt x="63577" y="88480"/>
                    <a:pt x="60079" y="86918"/>
                    <a:pt x="57394" y="87855"/>
                  </a:cubicBezTo>
                  <a:cubicBezTo>
                    <a:pt x="67762" y="87106"/>
                    <a:pt x="76694" y="82484"/>
                    <a:pt x="86063" y="79048"/>
                  </a:cubicBezTo>
                  <a:cubicBezTo>
                    <a:pt x="94870" y="75550"/>
                    <a:pt x="101366" y="69554"/>
                    <a:pt x="106987" y="62996"/>
                  </a:cubicBezTo>
                  <a:cubicBezTo>
                    <a:pt x="106175" y="63433"/>
                    <a:pt x="105426" y="64432"/>
                    <a:pt x="104426" y="65120"/>
                  </a:cubicBezTo>
                  <a:cubicBezTo>
                    <a:pt x="102553" y="66244"/>
                    <a:pt x="101054" y="68118"/>
                    <a:pt x="98430" y="67805"/>
                  </a:cubicBezTo>
                  <a:cubicBezTo>
                    <a:pt x="95807" y="66244"/>
                    <a:pt x="97368" y="64932"/>
                    <a:pt x="98867" y="63808"/>
                  </a:cubicBezTo>
                  <a:cubicBezTo>
                    <a:pt x="100991" y="62184"/>
                    <a:pt x="103302" y="60810"/>
                    <a:pt x="105176" y="58936"/>
                  </a:cubicBezTo>
                  <a:cubicBezTo>
                    <a:pt x="109298" y="55001"/>
                    <a:pt x="113920" y="51566"/>
                    <a:pt x="117231" y="46881"/>
                  </a:cubicBezTo>
                  <a:cubicBezTo>
                    <a:pt x="114857" y="49067"/>
                    <a:pt x="113983" y="52565"/>
                    <a:pt x="110048" y="53252"/>
                  </a:cubicBezTo>
                  <a:cubicBezTo>
                    <a:pt x="106612" y="48567"/>
                    <a:pt x="107050" y="44820"/>
                    <a:pt x="111609" y="41759"/>
                  </a:cubicBezTo>
                  <a:cubicBezTo>
                    <a:pt x="113421" y="40510"/>
                    <a:pt x="113983" y="39136"/>
                    <a:pt x="113671" y="37200"/>
                  </a:cubicBezTo>
                  <a:cubicBezTo>
                    <a:pt x="113421" y="35388"/>
                    <a:pt x="113421" y="33265"/>
                    <a:pt x="115482" y="32515"/>
                  </a:cubicBezTo>
                  <a:cubicBezTo>
                    <a:pt x="120853" y="30579"/>
                    <a:pt x="121978" y="26144"/>
                    <a:pt x="123727" y="21959"/>
                  </a:cubicBezTo>
                  <a:cubicBezTo>
                    <a:pt x="124476" y="20148"/>
                    <a:pt x="125476" y="18461"/>
                    <a:pt x="126288" y="15963"/>
                  </a:cubicBezTo>
                  <a:cubicBezTo>
                    <a:pt x="124414" y="17837"/>
                    <a:pt x="124289" y="19711"/>
                    <a:pt x="123414" y="21272"/>
                  </a:cubicBezTo>
                  <a:cubicBezTo>
                    <a:pt x="122478" y="22834"/>
                    <a:pt x="121291" y="24208"/>
                    <a:pt x="119042" y="24270"/>
                  </a:cubicBezTo>
                  <a:cubicBezTo>
                    <a:pt x="116731" y="23583"/>
                    <a:pt x="117293" y="22084"/>
                    <a:pt x="117855" y="20648"/>
                  </a:cubicBezTo>
                  <a:cubicBezTo>
                    <a:pt x="119667" y="18649"/>
                    <a:pt x="119480" y="15588"/>
                    <a:pt x="122228" y="14089"/>
                  </a:cubicBezTo>
                  <a:cubicBezTo>
                    <a:pt x="124476" y="9092"/>
                    <a:pt x="129973" y="5907"/>
                    <a:pt x="131222" y="348"/>
                  </a:cubicBezTo>
                  <a:cubicBezTo>
                    <a:pt x="131347" y="-277"/>
                    <a:pt x="132409" y="35"/>
                    <a:pt x="132909" y="535"/>
                  </a:cubicBezTo>
                  <a:cubicBezTo>
                    <a:pt x="136344" y="5594"/>
                    <a:pt x="132971" y="10404"/>
                    <a:pt x="132221" y="15276"/>
                  </a:cubicBezTo>
                  <a:cubicBezTo>
                    <a:pt x="132721" y="12590"/>
                    <a:pt x="134095" y="10154"/>
                    <a:pt x="134158" y="7281"/>
                  </a:cubicBezTo>
                  <a:cubicBezTo>
                    <a:pt x="134220" y="5719"/>
                    <a:pt x="135344" y="4658"/>
                    <a:pt x="137218" y="4345"/>
                  </a:cubicBezTo>
                  <a:cubicBezTo>
                    <a:pt x="138592" y="3533"/>
                    <a:pt x="137968" y="1972"/>
                    <a:pt x="138655" y="972"/>
                  </a:cubicBezTo>
                  <a:cubicBezTo>
                    <a:pt x="139592" y="-339"/>
                    <a:pt x="140154" y="160"/>
                    <a:pt x="140404" y="1410"/>
                  </a:cubicBezTo>
                  <a:cubicBezTo>
                    <a:pt x="142465" y="15151"/>
                    <a:pt x="134283" y="26269"/>
                    <a:pt x="129848" y="38574"/>
                  </a:cubicBezTo>
                  <a:cubicBezTo>
                    <a:pt x="131409" y="35825"/>
                    <a:pt x="132971" y="33077"/>
                    <a:pt x="134595" y="30391"/>
                  </a:cubicBezTo>
                  <a:cubicBezTo>
                    <a:pt x="135095" y="29579"/>
                    <a:pt x="135594" y="28393"/>
                    <a:pt x="136906" y="29080"/>
                  </a:cubicBezTo>
                  <a:cubicBezTo>
                    <a:pt x="138280" y="29767"/>
                    <a:pt x="137218" y="30641"/>
                    <a:pt x="136719" y="31516"/>
                  </a:cubicBezTo>
                  <a:cubicBezTo>
                    <a:pt x="135407" y="33827"/>
                    <a:pt x="133970" y="35950"/>
                    <a:pt x="131284" y="38511"/>
                  </a:cubicBezTo>
                  <a:cubicBezTo>
                    <a:pt x="136094" y="37699"/>
                    <a:pt x="136531" y="39636"/>
                    <a:pt x="134033" y="41322"/>
                  </a:cubicBezTo>
                  <a:cubicBezTo>
                    <a:pt x="127287" y="45944"/>
                    <a:pt x="123290" y="52502"/>
                    <a:pt x="117855" y="58061"/>
                  </a:cubicBezTo>
                  <a:cubicBezTo>
                    <a:pt x="116669" y="59248"/>
                    <a:pt x="115419" y="60373"/>
                    <a:pt x="114483" y="61747"/>
                  </a:cubicBezTo>
                  <a:cubicBezTo>
                    <a:pt x="121853" y="59186"/>
                    <a:pt x="125726" y="53127"/>
                    <a:pt x="130598" y="48130"/>
                  </a:cubicBezTo>
                  <a:cubicBezTo>
                    <a:pt x="131847" y="46819"/>
                    <a:pt x="132284" y="44570"/>
                    <a:pt x="135032" y="44945"/>
                  </a:cubicBezTo>
                  <a:cubicBezTo>
                    <a:pt x="135719" y="48942"/>
                    <a:pt x="132346" y="51878"/>
                    <a:pt x="131659" y="55563"/>
                  </a:cubicBezTo>
                  <a:cubicBezTo>
                    <a:pt x="130223" y="57499"/>
                    <a:pt x="129973" y="60060"/>
                    <a:pt x="127537" y="61372"/>
                  </a:cubicBezTo>
                  <a:cubicBezTo>
                    <a:pt x="126100" y="63433"/>
                    <a:pt x="125601" y="65744"/>
                    <a:pt x="125413" y="68118"/>
                  </a:cubicBezTo>
                  <a:cubicBezTo>
                    <a:pt x="126787" y="71178"/>
                    <a:pt x="124102" y="73364"/>
                    <a:pt x="123477" y="75988"/>
                  </a:cubicBezTo>
                  <a:cubicBezTo>
                    <a:pt x="122540" y="78111"/>
                    <a:pt x="121416" y="80110"/>
                    <a:pt x="120042" y="81984"/>
                  </a:cubicBezTo>
                  <a:cubicBezTo>
                    <a:pt x="118480" y="83920"/>
                    <a:pt x="117043" y="85981"/>
                    <a:pt x="115482" y="87980"/>
                  </a:cubicBezTo>
                  <a:cubicBezTo>
                    <a:pt x="113233" y="89916"/>
                    <a:pt x="112296" y="93164"/>
                    <a:pt x="108611" y="93602"/>
                  </a:cubicBezTo>
                  <a:cubicBezTo>
                    <a:pt x="107362" y="93164"/>
                    <a:pt x="106175" y="92352"/>
                    <a:pt x="104739" y="92977"/>
                  </a:cubicBezTo>
                  <a:cubicBezTo>
                    <a:pt x="103927" y="92977"/>
                    <a:pt x="103240" y="92790"/>
                    <a:pt x="102740" y="92227"/>
                  </a:cubicBezTo>
                  <a:cubicBezTo>
                    <a:pt x="102365" y="90166"/>
                    <a:pt x="104177" y="89479"/>
                    <a:pt x="105613" y="88605"/>
                  </a:cubicBezTo>
                  <a:cubicBezTo>
                    <a:pt x="106363" y="88292"/>
                    <a:pt x="107112" y="87980"/>
                    <a:pt x="107799" y="87480"/>
                  </a:cubicBezTo>
                  <a:cubicBezTo>
                    <a:pt x="108361" y="87043"/>
                    <a:pt x="108174" y="86668"/>
                    <a:pt x="107924" y="87293"/>
                  </a:cubicBezTo>
                  <a:cubicBezTo>
                    <a:pt x="107674" y="87918"/>
                    <a:pt x="106987" y="87043"/>
                    <a:pt x="107487" y="87543"/>
                  </a:cubicBezTo>
                  <a:cubicBezTo>
                    <a:pt x="105363" y="88730"/>
                    <a:pt x="103302" y="89916"/>
                    <a:pt x="101303" y="91228"/>
                  </a:cubicBezTo>
                  <a:cubicBezTo>
                    <a:pt x="98243" y="92977"/>
                    <a:pt x="94870" y="94351"/>
                    <a:pt x="91872" y="96225"/>
                  </a:cubicBezTo>
                  <a:cubicBezTo>
                    <a:pt x="88124" y="97099"/>
                    <a:pt x="87250" y="101409"/>
                    <a:pt x="83315" y="102034"/>
                  </a:cubicBezTo>
                  <a:cubicBezTo>
                    <a:pt x="78318" y="103595"/>
                    <a:pt x="73446" y="105781"/>
                    <a:pt x="67887" y="105407"/>
                  </a:cubicBezTo>
                  <a:cubicBezTo>
                    <a:pt x="66013" y="103845"/>
                    <a:pt x="63827" y="104157"/>
                    <a:pt x="61578" y="104532"/>
                  </a:cubicBezTo>
                  <a:cubicBezTo>
                    <a:pt x="59392" y="104907"/>
                    <a:pt x="57331" y="104782"/>
                    <a:pt x="57206" y="102034"/>
                  </a:cubicBezTo>
                  <a:cubicBezTo>
                    <a:pt x="57269" y="101034"/>
                    <a:pt x="58893" y="99473"/>
                    <a:pt x="56019" y="99598"/>
                  </a:cubicBezTo>
                  <a:cubicBezTo>
                    <a:pt x="54146" y="99723"/>
                    <a:pt x="52334" y="100160"/>
                    <a:pt x="50460" y="99598"/>
                  </a:cubicBezTo>
                  <a:cubicBezTo>
                    <a:pt x="46463" y="97224"/>
                    <a:pt x="41778" y="99473"/>
                    <a:pt x="37656" y="98036"/>
                  </a:cubicBezTo>
                  <a:cubicBezTo>
                    <a:pt x="31347" y="98286"/>
                    <a:pt x="25226" y="97849"/>
                    <a:pt x="20042" y="93914"/>
                  </a:cubicBezTo>
                  <a:cubicBezTo>
                    <a:pt x="31785" y="98099"/>
                    <a:pt x="43527" y="95413"/>
                    <a:pt x="55332" y="94414"/>
                  </a:cubicBezTo>
                  <a:cubicBezTo>
                    <a:pt x="59392" y="94101"/>
                    <a:pt x="63640" y="94726"/>
                    <a:pt x="67575" y="93227"/>
                  </a:cubicBezTo>
                  <a:cubicBezTo>
                    <a:pt x="70448" y="92165"/>
                    <a:pt x="73259" y="90978"/>
                    <a:pt x="75944" y="90479"/>
                  </a:cubicBezTo>
                  <a:cubicBezTo>
                    <a:pt x="73196" y="90229"/>
                    <a:pt x="70885" y="93227"/>
                    <a:pt x="67575" y="92290"/>
                  </a:cubicBezTo>
                  <a:cubicBezTo>
                    <a:pt x="60079" y="91103"/>
                    <a:pt x="52584" y="94726"/>
                    <a:pt x="45089" y="92290"/>
                  </a:cubicBezTo>
                  <a:cubicBezTo>
                    <a:pt x="41466" y="93914"/>
                    <a:pt x="37718" y="92540"/>
                    <a:pt x="34158" y="92165"/>
                  </a:cubicBezTo>
                  <a:cubicBezTo>
                    <a:pt x="26476" y="91353"/>
                    <a:pt x="18668" y="90916"/>
                    <a:pt x="11672" y="87356"/>
                  </a:cubicBezTo>
                  <a:cubicBezTo>
                    <a:pt x="9236" y="86419"/>
                    <a:pt x="6800" y="85419"/>
                    <a:pt x="4802" y="83795"/>
                  </a:cubicBezTo>
                  <a:cubicBezTo>
                    <a:pt x="3677" y="82421"/>
                    <a:pt x="2491" y="81109"/>
                    <a:pt x="679" y="80360"/>
                  </a:cubicBezTo>
                  <a:cubicBezTo>
                    <a:pt x="180" y="80110"/>
                    <a:pt x="-258" y="79610"/>
                    <a:pt x="180" y="78923"/>
                  </a:cubicBezTo>
                  <a:close/>
                </a:path>
              </a:pathLst>
            </a:custGeom>
            <a:grpFill/>
            <a:ln w="6246" cap="flat">
              <a:noFill/>
              <a:prstDash val="solid"/>
              <a:miter/>
            </a:ln>
          </p:spPr>
          <p:txBody>
            <a:bodyPr rtlCol="0" anchor="ctr"/>
            <a:lstStyle/>
            <a:p>
              <a:endParaRPr lang="fr-FR" sz="2400"/>
            </a:p>
          </p:txBody>
        </p:sp>
        <p:sp>
          <p:nvSpPr>
            <p:cNvPr id="544" name="Freeform: Shape 543">
              <a:extLst>
                <a:ext uri="{FF2B5EF4-FFF2-40B4-BE49-F238E27FC236}">
                  <a16:creationId xmlns:a16="http://schemas.microsoft.com/office/drawing/2014/main" id="{3D1E353B-0D36-4B35-BC27-11878C722B28}"/>
                </a:ext>
              </a:extLst>
            </p:cNvPr>
            <p:cNvSpPr/>
            <p:nvPr/>
          </p:nvSpPr>
          <p:spPr>
            <a:xfrm>
              <a:off x="1257209" y="505056"/>
              <a:ext cx="81199" cy="56215"/>
            </a:xfrm>
            <a:custGeom>
              <a:avLst/>
              <a:gdLst>
                <a:gd name="connsiteX0" fmla="*/ 76356 w 81198"/>
                <a:gd name="connsiteY0" fmla="*/ 20612 h 56214"/>
                <a:gd name="connsiteX1" fmla="*/ 79104 w 81198"/>
                <a:gd name="connsiteY1" fmla="*/ 13429 h 56214"/>
                <a:gd name="connsiteX2" fmla="*/ 78979 w 81198"/>
                <a:gd name="connsiteY2" fmla="*/ 11680 h 56214"/>
                <a:gd name="connsiteX3" fmla="*/ 74170 w 81198"/>
                <a:gd name="connsiteY3" fmla="*/ 1312 h 56214"/>
                <a:gd name="connsiteX4" fmla="*/ 73670 w 81198"/>
                <a:gd name="connsiteY4" fmla="*/ 0 h 56214"/>
                <a:gd name="connsiteX5" fmla="*/ 81602 w 81198"/>
                <a:gd name="connsiteY5" fmla="*/ 10618 h 56214"/>
                <a:gd name="connsiteX6" fmla="*/ 77480 w 81198"/>
                <a:gd name="connsiteY6" fmla="*/ 26421 h 56214"/>
                <a:gd name="connsiteX7" fmla="*/ 75169 w 81198"/>
                <a:gd name="connsiteY7" fmla="*/ 32604 h 56214"/>
                <a:gd name="connsiteX8" fmla="*/ 66112 w 81198"/>
                <a:gd name="connsiteY8" fmla="*/ 40787 h 56214"/>
                <a:gd name="connsiteX9" fmla="*/ 62614 w 81198"/>
                <a:gd name="connsiteY9" fmla="*/ 46034 h 56214"/>
                <a:gd name="connsiteX10" fmla="*/ 59429 w 81198"/>
                <a:gd name="connsiteY10" fmla="*/ 38101 h 56214"/>
                <a:gd name="connsiteX11" fmla="*/ 57742 w 81198"/>
                <a:gd name="connsiteY11" fmla="*/ 46845 h 56214"/>
                <a:gd name="connsiteX12" fmla="*/ 53495 w 81198"/>
                <a:gd name="connsiteY12" fmla="*/ 48907 h 56214"/>
                <a:gd name="connsiteX13" fmla="*/ 52183 w 81198"/>
                <a:gd name="connsiteY13" fmla="*/ 45159 h 56214"/>
                <a:gd name="connsiteX14" fmla="*/ 41565 w 81198"/>
                <a:gd name="connsiteY14" fmla="*/ 36165 h 56214"/>
                <a:gd name="connsiteX15" fmla="*/ 34320 w 81198"/>
                <a:gd name="connsiteY15" fmla="*/ 35915 h 56214"/>
                <a:gd name="connsiteX16" fmla="*/ 27824 w 81198"/>
                <a:gd name="connsiteY16" fmla="*/ 36290 h 56214"/>
                <a:gd name="connsiteX17" fmla="*/ 18954 w 81198"/>
                <a:gd name="connsiteY17" fmla="*/ 39288 h 56214"/>
                <a:gd name="connsiteX18" fmla="*/ 21640 w 81198"/>
                <a:gd name="connsiteY18" fmla="*/ 42910 h 56214"/>
                <a:gd name="connsiteX19" fmla="*/ 18642 w 81198"/>
                <a:gd name="connsiteY19" fmla="*/ 45596 h 56214"/>
                <a:gd name="connsiteX20" fmla="*/ 17893 w 81198"/>
                <a:gd name="connsiteY20" fmla="*/ 51405 h 56214"/>
                <a:gd name="connsiteX21" fmla="*/ 32383 w 81198"/>
                <a:gd name="connsiteY21" fmla="*/ 55715 h 56214"/>
                <a:gd name="connsiteX22" fmla="*/ 38692 w 81198"/>
                <a:gd name="connsiteY22" fmla="*/ 55777 h 56214"/>
                <a:gd name="connsiteX23" fmla="*/ 41003 w 81198"/>
                <a:gd name="connsiteY23" fmla="*/ 55902 h 56214"/>
                <a:gd name="connsiteX24" fmla="*/ 38255 w 81198"/>
                <a:gd name="connsiteY24" fmla="*/ 60649 h 56214"/>
                <a:gd name="connsiteX25" fmla="*/ 28761 w 81198"/>
                <a:gd name="connsiteY25" fmla="*/ 61149 h 56214"/>
                <a:gd name="connsiteX26" fmla="*/ 26450 w 81198"/>
                <a:gd name="connsiteY26" fmla="*/ 60837 h 56214"/>
                <a:gd name="connsiteX27" fmla="*/ 20391 w 81198"/>
                <a:gd name="connsiteY27" fmla="*/ 58526 h 56214"/>
                <a:gd name="connsiteX28" fmla="*/ 14020 w 81198"/>
                <a:gd name="connsiteY28" fmla="*/ 56339 h 56214"/>
                <a:gd name="connsiteX29" fmla="*/ 341 w 81198"/>
                <a:gd name="connsiteY29" fmla="*/ 45721 h 56214"/>
                <a:gd name="connsiteX30" fmla="*/ 8961 w 81198"/>
                <a:gd name="connsiteY30" fmla="*/ 23298 h 56214"/>
                <a:gd name="connsiteX31" fmla="*/ 6525 w 81198"/>
                <a:gd name="connsiteY31" fmla="*/ 25234 h 56214"/>
                <a:gd name="connsiteX32" fmla="*/ 3027 w 81198"/>
                <a:gd name="connsiteY32" fmla="*/ 26296 h 56214"/>
                <a:gd name="connsiteX33" fmla="*/ 3839 w 81198"/>
                <a:gd name="connsiteY33" fmla="*/ 22923 h 56214"/>
                <a:gd name="connsiteX34" fmla="*/ 17268 w 81198"/>
                <a:gd name="connsiteY34" fmla="*/ 14991 h 56214"/>
                <a:gd name="connsiteX35" fmla="*/ 17393 w 81198"/>
                <a:gd name="connsiteY35" fmla="*/ 13679 h 56214"/>
                <a:gd name="connsiteX36" fmla="*/ 22764 w 81198"/>
                <a:gd name="connsiteY36" fmla="*/ 8994 h 56214"/>
                <a:gd name="connsiteX37" fmla="*/ 44626 w 81198"/>
                <a:gd name="connsiteY37" fmla="*/ 12305 h 56214"/>
                <a:gd name="connsiteX38" fmla="*/ 49623 w 81198"/>
                <a:gd name="connsiteY38" fmla="*/ 15553 h 56214"/>
                <a:gd name="connsiteX39" fmla="*/ 61802 w 81198"/>
                <a:gd name="connsiteY39" fmla="*/ 25546 h 56214"/>
                <a:gd name="connsiteX40" fmla="*/ 69860 w 81198"/>
                <a:gd name="connsiteY40" fmla="*/ 27733 h 56214"/>
                <a:gd name="connsiteX41" fmla="*/ 73482 w 81198"/>
                <a:gd name="connsiteY41" fmla="*/ 24859 h 56214"/>
                <a:gd name="connsiteX42" fmla="*/ 76356 w 81198"/>
                <a:gd name="connsiteY42" fmla="*/ 20612 h 5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1198" h="56214">
                  <a:moveTo>
                    <a:pt x="76356" y="20612"/>
                  </a:moveTo>
                  <a:cubicBezTo>
                    <a:pt x="77293" y="18239"/>
                    <a:pt x="78292" y="15865"/>
                    <a:pt x="79104" y="13429"/>
                  </a:cubicBezTo>
                  <a:cubicBezTo>
                    <a:pt x="79291" y="12867"/>
                    <a:pt x="79166" y="11743"/>
                    <a:pt x="78979" y="11680"/>
                  </a:cubicBezTo>
                  <a:cubicBezTo>
                    <a:pt x="72046" y="10181"/>
                    <a:pt x="75169" y="4997"/>
                    <a:pt x="74170" y="1312"/>
                  </a:cubicBezTo>
                  <a:cubicBezTo>
                    <a:pt x="74045" y="874"/>
                    <a:pt x="73857" y="437"/>
                    <a:pt x="73670" y="0"/>
                  </a:cubicBezTo>
                  <a:cubicBezTo>
                    <a:pt x="78917" y="625"/>
                    <a:pt x="82602" y="5059"/>
                    <a:pt x="81602" y="10618"/>
                  </a:cubicBezTo>
                  <a:cubicBezTo>
                    <a:pt x="80603" y="15927"/>
                    <a:pt x="80041" y="21424"/>
                    <a:pt x="77480" y="26421"/>
                  </a:cubicBezTo>
                  <a:cubicBezTo>
                    <a:pt x="78479" y="29044"/>
                    <a:pt x="75919" y="30543"/>
                    <a:pt x="75169" y="32604"/>
                  </a:cubicBezTo>
                  <a:cubicBezTo>
                    <a:pt x="72608" y="35728"/>
                    <a:pt x="68486" y="37476"/>
                    <a:pt x="66112" y="40787"/>
                  </a:cubicBezTo>
                  <a:cubicBezTo>
                    <a:pt x="65613" y="42910"/>
                    <a:pt x="65113" y="44972"/>
                    <a:pt x="62614" y="46034"/>
                  </a:cubicBezTo>
                  <a:cubicBezTo>
                    <a:pt x="58305" y="44472"/>
                    <a:pt x="59866" y="40912"/>
                    <a:pt x="59429" y="38101"/>
                  </a:cubicBezTo>
                  <a:cubicBezTo>
                    <a:pt x="59367" y="41099"/>
                    <a:pt x="59554" y="44160"/>
                    <a:pt x="57742" y="46845"/>
                  </a:cubicBezTo>
                  <a:cubicBezTo>
                    <a:pt x="56806" y="48282"/>
                    <a:pt x="55494" y="49594"/>
                    <a:pt x="53495" y="48907"/>
                  </a:cubicBezTo>
                  <a:cubicBezTo>
                    <a:pt x="51621" y="48282"/>
                    <a:pt x="51996" y="46596"/>
                    <a:pt x="52183" y="45159"/>
                  </a:cubicBezTo>
                  <a:cubicBezTo>
                    <a:pt x="52933" y="38726"/>
                    <a:pt x="48623" y="35165"/>
                    <a:pt x="41565" y="36165"/>
                  </a:cubicBezTo>
                  <a:cubicBezTo>
                    <a:pt x="39129" y="36477"/>
                    <a:pt x="36568" y="36789"/>
                    <a:pt x="34320" y="35915"/>
                  </a:cubicBezTo>
                  <a:cubicBezTo>
                    <a:pt x="31946" y="34978"/>
                    <a:pt x="30010" y="35478"/>
                    <a:pt x="27824" y="36290"/>
                  </a:cubicBezTo>
                  <a:cubicBezTo>
                    <a:pt x="25076" y="37289"/>
                    <a:pt x="22577" y="38851"/>
                    <a:pt x="18954" y="39288"/>
                  </a:cubicBezTo>
                  <a:cubicBezTo>
                    <a:pt x="21578" y="39975"/>
                    <a:pt x="23139" y="40724"/>
                    <a:pt x="21640" y="42910"/>
                  </a:cubicBezTo>
                  <a:cubicBezTo>
                    <a:pt x="20766" y="43910"/>
                    <a:pt x="19392" y="44472"/>
                    <a:pt x="18642" y="45596"/>
                  </a:cubicBezTo>
                  <a:cubicBezTo>
                    <a:pt x="17393" y="47408"/>
                    <a:pt x="16831" y="49344"/>
                    <a:pt x="17893" y="51405"/>
                  </a:cubicBezTo>
                  <a:cubicBezTo>
                    <a:pt x="21640" y="55715"/>
                    <a:pt x="27449" y="54653"/>
                    <a:pt x="32383" y="55715"/>
                  </a:cubicBezTo>
                  <a:cubicBezTo>
                    <a:pt x="34382" y="56152"/>
                    <a:pt x="36568" y="55902"/>
                    <a:pt x="38692" y="55777"/>
                  </a:cubicBezTo>
                  <a:cubicBezTo>
                    <a:pt x="39504" y="55652"/>
                    <a:pt x="40253" y="55652"/>
                    <a:pt x="41003" y="55902"/>
                  </a:cubicBezTo>
                  <a:cubicBezTo>
                    <a:pt x="42814" y="58838"/>
                    <a:pt x="42127" y="60212"/>
                    <a:pt x="38255" y="60649"/>
                  </a:cubicBezTo>
                  <a:cubicBezTo>
                    <a:pt x="35132" y="61024"/>
                    <a:pt x="31946" y="60524"/>
                    <a:pt x="28761" y="61149"/>
                  </a:cubicBezTo>
                  <a:cubicBezTo>
                    <a:pt x="27949" y="61211"/>
                    <a:pt x="27199" y="61087"/>
                    <a:pt x="26450" y="60837"/>
                  </a:cubicBezTo>
                  <a:cubicBezTo>
                    <a:pt x="24576" y="59775"/>
                    <a:pt x="22640" y="58775"/>
                    <a:pt x="20391" y="58526"/>
                  </a:cubicBezTo>
                  <a:cubicBezTo>
                    <a:pt x="18142" y="58088"/>
                    <a:pt x="16206" y="56964"/>
                    <a:pt x="14020" y="56339"/>
                  </a:cubicBezTo>
                  <a:cubicBezTo>
                    <a:pt x="7274" y="55028"/>
                    <a:pt x="966" y="50968"/>
                    <a:pt x="341" y="45721"/>
                  </a:cubicBezTo>
                  <a:cubicBezTo>
                    <a:pt x="-596" y="37789"/>
                    <a:pt x="-159" y="28794"/>
                    <a:pt x="8961" y="23298"/>
                  </a:cubicBezTo>
                  <a:cubicBezTo>
                    <a:pt x="8024" y="23860"/>
                    <a:pt x="7337" y="24610"/>
                    <a:pt x="6525" y="25234"/>
                  </a:cubicBezTo>
                  <a:cubicBezTo>
                    <a:pt x="5525" y="25984"/>
                    <a:pt x="4464" y="27608"/>
                    <a:pt x="3027" y="26296"/>
                  </a:cubicBezTo>
                  <a:cubicBezTo>
                    <a:pt x="1715" y="25172"/>
                    <a:pt x="3152" y="23985"/>
                    <a:pt x="3839" y="22923"/>
                  </a:cubicBezTo>
                  <a:cubicBezTo>
                    <a:pt x="7524" y="19238"/>
                    <a:pt x="12646" y="17427"/>
                    <a:pt x="17268" y="14991"/>
                  </a:cubicBezTo>
                  <a:cubicBezTo>
                    <a:pt x="18517" y="14303"/>
                    <a:pt x="18267" y="14241"/>
                    <a:pt x="17393" y="13679"/>
                  </a:cubicBezTo>
                  <a:cubicBezTo>
                    <a:pt x="17768" y="10806"/>
                    <a:pt x="22452" y="11930"/>
                    <a:pt x="22764" y="8994"/>
                  </a:cubicBezTo>
                  <a:cubicBezTo>
                    <a:pt x="28761" y="6309"/>
                    <a:pt x="40316" y="7995"/>
                    <a:pt x="44626" y="12305"/>
                  </a:cubicBezTo>
                  <a:cubicBezTo>
                    <a:pt x="46062" y="13741"/>
                    <a:pt x="47499" y="15053"/>
                    <a:pt x="49623" y="15553"/>
                  </a:cubicBezTo>
                  <a:cubicBezTo>
                    <a:pt x="54245" y="18301"/>
                    <a:pt x="59179" y="20550"/>
                    <a:pt x="61802" y="25546"/>
                  </a:cubicBezTo>
                  <a:cubicBezTo>
                    <a:pt x="63239" y="28232"/>
                    <a:pt x="66799" y="28170"/>
                    <a:pt x="69860" y="27733"/>
                  </a:cubicBezTo>
                  <a:cubicBezTo>
                    <a:pt x="72108" y="27857"/>
                    <a:pt x="72671" y="26233"/>
                    <a:pt x="73482" y="24859"/>
                  </a:cubicBezTo>
                  <a:cubicBezTo>
                    <a:pt x="74357" y="23485"/>
                    <a:pt x="74669" y="21674"/>
                    <a:pt x="76356" y="20612"/>
                  </a:cubicBezTo>
                  <a:close/>
                </a:path>
              </a:pathLst>
            </a:custGeom>
            <a:grpFill/>
            <a:ln w="6246" cap="flat">
              <a:noFill/>
              <a:prstDash val="solid"/>
              <a:miter/>
            </a:ln>
          </p:spPr>
          <p:txBody>
            <a:bodyPr rtlCol="0" anchor="ctr"/>
            <a:lstStyle/>
            <a:p>
              <a:endParaRPr lang="fr-FR" sz="2400"/>
            </a:p>
          </p:txBody>
        </p:sp>
        <p:sp>
          <p:nvSpPr>
            <p:cNvPr id="545" name="Freeform: Shape 544">
              <a:extLst>
                <a:ext uri="{FF2B5EF4-FFF2-40B4-BE49-F238E27FC236}">
                  <a16:creationId xmlns:a16="http://schemas.microsoft.com/office/drawing/2014/main" id="{E685730D-724B-46A3-8385-3A275420C9FD}"/>
                </a:ext>
              </a:extLst>
            </p:cNvPr>
            <p:cNvSpPr/>
            <p:nvPr/>
          </p:nvSpPr>
          <p:spPr>
            <a:xfrm>
              <a:off x="1320388" y="512996"/>
              <a:ext cx="12492" cy="18738"/>
            </a:xfrm>
            <a:custGeom>
              <a:avLst/>
              <a:gdLst>
                <a:gd name="connsiteX0" fmla="*/ 13177 w 12492"/>
                <a:gd name="connsiteY0" fmla="*/ 12672 h 18738"/>
                <a:gd name="connsiteX1" fmla="*/ 9867 w 12492"/>
                <a:gd name="connsiteY1" fmla="*/ 20542 h 18738"/>
                <a:gd name="connsiteX2" fmla="*/ 6744 w 12492"/>
                <a:gd name="connsiteY2" fmla="*/ 20355 h 18738"/>
                <a:gd name="connsiteX3" fmla="*/ 61 w 12492"/>
                <a:gd name="connsiteY3" fmla="*/ 15420 h 18738"/>
                <a:gd name="connsiteX4" fmla="*/ 3996 w 12492"/>
                <a:gd name="connsiteY4" fmla="*/ 14671 h 18738"/>
                <a:gd name="connsiteX5" fmla="*/ 6744 w 12492"/>
                <a:gd name="connsiteY5" fmla="*/ 12859 h 18738"/>
                <a:gd name="connsiteX6" fmla="*/ 4620 w 12492"/>
                <a:gd name="connsiteY6" fmla="*/ 8550 h 18738"/>
                <a:gd name="connsiteX7" fmla="*/ 3246 w 12492"/>
                <a:gd name="connsiteY7" fmla="*/ 2991 h 18738"/>
                <a:gd name="connsiteX8" fmla="*/ 4183 w 12492"/>
                <a:gd name="connsiteY8" fmla="*/ 180 h 18738"/>
                <a:gd name="connsiteX9" fmla="*/ 8930 w 12492"/>
                <a:gd name="connsiteY9" fmla="*/ 3865 h 18738"/>
                <a:gd name="connsiteX10" fmla="*/ 13177 w 12492"/>
                <a:gd name="connsiteY10" fmla="*/ 1267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8738">
                  <a:moveTo>
                    <a:pt x="13177" y="12672"/>
                  </a:moveTo>
                  <a:cubicBezTo>
                    <a:pt x="13302" y="15733"/>
                    <a:pt x="11116" y="17981"/>
                    <a:pt x="9867" y="20542"/>
                  </a:cubicBezTo>
                  <a:cubicBezTo>
                    <a:pt x="8743" y="22791"/>
                    <a:pt x="7806" y="20917"/>
                    <a:pt x="6744" y="20355"/>
                  </a:cubicBezTo>
                  <a:cubicBezTo>
                    <a:pt x="2934" y="20480"/>
                    <a:pt x="-502" y="20167"/>
                    <a:pt x="61" y="15420"/>
                  </a:cubicBezTo>
                  <a:cubicBezTo>
                    <a:pt x="1185" y="14421"/>
                    <a:pt x="2559" y="14358"/>
                    <a:pt x="3996" y="14671"/>
                  </a:cubicBezTo>
                  <a:cubicBezTo>
                    <a:pt x="5869" y="15295"/>
                    <a:pt x="7868" y="16045"/>
                    <a:pt x="6744" y="12859"/>
                  </a:cubicBezTo>
                  <a:cubicBezTo>
                    <a:pt x="6244" y="11360"/>
                    <a:pt x="5307" y="9986"/>
                    <a:pt x="4620" y="8550"/>
                  </a:cubicBezTo>
                  <a:cubicBezTo>
                    <a:pt x="3996" y="6738"/>
                    <a:pt x="3184" y="4927"/>
                    <a:pt x="3246" y="2991"/>
                  </a:cubicBezTo>
                  <a:cubicBezTo>
                    <a:pt x="3246" y="1991"/>
                    <a:pt x="3496" y="1054"/>
                    <a:pt x="4183" y="180"/>
                  </a:cubicBezTo>
                  <a:cubicBezTo>
                    <a:pt x="7868" y="-820"/>
                    <a:pt x="7431" y="2616"/>
                    <a:pt x="8930" y="3865"/>
                  </a:cubicBezTo>
                  <a:cubicBezTo>
                    <a:pt x="12303" y="6114"/>
                    <a:pt x="10491" y="10298"/>
                    <a:pt x="13177" y="12672"/>
                  </a:cubicBezTo>
                  <a:close/>
                </a:path>
              </a:pathLst>
            </a:custGeom>
            <a:grpFill/>
            <a:ln w="6246" cap="flat">
              <a:noFill/>
              <a:prstDash val="solid"/>
              <a:miter/>
            </a:ln>
          </p:spPr>
          <p:txBody>
            <a:bodyPr rtlCol="0" anchor="ctr"/>
            <a:lstStyle/>
            <a:p>
              <a:endParaRPr lang="fr-FR" sz="2400"/>
            </a:p>
          </p:txBody>
        </p:sp>
        <p:sp>
          <p:nvSpPr>
            <p:cNvPr id="546" name="Freeform: Shape 545">
              <a:extLst>
                <a:ext uri="{FF2B5EF4-FFF2-40B4-BE49-F238E27FC236}">
                  <a16:creationId xmlns:a16="http://schemas.microsoft.com/office/drawing/2014/main" id="{FFF72677-7C47-4450-B454-B2EB5F9755B4}"/>
                </a:ext>
              </a:extLst>
            </p:cNvPr>
            <p:cNvSpPr/>
            <p:nvPr/>
          </p:nvSpPr>
          <p:spPr>
            <a:xfrm>
              <a:off x="1301710" y="490378"/>
              <a:ext cx="18738" cy="24984"/>
            </a:xfrm>
            <a:custGeom>
              <a:avLst/>
              <a:gdLst>
                <a:gd name="connsiteX0" fmla="*/ 23298 w 18738"/>
                <a:gd name="connsiteY0" fmla="*/ 22736 h 24984"/>
                <a:gd name="connsiteX1" fmla="*/ 23173 w 18738"/>
                <a:gd name="connsiteY1" fmla="*/ 25921 h 24984"/>
                <a:gd name="connsiteX2" fmla="*/ 20612 w 18738"/>
                <a:gd name="connsiteY2" fmla="*/ 24984 h 24984"/>
                <a:gd name="connsiteX3" fmla="*/ 19050 w 18738"/>
                <a:gd name="connsiteY3" fmla="*/ 22736 h 24984"/>
                <a:gd name="connsiteX4" fmla="*/ 12555 w 18738"/>
                <a:gd name="connsiteY4" fmla="*/ 13866 h 24984"/>
                <a:gd name="connsiteX5" fmla="*/ 3435 w 18738"/>
                <a:gd name="connsiteY5" fmla="*/ 6184 h 24984"/>
                <a:gd name="connsiteX6" fmla="*/ 0 w 18738"/>
                <a:gd name="connsiteY6" fmla="*/ 2249 h 24984"/>
                <a:gd name="connsiteX7" fmla="*/ 1562 w 18738"/>
                <a:gd name="connsiteY7" fmla="*/ 0 h 24984"/>
                <a:gd name="connsiteX8" fmla="*/ 15803 w 18738"/>
                <a:gd name="connsiteY8" fmla="*/ 11118 h 24984"/>
                <a:gd name="connsiteX9" fmla="*/ 17926 w 18738"/>
                <a:gd name="connsiteY9" fmla="*/ 14991 h 24984"/>
                <a:gd name="connsiteX10" fmla="*/ 23298 w 18738"/>
                <a:gd name="connsiteY10" fmla="*/ 20799 h 24984"/>
                <a:gd name="connsiteX11" fmla="*/ 23298 w 18738"/>
                <a:gd name="connsiteY11" fmla="*/ 20799 h 24984"/>
                <a:gd name="connsiteX12" fmla="*/ 23298 w 18738"/>
                <a:gd name="connsiteY12" fmla="*/ 227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24984">
                  <a:moveTo>
                    <a:pt x="23298" y="22736"/>
                  </a:moveTo>
                  <a:cubicBezTo>
                    <a:pt x="23235" y="23797"/>
                    <a:pt x="23173" y="24859"/>
                    <a:pt x="23173" y="25921"/>
                  </a:cubicBezTo>
                  <a:cubicBezTo>
                    <a:pt x="22049" y="26109"/>
                    <a:pt x="21299" y="25609"/>
                    <a:pt x="20612" y="24984"/>
                  </a:cubicBezTo>
                  <a:cubicBezTo>
                    <a:pt x="19987" y="24297"/>
                    <a:pt x="19550" y="23485"/>
                    <a:pt x="19050" y="22736"/>
                  </a:cubicBezTo>
                  <a:cubicBezTo>
                    <a:pt x="17302" y="19550"/>
                    <a:pt x="15115" y="16552"/>
                    <a:pt x="12555" y="13866"/>
                  </a:cubicBezTo>
                  <a:cubicBezTo>
                    <a:pt x="9931" y="10931"/>
                    <a:pt x="6996" y="8245"/>
                    <a:pt x="3435" y="6184"/>
                  </a:cubicBezTo>
                  <a:cubicBezTo>
                    <a:pt x="1811" y="5247"/>
                    <a:pt x="250" y="4247"/>
                    <a:pt x="0" y="2249"/>
                  </a:cubicBezTo>
                  <a:cubicBezTo>
                    <a:pt x="0" y="1187"/>
                    <a:pt x="437" y="375"/>
                    <a:pt x="1562" y="0"/>
                  </a:cubicBezTo>
                  <a:cubicBezTo>
                    <a:pt x="7995" y="1936"/>
                    <a:pt x="12430" y="5996"/>
                    <a:pt x="15803" y="11118"/>
                  </a:cubicBezTo>
                  <a:cubicBezTo>
                    <a:pt x="16490" y="12430"/>
                    <a:pt x="17239" y="13679"/>
                    <a:pt x="17926" y="14991"/>
                  </a:cubicBezTo>
                  <a:cubicBezTo>
                    <a:pt x="20237" y="16552"/>
                    <a:pt x="21424" y="18926"/>
                    <a:pt x="23298" y="20799"/>
                  </a:cubicBezTo>
                  <a:lnTo>
                    <a:pt x="23298" y="20799"/>
                  </a:lnTo>
                  <a:cubicBezTo>
                    <a:pt x="23922" y="21424"/>
                    <a:pt x="23985" y="22111"/>
                    <a:pt x="23298" y="22736"/>
                  </a:cubicBezTo>
                  <a:close/>
                </a:path>
              </a:pathLst>
            </a:custGeom>
            <a:grpFill/>
            <a:ln w="6246" cap="flat">
              <a:noFill/>
              <a:prstDash val="solid"/>
              <a:miter/>
            </a:ln>
          </p:spPr>
          <p:txBody>
            <a:bodyPr rtlCol="0" anchor="ctr"/>
            <a:lstStyle/>
            <a:p>
              <a:endParaRPr lang="fr-FR" sz="2400"/>
            </a:p>
          </p:txBody>
        </p:sp>
        <p:sp>
          <p:nvSpPr>
            <p:cNvPr id="547" name="Freeform: Shape 546">
              <a:extLst>
                <a:ext uri="{FF2B5EF4-FFF2-40B4-BE49-F238E27FC236}">
                  <a16:creationId xmlns:a16="http://schemas.microsoft.com/office/drawing/2014/main" id="{EC8B4A71-2E1D-407D-910D-DFB8EAE73628}"/>
                </a:ext>
              </a:extLst>
            </p:cNvPr>
            <p:cNvSpPr/>
            <p:nvPr/>
          </p:nvSpPr>
          <p:spPr>
            <a:xfrm>
              <a:off x="1300076" y="486894"/>
              <a:ext cx="24984" cy="6246"/>
            </a:xfrm>
            <a:custGeom>
              <a:avLst/>
              <a:gdLst>
                <a:gd name="connsiteX0" fmla="*/ 20685 w 24984"/>
                <a:gd name="connsiteY0" fmla="*/ 6856 h 6246"/>
                <a:gd name="connsiteX1" fmla="*/ 18374 w 24984"/>
                <a:gd name="connsiteY1" fmla="*/ 7168 h 6246"/>
                <a:gd name="connsiteX2" fmla="*/ 8443 w 24984"/>
                <a:gd name="connsiteY2" fmla="*/ 2297 h 6246"/>
                <a:gd name="connsiteX3" fmla="*/ 3571 w 24984"/>
                <a:gd name="connsiteY3" fmla="*/ 2984 h 6246"/>
                <a:gd name="connsiteX4" fmla="*/ 2759 w 24984"/>
                <a:gd name="connsiteY4" fmla="*/ 3421 h 6246"/>
                <a:gd name="connsiteX5" fmla="*/ 11 w 24984"/>
                <a:gd name="connsiteY5" fmla="*/ 2047 h 6246"/>
                <a:gd name="connsiteX6" fmla="*/ 2009 w 24984"/>
                <a:gd name="connsiteY6" fmla="*/ 235 h 6246"/>
                <a:gd name="connsiteX7" fmla="*/ 13003 w 24984"/>
                <a:gd name="connsiteY7" fmla="*/ 797 h 6246"/>
                <a:gd name="connsiteX8" fmla="*/ 17500 w 24984"/>
                <a:gd name="connsiteY8" fmla="*/ 1047 h 6246"/>
                <a:gd name="connsiteX9" fmla="*/ 27930 w 24984"/>
                <a:gd name="connsiteY9" fmla="*/ 3983 h 6246"/>
                <a:gd name="connsiteX10" fmla="*/ 23933 w 24984"/>
                <a:gd name="connsiteY10" fmla="*/ 5857 h 6246"/>
                <a:gd name="connsiteX11" fmla="*/ 19311 w 24984"/>
                <a:gd name="connsiteY11" fmla="*/ 4795 h 6246"/>
                <a:gd name="connsiteX12" fmla="*/ 19311 w 24984"/>
                <a:gd name="connsiteY12" fmla="*/ 4795 h 6246"/>
                <a:gd name="connsiteX13" fmla="*/ 19811 w 24984"/>
                <a:gd name="connsiteY13" fmla="*/ 4920 h 6246"/>
                <a:gd name="connsiteX14" fmla="*/ 20685 w 24984"/>
                <a:gd name="connsiteY14" fmla="*/ 685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6246">
                  <a:moveTo>
                    <a:pt x="20685" y="6856"/>
                  </a:moveTo>
                  <a:cubicBezTo>
                    <a:pt x="20248" y="9167"/>
                    <a:pt x="19249" y="7793"/>
                    <a:pt x="18374" y="7168"/>
                  </a:cubicBezTo>
                  <a:cubicBezTo>
                    <a:pt x="15314" y="5107"/>
                    <a:pt x="12503" y="2796"/>
                    <a:pt x="8443" y="2297"/>
                  </a:cubicBezTo>
                  <a:cubicBezTo>
                    <a:pt x="6694" y="2109"/>
                    <a:pt x="5007" y="1547"/>
                    <a:pt x="3571" y="2984"/>
                  </a:cubicBezTo>
                  <a:cubicBezTo>
                    <a:pt x="3321" y="3108"/>
                    <a:pt x="3009" y="3296"/>
                    <a:pt x="2759" y="3421"/>
                  </a:cubicBezTo>
                  <a:cubicBezTo>
                    <a:pt x="1385" y="3733"/>
                    <a:pt x="198" y="3483"/>
                    <a:pt x="11" y="2047"/>
                  </a:cubicBezTo>
                  <a:cubicBezTo>
                    <a:pt x="-114" y="922"/>
                    <a:pt x="885" y="298"/>
                    <a:pt x="2009" y="235"/>
                  </a:cubicBezTo>
                  <a:cubicBezTo>
                    <a:pt x="5695" y="48"/>
                    <a:pt x="9380" y="-389"/>
                    <a:pt x="13003" y="797"/>
                  </a:cubicBezTo>
                  <a:cubicBezTo>
                    <a:pt x="14501" y="1297"/>
                    <a:pt x="15876" y="2047"/>
                    <a:pt x="17500" y="1047"/>
                  </a:cubicBezTo>
                  <a:cubicBezTo>
                    <a:pt x="20748" y="1984"/>
                    <a:pt x="23995" y="2859"/>
                    <a:pt x="27930" y="3983"/>
                  </a:cubicBezTo>
                  <a:cubicBezTo>
                    <a:pt x="26119" y="4857"/>
                    <a:pt x="25057" y="5357"/>
                    <a:pt x="23933" y="5857"/>
                  </a:cubicBezTo>
                  <a:cubicBezTo>
                    <a:pt x="21809" y="7481"/>
                    <a:pt x="20935" y="4795"/>
                    <a:pt x="19311" y="4795"/>
                  </a:cubicBezTo>
                  <a:cubicBezTo>
                    <a:pt x="18749" y="4358"/>
                    <a:pt x="18936" y="5357"/>
                    <a:pt x="19311" y="4795"/>
                  </a:cubicBezTo>
                  <a:cubicBezTo>
                    <a:pt x="19436" y="4670"/>
                    <a:pt x="19561" y="4732"/>
                    <a:pt x="19811" y="4920"/>
                  </a:cubicBezTo>
                  <a:cubicBezTo>
                    <a:pt x="20498" y="5482"/>
                    <a:pt x="21247" y="5919"/>
                    <a:pt x="20685" y="6856"/>
                  </a:cubicBezTo>
                  <a:close/>
                </a:path>
              </a:pathLst>
            </a:custGeom>
            <a:grpFill/>
            <a:ln w="6246" cap="flat">
              <a:noFill/>
              <a:prstDash val="solid"/>
              <a:miter/>
            </a:ln>
          </p:spPr>
          <p:txBody>
            <a:bodyPr rtlCol="0" anchor="ctr"/>
            <a:lstStyle/>
            <a:p>
              <a:endParaRPr lang="fr-FR" sz="2400"/>
            </a:p>
          </p:txBody>
        </p:sp>
        <p:sp>
          <p:nvSpPr>
            <p:cNvPr id="548" name="Freeform: Shape 547">
              <a:extLst>
                <a:ext uri="{FF2B5EF4-FFF2-40B4-BE49-F238E27FC236}">
                  <a16:creationId xmlns:a16="http://schemas.microsoft.com/office/drawing/2014/main" id="{BC00E80D-EC05-4E97-A00A-3AF8D144151F}"/>
                </a:ext>
              </a:extLst>
            </p:cNvPr>
            <p:cNvSpPr/>
            <p:nvPr/>
          </p:nvSpPr>
          <p:spPr>
            <a:xfrm>
              <a:off x="1342872" y="515487"/>
              <a:ext cx="6246" cy="18738"/>
            </a:xfrm>
            <a:custGeom>
              <a:avLst/>
              <a:gdLst>
                <a:gd name="connsiteX0" fmla="*/ 7808 w 6246"/>
                <a:gd name="connsiteY0" fmla="*/ 7308 h 18738"/>
                <a:gd name="connsiteX1" fmla="*/ 4560 w 6246"/>
                <a:gd name="connsiteY1" fmla="*/ 16739 h 18738"/>
                <a:gd name="connsiteX2" fmla="*/ 0 w 6246"/>
                <a:gd name="connsiteY2" fmla="*/ 22611 h 18738"/>
                <a:gd name="connsiteX3" fmla="*/ 3498 w 6246"/>
                <a:gd name="connsiteY3" fmla="*/ 3435 h 18738"/>
                <a:gd name="connsiteX4" fmla="*/ 6996 w 6246"/>
                <a:gd name="connsiteY4" fmla="*/ 0 h 18738"/>
                <a:gd name="connsiteX5" fmla="*/ 7808 w 6246"/>
                <a:gd name="connsiteY5" fmla="*/ 7308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18738">
                  <a:moveTo>
                    <a:pt x="7808" y="7308"/>
                  </a:moveTo>
                  <a:cubicBezTo>
                    <a:pt x="5247" y="10056"/>
                    <a:pt x="5434" y="13554"/>
                    <a:pt x="4560" y="16739"/>
                  </a:cubicBezTo>
                  <a:cubicBezTo>
                    <a:pt x="3997" y="18801"/>
                    <a:pt x="3997" y="21237"/>
                    <a:pt x="0" y="22611"/>
                  </a:cubicBezTo>
                  <a:cubicBezTo>
                    <a:pt x="2186" y="15865"/>
                    <a:pt x="4435" y="9806"/>
                    <a:pt x="3498" y="3435"/>
                  </a:cubicBezTo>
                  <a:cubicBezTo>
                    <a:pt x="5996" y="3498"/>
                    <a:pt x="5122" y="874"/>
                    <a:pt x="6996" y="0"/>
                  </a:cubicBezTo>
                  <a:cubicBezTo>
                    <a:pt x="8432" y="2374"/>
                    <a:pt x="7558" y="4934"/>
                    <a:pt x="7808" y="7308"/>
                  </a:cubicBezTo>
                  <a:close/>
                </a:path>
              </a:pathLst>
            </a:custGeom>
            <a:grpFill/>
            <a:ln w="6246" cap="flat">
              <a:noFill/>
              <a:prstDash val="solid"/>
              <a:miter/>
            </a:ln>
          </p:spPr>
          <p:txBody>
            <a:bodyPr rtlCol="0" anchor="ctr"/>
            <a:lstStyle/>
            <a:p>
              <a:endParaRPr lang="fr-FR" sz="2400"/>
            </a:p>
          </p:txBody>
        </p:sp>
        <p:sp>
          <p:nvSpPr>
            <p:cNvPr id="549" name="Freeform: Shape 548">
              <a:extLst>
                <a:ext uri="{FF2B5EF4-FFF2-40B4-BE49-F238E27FC236}">
                  <a16:creationId xmlns:a16="http://schemas.microsoft.com/office/drawing/2014/main" id="{57D40375-963E-49D2-A977-0F376C61DAB8}"/>
                </a:ext>
              </a:extLst>
            </p:cNvPr>
            <p:cNvSpPr/>
            <p:nvPr/>
          </p:nvSpPr>
          <p:spPr>
            <a:xfrm>
              <a:off x="1283284" y="485068"/>
              <a:ext cx="24984" cy="6246"/>
            </a:xfrm>
            <a:custGeom>
              <a:avLst/>
              <a:gdLst>
                <a:gd name="connsiteX0" fmla="*/ 0 w 24984"/>
                <a:gd name="connsiteY0" fmla="*/ 4809 h 6246"/>
                <a:gd name="connsiteX1" fmla="*/ 4310 w 24984"/>
                <a:gd name="connsiteY1" fmla="*/ 0 h 6246"/>
                <a:gd name="connsiteX2" fmla="*/ 7058 w 24984"/>
                <a:gd name="connsiteY2" fmla="*/ 687 h 6246"/>
                <a:gd name="connsiteX3" fmla="*/ 28919 w 24984"/>
                <a:gd name="connsiteY3" fmla="*/ 1936 h 6246"/>
                <a:gd name="connsiteX4" fmla="*/ 24297 w 24984"/>
                <a:gd name="connsiteY4" fmla="*/ 2373 h 6246"/>
                <a:gd name="connsiteX5" fmla="*/ 12867 w 24984"/>
                <a:gd name="connsiteY5" fmla="*/ 4997 h 6246"/>
                <a:gd name="connsiteX6" fmla="*/ 11368 w 24984"/>
                <a:gd name="connsiteY6" fmla="*/ 5497 h 6246"/>
                <a:gd name="connsiteX7" fmla="*/ 7495 w 24984"/>
                <a:gd name="connsiteY7" fmla="*/ 6433 h 6246"/>
                <a:gd name="connsiteX8" fmla="*/ 0 w 24984"/>
                <a:gd name="connsiteY8"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6246">
                  <a:moveTo>
                    <a:pt x="0" y="4809"/>
                  </a:moveTo>
                  <a:cubicBezTo>
                    <a:pt x="1437" y="3185"/>
                    <a:pt x="2124" y="1062"/>
                    <a:pt x="4310" y="0"/>
                  </a:cubicBezTo>
                  <a:cubicBezTo>
                    <a:pt x="5059" y="874"/>
                    <a:pt x="6309" y="437"/>
                    <a:pt x="7058" y="687"/>
                  </a:cubicBezTo>
                  <a:cubicBezTo>
                    <a:pt x="14241" y="3373"/>
                    <a:pt x="21861" y="-1249"/>
                    <a:pt x="28919" y="1936"/>
                  </a:cubicBezTo>
                  <a:cubicBezTo>
                    <a:pt x="27483" y="2811"/>
                    <a:pt x="25796" y="2498"/>
                    <a:pt x="24297" y="2373"/>
                  </a:cubicBezTo>
                  <a:cubicBezTo>
                    <a:pt x="20112" y="2061"/>
                    <a:pt x="16240" y="2623"/>
                    <a:pt x="12867" y="4997"/>
                  </a:cubicBezTo>
                  <a:cubicBezTo>
                    <a:pt x="12430" y="5247"/>
                    <a:pt x="11868" y="5434"/>
                    <a:pt x="11368" y="5497"/>
                  </a:cubicBezTo>
                  <a:cubicBezTo>
                    <a:pt x="9994" y="5559"/>
                    <a:pt x="8807" y="5684"/>
                    <a:pt x="7495" y="6433"/>
                  </a:cubicBezTo>
                  <a:cubicBezTo>
                    <a:pt x="4497" y="8120"/>
                    <a:pt x="1811" y="7745"/>
                    <a:pt x="0" y="4809"/>
                  </a:cubicBezTo>
                  <a:close/>
                </a:path>
              </a:pathLst>
            </a:custGeom>
            <a:grpFill/>
            <a:ln w="6246" cap="flat">
              <a:noFill/>
              <a:prstDash val="solid"/>
              <a:miter/>
            </a:ln>
          </p:spPr>
          <p:txBody>
            <a:bodyPr rtlCol="0" anchor="ctr"/>
            <a:lstStyle/>
            <a:p>
              <a:endParaRPr lang="fr-FR" sz="2400"/>
            </a:p>
          </p:txBody>
        </p:sp>
        <p:sp>
          <p:nvSpPr>
            <p:cNvPr id="550" name="Freeform: Shape 549">
              <a:extLst>
                <a:ext uri="{FF2B5EF4-FFF2-40B4-BE49-F238E27FC236}">
                  <a16:creationId xmlns:a16="http://schemas.microsoft.com/office/drawing/2014/main" id="{E59C3654-AFC8-4668-89FB-3374D9A52AD2}"/>
                </a:ext>
              </a:extLst>
            </p:cNvPr>
            <p:cNvSpPr/>
            <p:nvPr/>
          </p:nvSpPr>
          <p:spPr>
            <a:xfrm>
              <a:off x="1303162" y="489940"/>
              <a:ext cx="18738" cy="12492"/>
            </a:xfrm>
            <a:custGeom>
              <a:avLst/>
              <a:gdLst>
                <a:gd name="connsiteX0" fmla="*/ 14350 w 18738"/>
                <a:gd name="connsiteY0" fmla="*/ 11555 h 12492"/>
                <a:gd name="connsiteX1" fmla="*/ 422 w 18738"/>
                <a:gd name="connsiteY1" fmla="*/ 937 h 12492"/>
                <a:gd name="connsiteX2" fmla="*/ 47 w 18738"/>
                <a:gd name="connsiteY2" fmla="*/ 312 h 12492"/>
                <a:gd name="connsiteX3" fmla="*/ 422 w 18738"/>
                <a:gd name="connsiteY3" fmla="*/ 0 h 12492"/>
                <a:gd name="connsiteX4" fmla="*/ 422 w 18738"/>
                <a:gd name="connsiteY4" fmla="*/ 0 h 12492"/>
                <a:gd name="connsiteX5" fmla="*/ 8979 w 18738"/>
                <a:gd name="connsiteY5" fmla="*/ 2873 h 12492"/>
                <a:gd name="connsiteX6" fmla="*/ 14350 w 18738"/>
                <a:gd name="connsiteY6" fmla="*/ 6746 h 12492"/>
                <a:gd name="connsiteX7" fmla="*/ 19784 w 18738"/>
                <a:gd name="connsiteY7" fmla="*/ 14241 h 12492"/>
                <a:gd name="connsiteX8" fmla="*/ 14350 w 18738"/>
                <a:gd name="connsiteY8" fmla="*/ 115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2492">
                  <a:moveTo>
                    <a:pt x="14350" y="11555"/>
                  </a:moveTo>
                  <a:cubicBezTo>
                    <a:pt x="9353" y="8370"/>
                    <a:pt x="5793" y="3748"/>
                    <a:pt x="422" y="937"/>
                  </a:cubicBezTo>
                  <a:cubicBezTo>
                    <a:pt x="47" y="749"/>
                    <a:pt x="-78" y="500"/>
                    <a:pt x="47" y="312"/>
                  </a:cubicBezTo>
                  <a:cubicBezTo>
                    <a:pt x="172" y="125"/>
                    <a:pt x="297" y="0"/>
                    <a:pt x="422" y="0"/>
                  </a:cubicBezTo>
                  <a:lnTo>
                    <a:pt x="422" y="0"/>
                  </a:lnTo>
                  <a:cubicBezTo>
                    <a:pt x="3670" y="62"/>
                    <a:pt x="6293" y="1562"/>
                    <a:pt x="8979" y="2873"/>
                  </a:cubicBezTo>
                  <a:cubicBezTo>
                    <a:pt x="10353" y="4622"/>
                    <a:pt x="11977" y="6059"/>
                    <a:pt x="14350" y="6746"/>
                  </a:cubicBezTo>
                  <a:cubicBezTo>
                    <a:pt x="16849" y="8557"/>
                    <a:pt x="18348" y="10806"/>
                    <a:pt x="19784" y="14241"/>
                  </a:cubicBezTo>
                  <a:cubicBezTo>
                    <a:pt x="17473" y="12992"/>
                    <a:pt x="16599" y="11056"/>
                    <a:pt x="14350" y="11555"/>
                  </a:cubicBezTo>
                  <a:close/>
                </a:path>
              </a:pathLst>
            </a:custGeom>
            <a:grpFill/>
            <a:ln w="6246" cap="flat">
              <a:noFill/>
              <a:prstDash val="solid"/>
              <a:miter/>
            </a:ln>
          </p:spPr>
          <p:txBody>
            <a:bodyPr rtlCol="0" anchor="ctr"/>
            <a:lstStyle/>
            <a:p>
              <a:endParaRPr lang="fr-FR" sz="2400"/>
            </a:p>
          </p:txBody>
        </p:sp>
        <p:sp>
          <p:nvSpPr>
            <p:cNvPr id="551" name="Freeform: Shape 550">
              <a:extLst>
                <a:ext uri="{FF2B5EF4-FFF2-40B4-BE49-F238E27FC236}">
                  <a16:creationId xmlns:a16="http://schemas.microsoft.com/office/drawing/2014/main" id="{02EEF5ED-426E-4D57-A146-D51204DF3125}"/>
                </a:ext>
              </a:extLst>
            </p:cNvPr>
            <p:cNvSpPr/>
            <p:nvPr/>
          </p:nvSpPr>
          <p:spPr>
            <a:xfrm>
              <a:off x="1295027" y="486901"/>
              <a:ext cx="18738" cy="6246"/>
            </a:xfrm>
            <a:custGeom>
              <a:avLst/>
              <a:gdLst>
                <a:gd name="connsiteX0" fmla="*/ 8557 w 18738"/>
                <a:gd name="connsiteY0" fmla="*/ 2976 h 6246"/>
                <a:gd name="connsiteX1" fmla="*/ 8557 w 18738"/>
                <a:gd name="connsiteY1" fmla="*/ 3913 h 6246"/>
                <a:gd name="connsiteX2" fmla="*/ 7370 w 18738"/>
                <a:gd name="connsiteY2" fmla="*/ 6099 h 6246"/>
                <a:gd name="connsiteX3" fmla="*/ 999 w 18738"/>
                <a:gd name="connsiteY3" fmla="*/ 4788 h 6246"/>
                <a:gd name="connsiteX4" fmla="*/ 0 w 18738"/>
                <a:gd name="connsiteY4" fmla="*/ 2976 h 6246"/>
                <a:gd name="connsiteX5" fmla="*/ 6558 w 18738"/>
                <a:gd name="connsiteY5" fmla="*/ 103 h 6246"/>
                <a:gd name="connsiteX6" fmla="*/ 17177 w 18738"/>
                <a:gd name="connsiteY6" fmla="*/ 41 h 6246"/>
                <a:gd name="connsiteX7" fmla="*/ 22548 w 18738"/>
                <a:gd name="connsiteY7" fmla="*/ 1040 h 6246"/>
                <a:gd name="connsiteX8" fmla="*/ 11430 w 18738"/>
                <a:gd name="connsiteY8" fmla="*/ 978 h 6246"/>
                <a:gd name="connsiteX9" fmla="*/ 7745 w 18738"/>
                <a:gd name="connsiteY9" fmla="*/ 1103 h 6246"/>
                <a:gd name="connsiteX10" fmla="*/ 6309 w 18738"/>
                <a:gd name="connsiteY10" fmla="*/ 2352 h 6246"/>
                <a:gd name="connsiteX11" fmla="*/ 8557 w 18738"/>
                <a:gd name="connsiteY11" fmla="*/ 297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738" h="6246">
                  <a:moveTo>
                    <a:pt x="8557" y="2976"/>
                  </a:moveTo>
                  <a:cubicBezTo>
                    <a:pt x="8557" y="3289"/>
                    <a:pt x="8557" y="3601"/>
                    <a:pt x="8557" y="3913"/>
                  </a:cubicBezTo>
                  <a:cubicBezTo>
                    <a:pt x="7683" y="4413"/>
                    <a:pt x="7495" y="5225"/>
                    <a:pt x="7370" y="6099"/>
                  </a:cubicBezTo>
                  <a:cubicBezTo>
                    <a:pt x="4872" y="7099"/>
                    <a:pt x="2936" y="5912"/>
                    <a:pt x="999" y="4788"/>
                  </a:cubicBezTo>
                  <a:cubicBezTo>
                    <a:pt x="437" y="4288"/>
                    <a:pt x="63" y="3726"/>
                    <a:pt x="0" y="2976"/>
                  </a:cubicBezTo>
                  <a:cubicBezTo>
                    <a:pt x="1062" y="-22"/>
                    <a:pt x="3997" y="228"/>
                    <a:pt x="6558" y="103"/>
                  </a:cubicBezTo>
                  <a:cubicBezTo>
                    <a:pt x="10056" y="-84"/>
                    <a:pt x="13616" y="41"/>
                    <a:pt x="17177" y="41"/>
                  </a:cubicBezTo>
                  <a:cubicBezTo>
                    <a:pt x="18988" y="353"/>
                    <a:pt x="20737" y="665"/>
                    <a:pt x="22548" y="1040"/>
                  </a:cubicBezTo>
                  <a:cubicBezTo>
                    <a:pt x="18863" y="3164"/>
                    <a:pt x="15178" y="41"/>
                    <a:pt x="11430" y="978"/>
                  </a:cubicBezTo>
                  <a:cubicBezTo>
                    <a:pt x="10306" y="1290"/>
                    <a:pt x="8994" y="978"/>
                    <a:pt x="7745" y="1103"/>
                  </a:cubicBezTo>
                  <a:cubicBezTo>
                    <a:pt x="6933" y="1165"/>
                    <a:pt x="5684" y="1228"/>
                    <a:pt x="6309" y="2352"/>
                  </a:cubicBezTo>
                  <a:cubicBezTo>
                    <a:pt x="6496" y="2789"/>
                    <a:pt x="7808" y="2789"/>
                    <a:pt x="8557" y="2976"/>
                  </a:cubicBezTo>
                  <a:close/>
                </a:path>
              </a:pathLst>
            </a:custGeom>
            <a:grpFill/>
            <a:ln w="6246" cap="flat">
              <a:noFill/>
              <a:prstDash val="solid"/>
              <a:miter/>
            </a:ln>
          </p:spPr>
          <p:txBody>
            <a:bodyPr rtlCol="0" anchor="ctr"/>
            <a:lstStyle/>
            <a:p>
              <a:endParaRPr lang="fr-FR" sz="2400"/>
            </a:p>
          </p:txBody>
        </p:sp>
        <p:sp>
          <p:nvSpPr>
            <p:cNvPr id="552" name="Freeform: Shape 551">
              <a:extLst>
                <a:ext uri="{FF2B5EF4-FFF2-40B4-BE49-F238E27FC236}">
                  <a16:creationId xmlns:a16="http://schemas.microsoft.com/office/drawing/2014/main" id="{8FEB73B2-37C3-4D0E-9F37-6510B433D26C}"/>
                </a:ext>
              </a:extLst>
            </p:cNvPr>
            <p:cNvSpPr/>
            <p:nvPr/>
          </p:nvSpPr>
          <p:spPr>
            <a:xfrm>
              <a:off x="1289655" y="471409"/>
              <a:ext cx="18738" cy="6246"/>
            </a:xfrm>
            <a:custGeom>
              <a:avLst/>
              <a:gdLst>
                <a:gd name="connsiteX0" fmla="*/ 22486 w 18738"/>
                <a:gd name="connsiteY0" fmla="*/ 1105 h 6246"/>
                <a:gd name="connsiteX1" fmla="*/ 24610 w 18738"/>
                <a:gd name="connsiteY1" fmla="*/ 2042 h 6246"/>
                <a:gd name="connsiteX2" fmla="*/ 3310 w 18738"/>
                <a:gd name="connsiteY2" fmla="*/ 10349 h 6246"/>
                <a:gd name="connsiteX3" fmla="*/ 0 w 18738"/>
                <a:gd name="connsiteY3" fmla="*/ 11723 h 6246"/>
                <a:gd name="connsiteX4" fmla="*/ 14991 w 18738"/>
                <a:gd name="connsiteY4" fmla="*/ 2042 h 6246"/>
                <a:gd name="connsiteX5" fmla="*/ 22486 w 18738"/>
                <a:gd name="connsiteY5" fmla="*/ 110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2486" y="1105"/>
                  </a:moveTo>
                  <a:cubicBezTo>
                    <a:pt x="23360" y="1105"/>
                    <a:pt x="24172" y="1355"/>
                    <a:pt x="24610" y="2042"/>
                  </a:cubicBezTo>
                  <a:cubicBezTo>
                    <a:pt x="16177" y="2042"/>
                    <a:pt x="9994" y="6727"/>
                    <a:pt x="3310" y="10349"/>
                  </a:cubicBezTo>
                  <a:cubicBezTo>
                    <a:pt x="2249" y="10912"/>
                    <a:pt x="1374" y="11723"/>
                    <a:pt x="0" y="11723"/>
                  </a:cubicBezTo>
                  <a:cubicBezTo>
                    <a:pt x="4060" y="7289"/>
                    <a:pt x="9556" y="4728"/>
                    <a:pt x="14991" y="2042"/>
                  </a:cubicBezTo>
                  <a:cubicBezTo>
                    <a:pt x="17114" y="-769"/>
                    <a:pt x="19737" y="-269"/>
                    <a:pt x="22486" y="1105"/>
                  </a:cubicBezTo>
                  <a:close/>
                </a:path>
              </a:pathLst>
            </a:custGeom>
            <a:grpFill/>
            <a:ln w="6246" cap="flat">
              <a:noFill/>
              <a:prstDash val="solid"/>
              <a:miter/>
            </a:ln>
          </p:spPr>
          <p:txBody>
            <a:bodyPr rtlCol="0" anchor="ctr"/>
            <a:lstStyle/>
            <a:p>
              <a:endParaRPr lang="fr-FR" sz="2400"/>
            </a:p>
          </p:txBody>
        </p:sp>
        <p:sp>
          <p:nvSpPr>
            <p:cNvPr id="553" name="Freeform: Shape 552">
              <a:extLst>
                <a:ext uri="{FF2B5EF4-FFF2-40B4-BE49-F238E27FC236}">
                  <a16:creationId xmlns:a16="http://schemas.microsoft.com/office/drawing/2014/main" id="{FE3B4ECC-4C7C-4807-A022-D63715FE611A}"/>
                </a:ext>
              </a:extLst>
            </p:cNvPr>
            <p:cNvSpPr/>
            <p:nvPr/>
          </p:nvSpPr>
          <p:spPr>
            <a:xfrm>
              <a:off x="1327132" y="496686"/>
              <a:ext cx="6246" cy="6246"/>
            </a:xfrm>
            <a:custGeom>
              <a:avLst/>
              <a:gdLst>
                <a:gd name="connsiteX0" fmla="*/ 2186 w 6246"/>
                <a:gd name="connsiteY0" fmla="*/ 0 h 6246"/>
                <a:gd name="connsiteX1" fmla="*/ 9494 w 6246"/>
                <a:gd name="connsiteY1" fmla="*/ 6683 h 6246"/>
                <a:gd name="connsiteX2" fmla="*/ 0 w 6246"/>
                <a:gd name="connsiteY2" fmla="*/ 1936 h 6246"/>
                <a:gd name="connsiteX3" fmla="*/ 2186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2186" y="0"/>
                  </a:moveTo>
                  <a:cubicBezTo>
                    <a:pt x="5746" y="750"/>
                    <a:pt x="7558" y="3186"/>
                    <a:pt x="9494" y="6683"/>
                  </a:cubicBezTo>
                  <a:cubicBezTo>
                    <a:pt x="5621" y="5309"/>
                    <a:pt x="1811" y="5372"/>
                    <a:pt x="0" y="1936"/>
                  </a:cubicBezTo>
                  <a:cubicBezTo>
                    <a:pt x="437" y="999"/>
                    <a:pt x="2811" y="1874"/>
                    <a:pt x="2186" y="0"/>
                  </a:cubicBezTo>
                  <a:close/>
                </a:path>
              </a:pathLst>
            </a:custGeom>
            <a:grpFill/>
            <a:ln w="6246" cap="flat">
              <a:noFill/>
              <a:prstDash val="solid"/>
              <a:miter/>
            </a:ln>
          </p:spPr>
          <p:txBody>
            <a:bodyPr rtlCol="0" anchor="ctr"/>
            <a:lstStyle/>
            <a:p>
              <a:endParaRPr lang="fr-FR" sz="2400"/>
            </a:p>
          </p:txBody>
        </p:sp>
        <p:sp>
          <p:nvSpPr>
            <p:cNvPr id="554" name="Freeform: Shape 553">
              <a:extLst>
                <a:ext uri="{FF2B5EF4-FFF2-40B4-BE49-F238E27FC236}">
                  <a16:creationId xmlns:a16="http://schemas.microsoft.com/office/drawing/2014/main" id="{CFD62A6B-DF61-4B4C-891B-048143FB00E0}"/>
                </a:ext>
              </a:extLst>
            </p:cNvPr>
            <p:cNvSpPr/>
            <p:nvPr/>
          </p:nvSpPr>
          <p:spPr>
            <a:xfrm>
              <a:off x="1319012" y="491002"/>
              <a:ext cx="6246" cy="6246"/>
            </a:xfrm>
            <a:custGeom>
              <a:avLst/>
              <a:gdLst>
                <a:gd name="connsiteX0" fmla="*/ 10306 w 6246"/>
                <a:gd name="connsiteY0" fmla="*/ 5684 h 6246"/>
                <a:gd name="connsiteX1" fmla="*/ 8182 w 6246"/>
                <a:gd name="connsiteY1" fmla="*/ 7620 h 6246"/>
                <a:gd name="connsiteX2" fmla="*/ 1749 w 6246"/>
                <a:gd name="connsiteY2" fmla="*/ 2811 h 6246"/>
                <a:gd name="connsiteX3" fmla="*/ 0 w 6246"/>
                <a:gd name="connsiteY3" fmla="*/ 0 h 6246"/>
                <a:gd name="connsiteX4" fmla="*/ 4997 w 6246"/>
                <a:gd name="connsiteY4" fmla="*/ 1811 h 6246"/>
                <a:gd name="connsiteX5" fmla="*/ 10306 w 6246"/>
                <a:gd name="connsiteY5" fmla="*/ 56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306" y="5684"/>
                  </a:moveTo>
                  <a:cubicBezTo>
                    <a:pt x="11430" y="7995"/>
                    <a:pt x="9556" y="7558"/>
                    <a:pt x="8182" y="7620"/>
                  </a:cubicBezTo>
                  <a:cubicBezTo>
                    <a:pt x="6746" y="5247"/>
                    <a:pt x="4435" y="3810"/>
                    <a:pt x="1749" y="2811"/>
                  </a:cubicBezTo>
                  <a:cubicBezTo>
                    <a:pt x="1249" y="2061"/>
                    <a:pt x="749" y="1249"/>
                    <a:pt x="0" y="0"/>
                  </a:cubicBezTo>
                  <a:cubicBezTo>
                    <a:pt x="1999" y="750"/>
                    <a:pt x="3498" y="1312"/>
                    <a:pt x="4997" y="1811"/>
                  </a:cubicBezTo>
                  <a:cubicBezTo>
                    <a:pt x="6683" y="3061"/>
                    <a:pt x="8495" y="4372"/>
                    <a:pt x="10306" y="5684"/>
                  </a:cubicBezTo>
                  <a:close/>
                </a:path>
              </a:pathLst>
            </a:custGeom>
            <a:grpFill/>
            <a:ln w="6246" cap="flat">
              <a:noFill/>
              <a:prstDash val="solid"/>
              <a:miter/>
            </a:ln>
          </p:spPr>
          <p:txBody>
            <a:bodyPr rtlCol="0" anchor="ctr"/>
            <a:lstStyle/>
            <a:p>
              <a:endParaRPr lang="fr-FR" sz="2400"/>
            </a:p>
          </p:txBody>
        </p:sp>
        <p:sp>
          <p:nvSpPr>
            <p:cNvPr id="555" name="Freeform: Shape 554">
              <a:extLst>
                <a:ext uri="{FF2B5EF4-FFF2-40B4-BE49-F238E27FC236}">
                  <a16:creationId xmlns:a16="http://schemas.microsoft.com/office/drawing/2014/main" id="{4ECAA37D-29D1-4E51-B7E9-BC2ED599D77B}"/>
                </a:ext>
              </a:extLst>
            </p:cNvPr>
            <p:cNvSpPr/>
            <p:nvPr/>
          </p:nvSpPr>
          <p:spPr>
            <a:xfrm>
              <a:off x="1330952" y="531477"/>
              <a:ext cx="6246" cy="6246"/>
            </a:xfrm>
            <a:custGeom>
              <a:avLst/>
              <a:gdLst>
                <a:gd name="connsiteX0" fmla="*/ 490 w 0"/>
                <a:gd name="connsiteY0" fmla="*/ 5809 h 6246"/>
                <a:gd name="connsiteX1" fmla="*/ 3675 w 0"/>
                <a:gd name="connsiteY1" fmla="*/ 0 h 6246"/>
                <a:gd name="connsiteX2" fmla="*/ 4737 w 0"/>
                <a:gd name="connsiteY2" fmla="*/ 937 h 6246"/>
                <a:gd name="connsiteX3" fmla="*/ 1552 w 0"/>
                <a:gd name="connsiteY3" fmla="*/ 7683 h 6246"/>
                <a:gd name="connsiteX4" fmla="*/ 490 w 0"/>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90" y="5809"/>
                  </a:moveTo>
                  <a:cubicBezTo>
                    <a:pt x="1177" y="3685"/>
                    <a:pt x="3425" y="2311"/>
                    <a:pt x="3675" y="0"/>
                  </a:cubicBezTo>
                  <a:cubicBezTo>
                    <a:pt x="4050" y="312"/>
                    <a:pt x="4362" y="625"/>
                    <a:pt x="4737" y="937"/>
                  </a:cubicBezTo>
                  <a:cubicBezTo>
                    <a:pt x="3988" y="3310"/>
                    <a:pt x="3675" y="5871"/>
                    <a:pt x="1552" y="7683"/>
                  </a:cubicBezTo>
                  <a:cubicBezTo>
                    <a:pt x="-322" y="7745"/>
                    <a:pt x="-260" y="6933"/>
                    <a:pt x="490" y="5809"/>
                  </a:cubicBezTo>
                  <a:close/>
                </a:path>
              </a:pathLst>
            </a:custGeom>
            <a:grpFill/>
            <a:ln w="6246" cap="flat">
              <a:noFill/>
              <a:prstDash val="solid"/>
              <a:miter/>
            </a:ln>
          </p:spPr>
          <p:txBody>
            <a:bodyPr rtlCol="0" anchor="ctr"/>
            <a:lstStyle/>
            <a:p>
              <a:endParaRPr lang="fr-FR" sz="2400"/>
            </a:p>
          </p:txBody>
        </p:sp>
        <p:sp>
          <p:nvSpPr>
            <p:cNvPr id="556" name="Freeform: Shape 555">
              <a:extLst>
                <a:ext uri="{FF2B5EF4-FFF2-40B4-BE49-F238E27FC236}">
                  <a16:creationId xmlns:a16="http://schemas.microsoft.com/office/drawing/2014/main" id="{39A7B87B-653E-46B0-A88C-4395A5BC1C24}"/>
                </a:ext>
              </a:extLst>
            </p:cNvPr>
            <p:cNvSpPr/>
            <p:nvPr/>
          </p:nvSpPr>
          <p:spPr>
            <a:xfrm>
              <a:off x="1312141" y="492814"/>
              <a:ext cx="6246" cy="6246"/>
            </a:xfrm>
            <a:custGeom>
              <a:avLst/>
              <a:gdLst>
                <a:gd name="connsiteX0" fmla="*/ 5372 w 0"/>
                <a:gd name="connsiteY0" fmla="*/ 3873 h 0"/>
                <a:gd name="connsiteX1" fmla="*/ 0 w 0"/>
                <a:gd name="connsiteY1" fmla="*/ 0 h 0"/>
                <a:gd name="connsiteX2" fmla="*/ 5372 w 0"/>
                <a:gd name="connsiteY2" fmla="*/ 3873 h 0"/>
              </a:gdLst>
              <a:ahLst/>
              <a:cxnLst>
                <a:cxn ang="0">
                  <a:pos x="connsiteX0" y="connsiteY0"/>
                </a:cxn>
                <a:cxn ang="0">
                  <a:pos x="connsiteX1" y="connsiteY1"/>
                </a:cxn>
                <a:cxn ang="0">
                  <a:pos x="connsiteX2" y="connsiteY2"/>
                </a:cxn>
              </a:cxnLst>
              <a:rect l="l" t="t" r="r" b="b"/>
              <a:pathLst>
                <a:path>
                  <a:moveTo>
                    <a:pt x="5372" y="3873"/>
                  </a:moveTo>
                  <a:cubicBezTo>
                    <a:pt x="3123" y="4872"/>
                    <a:pt x="1562" y="3748"/>
                    <a:pt x="0" y="0"/>
                  </a:cubicBezTo>
                  <a:cubicBezTo>
                    <a:pt x="2124" y="874"/>
                    <a:pt x="4310" y="1749"/>
                    <a:pt x="5372" y="3873"/>
                  </a:cubicBezTo>
                  <a:close/>
                </a:path>
              </a:pathLst>
            </a:custGeom>
            <a:grpFill/>
            <a:ln w="6246" cap="flat">
              <a:noFill/>
              <a:prstDash val="solid"/>
              <a:miter/>
            </a:ln>
          </p:spPr>
          <p:txBody>
            <a:bodyPr rtlCol="0" anchor="ctr"/>
            <a:lstStyle/>
            <a:p>
              <a:endParaRPr lang="fr-FR" sz="2400"/>
            </a:p>
          </p:txBody>
        </p:sp>
        <p:sp>
          <p:nvSpPr>
            <p:cNvPr id="557" name="Freeform: Shape 556">
              <a:extLst>
                <a:ext uri="{FF2B5EF4-FFF2-40B4-BE49-F238E27FC236}">
                  <a16:creationId xmlns:a16="http://schemas.microsoft.com/office/drawing/2014/main" id="{1C1C3088-F452-4A38-AEC8-EE414A53B405}"/>
                </a:ext>
              </a:extLst>
            </p:cNvPr>
            <p:cNvSpPr/>
            <p:nvPr/>
          </p:nvSpPr>
          <p:spPr>
            <a:xfrm>
              <a:off x="1319636" y="505368"/>
              <a:ext cx="6246" cy="6246"/>
            </a:xfrm>
            <a:custGeom>
              <a:avLst/>
              <a:gdLst>
                <a:gd name="connsiteX0" fmla="*/ 5372 w 0"/>
                <a:gd name="connsiteY0" fmla="*/ 5809 h 0"/>
                <a:gd name="connsiteX1" fmla="*/ 0 w 0"/>
                <a:gd name="connsiteY1" fmla="*/ 0 h 0"/>
                <a:gd name="connsiteX2" fmla="*/ 5372 w 0"/>
                <a:gd name="connsiteY2" fmla="*/ 5809 h 0"/>
              </a:gdLst>
              <a:ahLst/>
              <a:cxnLst>
                <a:cxn ang="0">
                  <a:pos x="connsiteX0" y="connsiteY0"/>
                </a:cxn>
                <a:cxn ang="0">
                  <a:pos x="connsiteX1" y="connsiteY1"/>
                </a:cxn>
                <a:cxn ang="0">
                  <a:pos x="connsiteX2" y="connsiteY2"/>
                </a:cxn>
              </a:cxnLst>
              <a:rect l="l" t="t" r="r" b="b"/>
              <a:pathLst>
                <a:path>
                  <a:moveTo>
                    <a:pt x="5372" y="5809"/>
                  </a:moveTo>
                  <a:cubicBezTo>
                    <a:pt x="2748" y="4497"/>
                    <a:pt x="1187" y="2436"/>
                    <a:pt x="0" y="0"/>
                  </a:cubicBezTo>
                  <a:cubicBezTo>
                    <a:pt x="3498" y="625"/>
                    <a:pt x="4372" y="3310"/>
                    <a:pt x="5372" y="5809"/>
                  </a:cubicBezTo>
                  <a:close/>
                </a:path>
              </a:pathLst>
            </a:custGeom>
            <a:grpFill/>
            <a:ln w="6246" cap="flat">
              <a:noFill/>
              <a:prstDash val="solid"/>
              <a:miter/>
            </a:ln>
          </p:spPr>
          <p:txBody>
            <a:bodyPr rtlCol="0" anchor="ctr"/>
            <a:lstStyle/>
            <a:p>
              <a:endParaRPr lang="fr-FR" sz="2400"/>
            </a:p>
          </p:txBody>
        </p:sp>
        <p:sp>
          <p:nvSpPr>
            <p:cNvPr id="558" name="Freeform: Shape 557">
              <a:extLst>
                <a:ext uri="{FF2B5EF4-FFF2-40B4-BE49-F238E27FC236}">
                  <a16:creationId xmlns:a16="http://schemas.microsoft.com/office/drawing/2014/main" id="{8301BE60-CD42-471F-8474-DED5B41BBA3E}"/>
                </a:ext>
              </a:extLst>
            </p:cNvPr>
            <p:cNvSpPr/>
            <p:nvPr/>
          </p:nvSpPr>
          <p:spPr>
            <a:xfrm>
              <a:off x="1325008" y="511177"/>
              <a:ext cx="6246" cy="6246"/>
            </a:xfrm>
            <a:custGeom>
              <a:avLst/>
              <a:gdLst>
                <a:gd name="connsiteX0" fmla="*/ 0 w 0"/>
                <a:gd name="connsiteY0" fmla="*/ 1936 h 0"/>
                <a:gd name="connsiteX1" fmla="*/ 0 w 0"/>
                <a:gd name="connsiteY1" fmla="*/ 0 h 0"/>
                <a:gd name="connsiteX2" fmla="*/ 4310 w 0"/>
                <a:gd name="connsiteY2" fmla="*/ 5809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0" y="1312"/>
                    <a:pt x="0" y="625"/>
                    <a:pt x="0" y="0"/>
                  </a:cubicBezTo>
                  <a:cubicBezTo>
                    <a:pt x="2311" y="1374"/>
                    <a:pt x="4560" y="2873"/>
                    <a:pt x="4310" y="5809"/>
                  </a:cubicBezTo>
                  <a:cubicBezTo>
                    <a:pt x="2873" y="4497"/>
                    <a:pt x="1437" y="3248"/>
                    <a:pt x="0" y="1936"/>
                  </a:cubicBezTo>
                  <a:close/>
                </a:path>
              </a:pathLst>
            </a:custGeom>
            <a:grpFill/>
            <a:ln w="6246" cap="flat">
              <a:noFill/>
              <a:prstDash val="solid"/>
              <a:miter/>
            </a:ln>
          </p:spPr>
          <p:txBody>
            <a:bodyPr rtlCol="0" anchor="ctr"/>
            <a:lstStyle/>
            <a:p>
              <a:endParaRPr lang="fr-FR" sz="2400"/>
            </a:p>
          </p:txBody>
        </p:sp>
        <p:sp>
          <p:nvSpPr>
            <p:cNvPr id="559" name="Freeform: Shape 558">
              <a:extLst>
                <a:ext uri="{FF2B5EF4-FFF2-40B4-BE49-F238E27FC236}">
                  <a16:creationId xmlns:a16="http://schemas.microsoft.com/office/drawing/2014/main" id="{031202D5-7168-4671-BE9E-4173F7D87717}"/>
                </a:ext>
              </a:extLst>
            </p:cNvPr>
            <p:cNvSpPr/>
            <p:nvPr/>
          </p:nvSpPr>
          <p:spPr>
            <a:xfrm>
              <a:off x="1344238" y="563040"/>
              <a:ext cx="6246" cy="6246"/>
            </a:xfrm>
            <a:custGeom>
              <a:avLst/>
              <a:gdLst>
                <a:gd name="connsiteX0" fmla="*/ 8 w 6246"/>
                <a:gd name="connsiteY0" fmla="*/ 10972 h 6246"/>
                <a:gd name="connsiteX1" fmla="*/ 4318 w 6246"/>
                <a:gd name="connsiteY1" fmla="*/ 354 h 6246"/>
                <a:gd name="connsiteX2" fmla="*/ 6442 w 6246"/>
                <a:gd name="connsiteY2" fmla="*/ 1291 h 6246"/>
                <a:gd name="connsiteX3" fmla="*/ 3256 w 6246"/>
                <a:gd name="connsiteY3" fmla="*/ 10972 h 6246"/>
                <a:gd name="connsiteX4" fmla="*/ 8 w 6246"/>
                <a:gd name="connsiteY4" fmla="*/ 10972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 y="10972"/>
                  </a:moveTo>
                  <a:cubicBezTo>
                    <a:pt x="-179" y="6912"/>
                    <a:pt x="2944" y="3914"/>
                    <a:pt x="4318" y="354"/>
                  </a:cubicBezTo>
                  <a:cubicBezTo>
                    <a:pt x="5505" y="-146"/>
                    <a:pt x="6442" y="-333"/>
                    <a:pt x="6442" y="1291"/>
                  </a:cubicBezTo>
                  <a:cubicBezTo>
                    <a:pt x="5130" y="4476"/>
                    <a:pt x="3506" y="7537"/>
                    <a:pt x="3256" y="10972"/>
                  </a:cubicBezTo>
                  <a:cubicBezTo>
                    <a:pt x="2194" y="12534"/>
                    <a:pt x="1070" y="13408"/>
                    <a:pt x="8" y="10972"/>
                  </a:cubicBezTo>
                  <a:close/>
                </a:path>
              </a:pathLst>
            </a:custGeom>
            <a:grpFill/>
            <a:ln w="6246" cap="flat">
              <a:noFill/>
              <a:prstDash val="solid"/>
              <a:miter/>
            </a:ln>
          </p:spPr>
          <p:txBody>
            <a:bodyPr rtlCol="0" anchor="ctr"/>
            <a:lstStyle/>
            <a:p>
              <a:endParaRPr lang="fr-FR" sz="2400"/>
            </a:p>
          </p:txBody>
        </p:sp>
        <p:sp>
          <p:nvSpPr>
            <p:cNvPr id="560" name="Freeform: Shape 559">
              <a:extLst>
                <a:ext uri="{FF2B5EF4-FFF2-40B4-BE49-F238E27FC236}">
                  <a16:creationId xmlns:a16="http://schemas.microsoft.com/office/drawing/2014/main" id="{2169B7FA-EAE7-46D2-84CA-EB85482D2E8E}"/>
                </a:ext>
              </a:extLst>
            </p:cNvPr>
            <p:cNvSpPr/>
            <p:nvPr/>
          </p:nvSpPr>
          <p:spPr>
            <a:xfrm>
              <a:off x="1291779" y="590440"/>
              <a:ext cx="49969" cy="31230"/>
            </a:xfrm>
            <a:custGeom>
              <a:avLst/>
              <a:gdLst>
                <a:gd name="connsiteX0" fmla="*/ 5434 w 49968"/>
                <a:gd name="connsiteY0" fmla="*/ 29044 h 31230"/>
                <a:gd name="connsiteX1" fmla="*/ 12929 w 49968"/>
                <a:gd name="connsiteY1" fmla="*/ 23235 h 31230"/>
                <a:gd name="connsiteX2" fmla="*/ 18926 w 49968"/>
                <a:gd name="connsiteY2" fmla="*/ 25984 h 31230"/>
                <a:gd name="connsiteX3" fmla="*/ 21986 w 49968"/>
                <a:gd name="connsiteY3" fmla="*/ 26921 h 31230"/>
                <a:gd name="connsiteX4" fmla="*/ 32979 w 49968"/>
                <a:gd name="connsiteY4" fmla="*/ 20175 h 31230"/>
                <a:gd name="connsiteX5" fmla="*/ 36727 w 49968"/>
                <a:gd name="connsiteY5" fmla="*/ 16177 h 31230"/>
                <a:gd name="connsiteX6" fmla="*/ 41286 w 49968"/>
                <a:gd name="connsiteY6" fmla="*/ 10306 h 31230"/>
                <a:gd name="connsiteX7" fmla="*/ 44410 w 49968"/>
                <a:gd name="connsiteY7" fmla="*/ 7558 h 31230"/>
                <a:gd name="connsiteX8" fmla="*/ 52092 w 49968"/>
                <a:gd name="connsiteY8" fmla="*/ 0 h 31230"/>
                <a:gd name="connsiteX9" fmla="*/ 52530 w 49968"/>
                <a:gd name="connsiteY9" fmla="*/ 250 h 31230"/>
                <a:gd name="connsiteX10" fmla="*/ 52530 w 49968"/>
                <a:gd name="connsiteY10" fmla="*/ 1062 h 31230"/>
                <a:gd name="connsiteX11" fmla="*/ 45034 w 49968"/>
                <a:gd name="connsiteY11" fmla="*/ 13616 h 31230"/>
                <a:gd name="connsiteX12" fmla="*/ 30981 w 49968"/>
                <a:gd name="connsiteY12" fmla="*/ 27233 h 31230"/>
                <a:gd name="connsiteX13" fmla="*/ 23798 w 49968"/>
                <a:gd name="connsiteY13" fmla="*/ 31980 h 31230"/>
                <a:gd name="connsiteX14" fmla="*/ 18738 w 49968"/>
                <a:gd name="connsiteY14" fmla="*/ 32417 h 31230"/>
                <a:gd name="connsiteX15" fmla="*/ 16240 w 49968"/>
                <a:gd name="connsiteY15" fmla="*/ 31293 h 31230"/>
                <a:gd name="connsiteX16" fmla="*/ 1187 w 49968"/>
                <a:gd name="connsiteY16" fmla="*/ 33729 h 31230"/>
                <a:gd name="connsiteX17" fmla="*/ 0 w 49968"/>
                <a:gd name="connsiteY17" fmla="*/ 33042 h 31230"/>
                <a:gd name="connsiteX18" fmla="*/ 5434 w 49968"/>
                <a:gd name="connsiteY18" fmla="*/ 2904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968" h="31230">
                  <a:moveTo>
                    <a:pt x="5434" y="29044"/>
                  </a:moveTo>
                  <a:cubicBezTo>
                    <a:pt x="8370" y="27545"/>
                    <a:pt x="9119" y="23797"/>
                    <a:pt x="12929" y="23235"/>
                  </a:cubicBezTo>
                  <a:cubicBezTo>
                    <a:pt x="15678" y="22798"/>
                    <a:pt x="18863" y="21611"/>
                    <a:pt x="18926" y="25984"/>
                  </a:cubicBezTo>
                  <a:cubicBezTo>
                    <a:pt x="19925" y="26296"/>
                    <a:pt x="20987" y="26608"/>
                    <a:pt x="21986" y="26921"/>
                  </a:cubicBezTo>
                  <a:cubicBezTo>
                    <a:pt x="27045" y="26546"/>
                    <a:pt x="29482" y="22673"/>
                    <a:pt x="32979" y="20175"/>
                  </a:cubicBezTo>
                  <a:cubicBezTo>
                    <a:pt x="34478" y="19051"/>
                    <a:pt x="35478" y="17551"/>
                    <a:pt x="36727" y="16177"/>
                  </a:cubicBezTo>
                  <a:cubicBezTo>
                    <a:pt x="38351" y="14303"/>
                    <a:pt x="39850" y="12305"/>
                    <a:pt x="41286" y="10306"/>
                  </a:cubicBezTo>
                  <a:cubicBezTo>
                    <a:pt x="42286" y="9369"/>
                    <a:pt x="43223" y="8307"/>
                    <a:pt x="44410" y="7558"/>
                  </a:cubicBezTo>
                  <a:cubicBezTo>
                    <a:pt x="47970" y="5809"/>
                    <a:pt x="47845" y="1062"/>
                    <a:pt x="52092" y="0"/>
                  </a:cubicBezTo>
                  <a:cubicBezTo>
                    <a:pt x="52217" y="0"/>
                    <a:pt x="52404" y="125"/>
                    <a:pt x="52530" y="250"/>
                  </a:cubicBezTo>
                  <a:cubicBezTo>
                    <a:pt x="52779" y="437"/>
                    <a:pt x="52779" y="750"/>
                    <a:pt x="52530" y="1062"/>
                  </a:cubicBezTo>
                  <a:cubicBezTo>
                    <a:pt x="51530" y="5996"/>
                    <a:pt x="47158" y="9244"/>
                    <a:pt x="45034" y="13616"/>
                  </a:cubicBezTo>
                  <a:cubicBezTo>
                    <a:pt x="41911" y="19488"/>
                    <a:pt x="36540" y="23423"/>
                    <a:pt x="30981" y="27233"/>
                  </a:cubicBezTo>
                  <a:cubicBezTo>
                    <a:pt x="28420" y="28607"/>
                    <a:pt x="26733" y="31105"/>
                    <a:pt x="23798" y="31980"/>
                  </a:cubicBezTo>
                  <a:cubicBezTo>
                    <a:pt x="22111" y="32355"/>
                    <a:pt x="20425" y="32604"/>
                    <a:pt x="18738" y="32417"/>
                  </a:cubicBezTo>
                  <a:cubicBezTo>
                    <a:pt x="17801" y="32167"/>
                    <a:pt x="17114" y="31543"/>
                    <a:pt x="16240" y="31293"/>
                  </a:cubicBezTo>
                  <a:cubicBezTo>
                    <a:pt x="11118" y="31605"/>
                    <a:pt x="6371" y="33791"/>
                    <a:pt x="1187" y="33729"/>
                  </a:cubicBezTo>
                  <a:cubicBezTo>
                    <a:pt x="750" y="33604"/>
                    <a:pt x="312" y="33354"/>
                    <a:pt x="0" y="33042"/>
                  </a:cubicBezTo>
                  <a:cubicBezTo>
                    <a:pt x="125" y="29856"/>
                    <a:pt x="3935" y="30731"/>
                    <a:pt x="5434" y="29044"/>
                  </a:cubicBezTo>
                  <a:close/>
                </a:path>
              </a:pathLst>
            </a:custGeom>
            <a:grpFill/>
            <a:ln w="6246" cap="flat">
              <a:noFill/>
              <a:prstDash val="solid"/>
              <a:miter/>
            </a:ln>
          </p:spPr>
          <p:txBody>
            <a:bodyPr rtlCol="0" anchor="ctr"/>
            <a:lstStyle/>
            <a:p>
              <a:endParaRPr lang="fr-FR" sz="2400"/>
            </a:p>
          </p:txBody>
        </p:sp>
        <p:sp>
          <p:nvSpPr>
            <p:cNvPr id="561" name="Freeform: Shape 560">
              <a:extLst>
                <a:ext uri="{FF2B5EF4-FFF2-40B4-BE49-F238E27FC236}">
                  <a16:creationId xmlns:a16="http://schemas.microsoft.com/office/drawing/2014/main" id="{233A30F9-A515-4E03-BB5F-37773FFF749F}"/>
                </a:ext>
              </a:extLst>
            </p:cNvPr>
            <p:cNvSpPr/>
            <p:nvPr/>
          </p:nvSpPr>
          <p:spPr>
            <a:xfrm>
              <a:off x="1335689" y="578884"/>
              <a:ext cx="12492" cy="18738"/>
            </a:xfrm>
            <a:custGeom>
              <a:avLst/>
              <a:gdLst>
                <a:gd name="connsiteX0" fmla="*/ 8557 w 12492"/>
                <a:gd name="connsiteY0" fmla="*/ 12555 h 18738"/>
                <a:gd name="connsiteX1" fmla="*/ 1062 w 12492"/>
                <a:gd name="connsiteY1" fmla="*/ 20300 h 18738"/>
                <a:gd name="connsiteX2" fmla="*/ 0 w 12492"/>
                <a:gd name="connsiteY2" fmla="*/ 15490 h 18738"/>
                <a:gd name="connsiteX3" fmla="*/ 3185 w 12492"/>
                <a:gd name="connsiteY3" fmla="*/ 7745 h 18738"/>
                <a:gd name="connsiteX4" fmla="*/ 6496 w 12492"/>
                <a:gd name="connsiteY4" fmla="*/ 9994 h 18738"/>
                <a:gd name="connsiteX5" fmla="*/ 8620 w 12492"/>
                <a:gd name="connsiteY5" fmla="*/ 5746 h 18738"/>
                <a:gd name="connsiteX6" fmla="*/ 10056 w 12492"/>
                <a:gd name="connsiteY6" fmla="*/ 8682 h 18738"/>
                <a:gd name="connsiteX7" fmla="*/ 14928 w 12492"/>
                <a:gd name="connsiteY7" fmla="*/ 0 h 18738"/>
                <a:gd name="connsiteX8" fmla="*/ 8557 w 12492"/>
                <a:gd name="connsiteY8" fmla="*/ 125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8557" y="12555"/>
                  </a:moveTo>
                  <a:cubicBezTo>
                    <a:pt x="4560" y="13929"/>
                    <a:pt x="5059" y="18863"/>
                    <a:pt x="1062" y="20300"/>
                  </a:cubicBezTo>
                  <a:cubicBezTo>
                    <a:pt x="-812" y="18988"/>
                    <a:pt x="2998" y="16615"/>
                    <a:pt x="0" y="15490"/>
                  </a:cubicBezTo>
                  <a:cubicBezTo>
                    <a:pt x="1062" y="12929"/>
                    <a:pt x="2124" y="10306"/>
                    <a:pt x="3185" y="7745"/>
                  </a:cubicBezTo>
                  <a:cubicBezTo>
                    <a:pt x="4997" y="7495"/>
                    <a:pt x="4934" y="9494"/>
                    <a:pt x="6496" y="9994"/>
                  </a:cubicBezTo>
                  <a:cubicBezTo>
                    <a:pt x="7183" y="8557"/>
                    <a:pt x="7932" y="7183"/>
                    <a:pt x="8620" y="5746"/>
                  </a:cubicBezTo>
                  <a:cubicBezTo>
                    <a:pt x="10306" y="6433"/>
                    <a:pt x="8994" y="7932"/>
                    <a:pt x="10056" y="8682"/>
                  </a:cubicBezTo>
                  <a:cubicBezTo>
                    <a:pt x="12367" y="6121"/>
                    <a:pt x="12242" y="2436"/>
                    <a:pt x="14928" y="0"/>
                  </a:cubicBezTo>
                  <a:cubicBezTo>
                    <a:pt x="16365" y="6121"/>
                    <a:pt x="14366" y="10119"/>
                    <a:pt x="8557" y="12555"/>
                  </a:cubicBezTo>
                  <a:close/>
                </a:path>
              </a:pathLst>
            </a:custGeom>
            <a:grpFill/>
            <a:ln w="6246" cap="flat">
              <a:noFill/>
              <a:prstDash val="solid"/>
              <a:miter/>
            </a:ln>
          </p:spPr>
          <p:txBody>
            <a:bodyPr rtlCol="0" anchor="ctr"/>
            <a:lstStyle/>
            <a:p>
              <a:endParaRPr lang="fr-FR" sz="2400"/>
            </a:p>
          </p:txBody>
        </p:sp>
        <p:sp>
          <p:nvSpPr>
            <p:cNvPr id="562" name="Freeform: Shape 561">
              <a:extLst>
                <a:ext uri="{FF2B5EF4-FFF2-40B4-BE49-F238E27FC236}">
                  <a16:creationId xmlns:a16="http://schemas.microsoft.com/office/drawing/2014/main" id="{3681FBCA-2CB2-4694-840B-6CACB49C581C}"/>
                </a:ext>
              </a:extLst>
            </p:cNvPr>
            <p:cNvSpPr/>
            <p:nvPr/>
          </p:nvSpPr>
          <p:spPr>
            <a:xfrm>
              <a:off x="1306942" y="614346"/>
              <a:ext cx="24984" cy="12492"/>
            </a:xfrm>
            <a:custGeom>
              <a:avLst/>
              <a:gdLst>
                <a:gd name="connsiteX0" fmla="*/ 8447 w 24984"/>
                <a:gd name="connsiteY0" fmla="*/ 7074 h 12492"/>
                <a:gd name="connsiteX1" fmla="*/ 14880 w 24984"/>
                <a:gd name="connsiteY1" fmla="*/ 2264 h 12492"/>
                <a:gd name="connsiteX2" fmla="*/ 19128 w 24984"/>
                <a:gd name="connsiteY2" fmla="*/ 2264 h 12492"/>
                <a:gd name="connsiteX3" fmla="*/ 25561 w 24984"/>
                <a:gd name="connsiteY3" fmla="*/ 328 h 12492"/>
                <a:gd name="connsiteX4" fmla="*/ 26623 w 24984"/>
                <a:gd name="connsiteY4" fmla="*/ 328 h 12492"/>
                <a:gd name="connsiteX5" fmla="*/ 23437 w 24984"/>
                <a:gd name="connsiteY5" fmla="*/ 4200 h 12492"/>
                <a:gd name="connsiteX6" fmla="*/ 12944 w 24984"/>
                <a:gd name="connsiteY6" fmla="*/ 10634 h 12492"/>
                <a:gd name="connsiteX7" fmla="*/ 9384 w 24984"/>
                <a:gd name="connsiteY7" fmla="*/ 12133 h 12492"/>
                <a:gd name="connsiteX8" fmla="*/ 5261 w 24984"/>
                <a:gd name="connsiteY8" fmla="*/ 13007 h 12492"/>
                <a:gd name="connsiteX9" fmla="*/ 140 w 24984"/>
                <a:gd name="connsiteY9" fmla="*/ 12695 h 12492"/>
                <a:gd name="connsiteX10" fmla="*/ 3700 w 24984"/>
                <a:gd name="connsiteY10" fmla="*/ 9260 h 12492"/>
                <a:gd name="connsiteX11" fmla="*/ 8447 w 24984"/>
                <a:gd name="connsiteY11" fmla="*/ 707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984" h="12492">
                  <a:moveTo>
                    <a:pt x="8447" y="7074"/>
                  </a:moveTo>
                  <a:cubicBezTo>
                    <a:pt x="10570" y="5450"/>
                    <a:pt x="12757" y="3826"/>
                    <a:pt x="14880" y="2264"/>
                  </a:cubicBezTo>
                  <a:cubicBezTo>
                    <a:pt x="16317" y="3201"/>
                    <a:pt x="17691" y="1140"/>
                    <a:pt x="19128" y="2264"/>
                  </a:cubicBezTo>
                  <a:cubicBezTo>
                    <a:pt x="22188" y="4200"/>
                    <a:pt x="22938" y="-359"/>
                    <a:pt x="25561" y="328"/>
                  </a:cubicBezTo>
                  <a:cubicBezTo>
                    <a:pt x="25936" y="-109"/>
                    <a:pt x="26248" y="-109"/>
                    <a:pt x="26623" y="328"/>
                  </a:cubicBezTo>
                  <a:cubicBezTo>
                    <a:pt x="26123" y="2014"/>
                    <a:pt x="23375" y="2139"/>
                    <a:pt x="23437" y="4200"/>
                  </a:cubicBezTo>
                  <a:cubicBezTo>
                    <a:pt x="19940" y="6324"/>
                    <a:pt x="16254" y="8198"/>
                    <a:pt x="12944" y="10634"/>
                  </a:cubicBezTo>
                  <a:cubicBezTo>
                    <a:pt x="11757" y="11134"/>
                    <a:pt x="10633" y="11821"/>
                    <a:pt x="9384" y="12133"/>
                  </a:cubicBezTo>
                  <a:cubicBezTo>
                    <a:pt x="8010" y="12383"/>
                    <a:pt x="6635" y="12508"/>
                    <a:pt x="5261" y="13007"/>
                  </a:cubicBezTo>
                  <a:cubicBezTo>
                    <a:pt x="3512" y="13570"/>
                    <a:pt x="1014" y="14819"/>
                    <a:pt x="140" y="12695"/>
                  </a:cubicBezTo>
                  <a:cubicBezTo>
                    <a:pt x="-672" y="10696"/>
                    <a:pt x="2263" y="10259"/>
                    <a:pt x="3700" y="9260"/>
                  </a:cubicBezTo>
                  <a:cubicBezTo>
                    <a:pt x="5136" y="8136"/>
                    <a:pt x="7010" y="8011"/>
                    <a:pt x="8447" y="7074"/>
                  </a:cubicBezTo>
                  <a:close/>
                </a:path>
              </a:pathLst>
            </a:custGeom>
            <a:grpFill/>
            <a:ln w="6246" cap="flat">
              <a:noFill/>
              <a:prstDash val="solid"/>
              <a:miter/>
            </a:ln>
          </p:spPr>
          <p:txBody>
            <a:bodyPr rtlCol="0" anchor="ctr"/>
            <a:lstStyle/>
            <a:p>
              <a:endParaRPr lang="fr-FR" sz="2400"/>
            </a:p>
          </p:txBody>
        </p:sp>
        <p:sp>
          <p:nvSpPr>
            <p:cNvPr id="563" name="Freeform: Shape 562">
              <a:extLst>
                <a:ext uri="{FF2B5EF4-FFF2-40B4-BE49-F238E27FC236}">
                  <a16:creationId xmlns:a16="http://schemas.microsoft.com/office/drawing/2014/main" id="{DBDF339A-A8F6-47E4-A7BC-5617A42A93C8}"/>
                </a:ext>
              </a:extLst>
            </p:cNvPr>
            <p:cNvSpPr/>
            <p:nvPr/>
          </p:nvSpPr>
          <p:spPr>
            <a:xfrm>
              <a:off x="1321822" y="603994"/>
              <a:ext cx="12492" cy="12492"/>
            </a:xfrm>
            <a:custGeom>
              <a:avLst/>
              <a:gdLst>
                <a:gd name="connsiteX0" fmla="*/ 4247 w 12492"/>
                <a:gd name="connsiteY0" fmla="*/ 12555 h 12492"/>
                <a:gd name="connsiteX1" fmla="*/ 0 w 12492"/>
                <a:gd name="connsiteY1" fmla="*/ 12555 h 12492"/>
                <a:gd name="connsiteX2" fmla="*/ 14991 w 12492"/>
                <a:gd name="connsiteY2" fmla="*/ 0 h 12492"/>
                <a:gd name="connsiteX3" fmla="*/ 12055 w 12492"/>
                <a:gd name="connsiteY3" fmla="*/ 5684 h 12492"/>
                <a:gd name="connsiteX4" fmla="*/ 4247 w 12492"/>
                <a:gd name="connsiteY4" fmla="*/ 12555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4247" y="12555"/>
                  </a:moveTo>
                  <a:cubicBezTo>
                    <a:pt x="2811" y="13054"/>
                    <a:pt x="1436" y="14241"/>
                    <a:pt x="0" y="12555"/>
                  </a:cubicBezTo>
                  <a:cubicBezTo>
                    <a:pt x="5934" y="9244"/>
                    <a:pt x="10556" y="4747"/>
                    <a:pt x="14991" y="0"/>
                  </a:cubicBezTo>
                  <a:cubicBezTo>
                    <a:pt x="16864" y="3061"/>
                    <a:pt x="13179" y="4060"/>
                    <a:pt x="12055" y="5684"/>
                  </a:cubicBezTo>
                  <a:cubicBezTo>
                    <a:pt x="10056" y="8307"/>
                    <a:pt x="6871" y="10306"/>
                    <a:pt x="4247" y="12555"/>
                  </a:cubicBezTo>
                  <a:close/>
                </a:path>
              </a:pathLst>
            </a:custGeom>
            <a:grpFill/>
            <a:ln w="6246" cap="flat">
              <a:noFill/>
              <a:prstDash val="solid"/>
              <a:miter/>
            </a:ln>
          </p:spPr>
          <p:txBody>
            <a:bodyPr rtlCol="0" anchor="ctr"/>
            <a:lstStyle/>
            <a:p>
              <a:endParaRPr lang="fr-FR" sz="2400"/>
            </a:p>
          </p:txBody>
        </p:sp>
        <p:sp>
          <p:nvSpPr>
            <p:cNvPr id="564" name="Freeform: Shape 563">
              <a:extLst>
                <a:ext uri="{FF2B5EF4-FFF2-40B4-BE49-F238E27FC236}">
                  <a16:creationId xmlns:a16="http://schemas.microsoft.com/office/drawing/2014/main" id="{727D5A11-0FF5-456E-A5D5-07645F2F218C}"/>
                </a:ext>
              </a:extLst>
            </p:cNvPr>
            <p:cNvSpPr/>
            <p:nvPr/>
          </p:nvSpPr>
          <p:spPr>
            <a:xfrm>
              <a:off x="1356051" y="564394"/>
              <a:ext cx="6246" cy="12492"/>
            </a:xfrm>
            <a:custGeom>
              <a:avLst/>
              <a:gdLst>
                <a:gd name="connsiteX0" fmla="*/ 1062 w 6246"/>
                <a:gd name="connsiteY0" fmla="*/ 10618 h 12492"/>
                <a:gd name="connsiteX1" fmla="*/ 4247 w 6246"/>
                <a:gd name="connsiteY1" fmla="*/ 0 h 12492"/>
                <a:gd name="connsiteX2" fmla="*/ 5247 w 6246"/>
                <a:gd name="connsiteY2" fmla="*/ 6371 h 12492"/>
                <a:gd name="connsiteX3" fmla="*/ 0 w 6246"/>
                <a:gd name="connsiteY3" fmla="*/ 16427 h 12492"/>
                <a:gd name="connsiteX4" fmla="*/ 1062 w 6246"/>
                <a:gd name="connsiteY4" fmla="*/ 1061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62" y="10618"/>
                  </a:moveTo>
                  <a:cubicBezTo>
                    <a:pt x="2124" y="7058"/>
                    <a:pt x="3186" y="3560"/>
                    <a:pt x="4247" y="0"/>
                  </a:cubicBezTo>
                  <a:cubicBezTo>
                    <a:pt x="8557" y="1499"/>
                    <a:pt x="5684" y="4685"/>
                    <a:pt x="5247" y="6371"/>
                  </a:cubicBezTo>
                  <a:cubicBezTo>
                    <a:pt x="4310" y="9931"/>
                    <a:pt x="1811" y="13117"/>
                    <a:pt x="0" y="16427"/>
                  </a:cubicBezTo>
                  <a:cubicBezTo>
                    <a:pt x="375" y="14428"/>
                    <a:pt x="687" y="12555"/>
                    <a:pt x="1062" y="10618"/>
                  </a:cubicBezTo>
                  <a:close/>
                </a:path>
              </a:pathLst>
            </a:custGeom>
            <a:grpFill/>
            <a:ln w="6246" cap="flat">
              <a:noFill/>
              <a:prstDash val="solid"/>
              <a:miter/>
            </a:ln>
          </p:spPr>
          <p:txBody>
            <a:bodyPr rtlCol="0" anchor="ctr"/>
            <a:lstStyle/>
            <a:p>
              <a:endParaRPr lang="fr-FR" sz="2400"/>
            </a:p>
          </p:txBody>
        </p:sp>
        <p:sp>
          <p:nvSpPr>
            <p:cNvPr id="565" name="Freeform: Shape 564">
              <a:extLst>
                <a:ext uri="{FF2B5EF4-FFF2-40B4-BE49-F238E27FC236}">
                  <a16:creationId xmlns:a16="http://schemas.microsoft.com/office/drawing/2014/main" id="{4FE5AC69-A7EB-4406-A740-609135DFAF6F}"/>
                </a:ext>
              </a:extLst>
            </p:cNvPr>
            <p:cNvSpPr/>
            <p:nvPr/>
          </p:nvSpPr>
          <p:spPr>
            <a:xfrm>
              <a:off x="1332503" y="607866"/>
              <a:ext cx="6246" cy="6246"/>
            </a:xfrm>
            <a:custGeom>
              <a:avLst/>
              <a:gdLst>
                <a:gd name="connsiteX0" fmla="*/ 1062 w 6246"/>
                <a:gd name="connsiteY0" fmla="*/ 6746 h 6246"/>
                <a:gd name="connsiteX1" fmla="*/ 0 w 6246"/>
                <a:gd name="connsiteY1" fmla="*/ 6746 h 6246"/>
                <a:gd name="connsiteX2" fmla="*/ 7495 w 6246"/>
                <a:gd name="connsiteY2" fmla="*/ 0 h 6246"/>
                <a:gd name="connsiteX3" fmla="*/ 5372 w 6246"/>
                <a:gd name="connsiteY3" fmla="*/ 3873 h 6246"/>
                <a:gd name="connsiteX4" fmla="*/ 1062 w 6246"/>
                <a:gd name="connsiteY4" fmla="*/ 674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6746"/>
                  </a:moveTo>
                  <a:cubicBezTo>
                    <a:pt x="687" y="6746"/>
                    <a:pt x="375" y="6746"/>
                    <a:pt x="0" y="6746"/>
                  </a:cubicBezTo>
                  <a:cubicBezTo>
                    <a:pt x="2623" y="4622"/>
                    <a:pt x="3560" y="937"/>
                    <a:pt x="7495" y="0"/>
                  </a:cubicBezTo>
                  <a:cubicBezTo>
                    <a:pt x="8120" y="1874"/>
                    <a:pt x="5871" y="2498"/>
                    <a:pt x="5372" y="3873"/>
                  </a:cubicBezTo>
                  <a:cubicBezTo>
                    <a:pt x="3935" y="4809"/>
                    <a:pt x="2498" y="5809"/>
                    <a:pt x="1062" y="6746"/>
                  </a:cubicBezTo>
                  <a:close/>
                </a:path>
              </a:pathLst>
            </a:custGeom>
            <a:grpFill/>
            <a:ln w="6246" cap="flat">
              <a:noFill/>
              <a:prstDash val="solid"/>
              <a:miter/>
            </a:ln>
          </p:spPr>
          <p:txBody>
            <a:bodyPr rtlCol="0" anchor="ctr"/>
            <a:lstStyle/>
            <a:p>
              <a:endParaRPr lang="fr-FR" sz="2400"/>
            </a:p>
          </p:txBody>
        </p:sp>
        <p:sp>
          <p:nvSpPr>
            <p:cNvPr id="566" name="Freeform: Shape 565">
              <a:extLst>
                <a:ext uri="{FF2B5EF4-FFF2-40B4-BE49-F238E27FC236}">
                  <a16:creationId xmlns:a16="http://schemas.microsoft.com/office/drawing/2014/main" id="{03AEDFFE-596D-443E-BEA0-0A19AF0EB6A8}"/>
                </a:ext>
              </a:extLst>
            </p:cNvPr>
            <p:cNvSpPr/>
            <p:nvPr/>
          </p:nvSpPr>
          <p:spPr>
            <a:xfrm>
              <a:off x="1337868" y="606867"/>
              <a:ext cx="6246" cy="6246"/>
            </a:xfrm>
            <a:custGeom>
              <a:avLst/>
              <a:gdLst>
                <a:gd name="connsiteX0" fmla="*/ 7 w 0"/>
                <a:gd name="connsiteY0" fmla="*/ 4872 h 0"/>
                <a:gd name="connsiteX1" fmla="*/ 2130 w 0"/>
                <a:gd name="connsiteY1" fmla="*/ 999 h 0"/>
                <a:gd name="connsiteX2" fmla="*/ 3192 w 0"/>
                <a:gd name="connsiteY2" fmla="*/ 0 h 0"/>
                <a:gd name="connsiteX3" fmla="*/ 4254 w 0"/>
                <a:gd name="connsiteY3" fmla="*/ 0 h 0"/>
                <a:gd name="connsiteX4" fmla="*/ 7 w 0"/>
                <a:gd name="connsiteY4" fmla="*/ 4872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7" y="4872"/>
                  </a:moveTo>
                  <a:cubicBezTo>
                    <a:pt x="-118" y="3248"/>
                    <a:pt x="1506" y="2311"/>
                    <a:pt x="2130" y="999"/>
                  </a:cubicBezTo>
                  <a:cubicBezTo>
                    <a:pt x="2505" y="687"/>
                    <a:pt x="2880" y="312"/>
                    <a:pt x="3192" y="0"/>
                  </a:cubicBezTo>
                  <a:cubicBezTo>
                    <a:pt x="3567" y="0"/>
                    <a:pt x="3879" y="0"/>
                    <a:pt x="4254" y="0"/>
                  </a:cubicBezTo>
                  <a:cubicBezTo>
                    <a:pt x="4004" y="2436"/>
                    <a:pt x="2005" y="3685"/>
                    <a:pt x="7" y="4872"/>
                  </a:cubicBezTo>
                  <a:close/>
                </a:path>
              </a:pathLst>
            </a:custGeom>
            <a:grpFill/>
            <a:ln w="6246" cap="flat">
              <a:noFill/>
              <a:prstDash val="solid"/>
              <a:miter/>
            </a:ln>
          </p:spPr>
          <p:txBody>
            <a:bodyPr rtlCol="0" anchor="ctr"/>
            <a:lstStyle/>
            <a:p>
              <a:endParaRPr lang="fr-FR" sz="2400"/>
            </a:p>
          </p:txBody>
        </p:sp>
        <p:sp>
          <p:nvSpPr>
            <p:cNvPr id="567" name="Freeform: Shape 566">
              <a:extLst>
                <a:ext uri="{FF2B5EF4-FFF2-40B4-BE49-F238E27FC236}">
                  <a16:creationId xmlns:a16="http://schemas.microsoft.com/office/drawing/2014/main" id="{9B304F13-9B8B-4DBE-9402-A64DF9D3A8D2}"/>
                </a:ext>
              </a:extLst>
            </p:cNvPr>
            <p:cNvSpPr/>
            <p:nvPr/>
          </p:nvSpPr>
          <p:spPr>
            <a:xfrm>
              <a:off x="1340998" y="574012"/>
              <a:ext cx="6246" cy="6246"/>
            </a:xfrm>
            <a:custGeom>
              <a:avLst/>
              <a:gdLst>
                <a:gd name="connsiteX0" fmla="*/ 3248 w 6246"/>
                <a:gd name="connsiteY0" fmla="*/ 0 h 6246"/>
                <a:gd name="connsiteX1" fmla="*/ 6433 w 6246"/>
                <a:gd name="connsiteY1" fmla="*/ 0 h 6246"/>
                <a:gd name="connsiteX2" fmla="*/ 4809 w 6246"/>
                <a:gd name="connsiteY2" fmla="*/ 3935 h 6246"/>
                <a:gd name="connsiteX3" fmla="*/ 999 w 6246"/>
                <a:gd name="connsiteY3" fmla="*/ 10806 h 6246"/>
                <a:gd name="connsiteX4" fmla="*/ 0 w 6246"/>
                <a:gd name="connsiteY4" fmla="*/ 5871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4310" y="1437"/>
                    <a:pt x="5372" y="312"/>
                    <a:pt x="6433" y="0"/>
                  </a:cubicBezTo>
                  <a:cubicBezTo>
                    <a:pt x="7495" y="1811"/>
                    <a:pt x="9744" y="3498"/>
                    <a:pt x="4809" y="3935"/>
                  </a:cubicBezTo>
                  <a:cubicBezTo>
                    <a:pt x="2623" y="4122"/>
                    <a:pt x="3123" y="8307"/>
                    <a:pt x="999" y="10806"/>
                  </a:cubicBezTo>
                  <a:cubicBezTo>
                    <a:pt x="812" y="8745"/>
                    <a:pt x="1124" y="7121"/>
                    <a:pt x="0" y="5871"/>
                  </a:cubicBezTo>
                  <a:cubicBezTo>
                    <a:pt x="812" y="3748"/>
                    <a:pt x="687" y="1249"/>
                    <a:pt x="3248" y="0"/>
                  </a:cubicBezTo>
                  <a:close/>
                </a:path>
              </a:pathLst>
            </a:custGeom>
            <a:grpFill/>
            <a:ln w="6246" cap="flat">
              <a:noFill/>
              <a:prstDash val="solid"/>
              <a:miter/>
            </a:ln>
          </p:spPr>
          <p:txBody>
            <a:bodyPr rtlCol="0" anchor="ctr"/>
            <a:lstStyle/>
            <a:p>
              <a:endParaRPr lang="fr-FR" sz="2400"/>
            </a:p>
          </p:txBody>
        </p:sp>
        <p:sp>
          <p:nvSpPr>
            <p:cNvPr id="568" name="Freeform: Shape 567">
              <a:extLst>
                <a:ext uri="{FF2B5EF4-FFF2-40B4-BE49-F238E27FC236}">
                  <a16:creationId xmlns:a16="http://schemas.microsoft.com/office/drawing/2014/main" id="{8B8234CB-97EF-4CE7-98EA-524FD445D059}"/>
                </a:ext>
              </a:extLst>
            </p:cNvPr>
            <p:cNvSpPr/>
            <p:nvPr/>
          </p:nvSpPr>
          <p:spPr>
            <a:xfrm>
              <a:off x="1191280" y="614612"/>
              <a:ext cx="93691" cy="24984"/>
            </a:xfrm>
            <a:custGeom>
              <a:avLst/>
              <a:gdLst>
                <a:gd name="connsiteX0" fmla="*/ 0 w 93690"/>
                <a:gd name="connsiteY0" fmla="*/ 1936 h 24984"/>
                <a:gd name="connsiteX1" fmla="*/ 4310 w 93690"/>
                <a:gd name="connsiteY1" fmla="*/ 0 h 24984"/>
                <a:gd name="connsiteX2" fmla="*/ 18488 w 93690"/>
                <a:gd name="connsiteY2" fmla="*/ 9681 h 24984"/>
                <a:gd name="connsiteX3" fmla="*/ 14741 w 93690"/>
                <a:gd name="connsiteY3" fmla="*/ 3123 h 24984"/>
                <a:gd name="connsiteX4" fmla="*/ 46658 w 93690"/>
                <a:gd name="connsiteY4" fmla="*/ 14803 h 24984"/>
                <a:gd name="connsiteX5" fmla="*/ 40662 w 93690"/>
                <a:gd name="connsiteY5" fmla="*/ 13491 h 24984"/>
                <a:gd name="connsiteX6" fmla="*/ 47158 w 93690"/>
                <a:gd name="connsiteY6" fmla="*/ 12180 h 24984"/>
                <a:gd name="connsiteX7" fmla="*/ 53716 w 93690"/>
                <a:gd name="connsiteY7" fmla="*/ 10806 h 24984"/>
                <a:gd name="connsiteX8" fmla="*/ 58775 w 93690"/>
                <a:gd name="connsiteY8" fmla="*/ 10681 h 24984"/>
                <a:gd name="connsiteX9" fmla="*/ 61711 w 93690"/>
                <a:gd name="connsiteY9" fmla="*/ 12929 h 24984"/>
                <a:gd name="connsiteX10" fmla="*/ 62398 w 93690"/>
                <a:gd name="connsiteY10" fmla="*/ 15678 h 24984"/>
                <a:gd name="connsiteX11" fmla="*/ 54716 w 93690"/>
                <a:gd name="connsiteY11" fmla="*/ 18426 h 24984"/>
                <a:gd name="connsiteX12" fmla="*/ 33979 w 93690"/>
                <a:gd name="connsiteY12" fmla="*/ 17364 h 24984"/>
                <a:gd name="connsiteX13" fmla="*/ 53779 w 93690"/>
                <a:gd name="connsiteY13" fmla="*/ 18738 h 24984"/>
                <a:gd name="connsiteX14" fmla="*/ 66770 w 93690"/>
                <a:gd name="connsiteY14" fmla="*/ 16427 h 24984"/>
                <a:gd name="connsiteX15" fmla="*/ 77076 w 93690"/>
                <a:gd name="connsiteY15" fmla="*/ 16302 h 24984"/>
                <a:gd name="connsiteX16" fmla="*/ 86883 w 93690"/>
                <a:gd name="connsiteY16" fmla="*/ 15178 h 24984"/>
                <a:gd name="connsiteX17" fmla="*/ 93379 w 93690"/>
                <a:gd name="connsiteY17" fmla="*/ 16115 h 24984"/>
                <a:gd name="connsiteX18" fmla="*/ 88444 w 93690"/>
                <a:gd name="connsiteY18" fmla="*/ 19113 h 24984"/>
                <a:gd name="connsiteX19" fmla="*/ 72329 w 93690"/>
                <a:gd name="connsiteY19" fmla="*/ 22986 h 24984"/>
                <a:gd name="connsiteX20" fmla="*/ 61274 w 93690"/>
                <a:gd name="connsiteY20" fmla="*/ 23922 h 24984"/>
                <a:gd name="connsiteX21" fmla="*/ 75265 w 93690"/>
                <a:gd name="connsiteY21" fmla="*/ 22236 h 24984"/>
                <a:gd name="connsiteX22" fmla="*/ 88569 w 93690"/>
                <a:gd name="connsiteY22" fmla="*/ 19363 h 24984"/>
                <a:gd name="connsiteX23" fmla="*/ 94815 w 93690"/>
                <a:gd name="connsiteY23" fmla="*/ 18863 h 24984"/>
                <a:gd name="connsiteX24" fmla="*/ 99875 w 93690"/>
                <a:gd name="connsiteY24" fmla="*/ 19925 h 24984"/>
                <a:gd name="connsiteX25" fmla="*/ 82635 w 93690"/>
                <a:gd name="connsiteY25" fmla="*/ 26421 h 24984"/>
                <a:gd name="connsiteX26" fmla="*/ 81761 w 93690"/>
                <a:gd name="connsiteY26" fmla="*/ 26608 h 24984"/>
                <a:gd name="connsiteX27" fmla="*/ 82698 w 93690"/>
                <a:gd name="connsiteY27" fmla="*/ 27545 h 24984"/>
                <a:gd name="connsiteX28" fmla="*/ 71767 w 93690"/>
                <a:gd name="connsiteY28" fmla="*/ 29856 h 24984"/>
                <a:gd name="connsiteX29" fmla="*/ 68270 w 93690"/>
                <a:gd name="connsiteY29" fmla="*/ 28420 h 24984"/>
                <a:gd name="connsiteX30" fmla="*/ 58900 w 93690"/>
                <a:gd name="connsiteY30" fmla="*/ 29856 h 24984"/>
                <a:gd name="connsiteX31" fmla="*/ 58401 w 93690"/>
                <a:gd name="connsiteY31" fmla="*/ 29794 h 24984"/>
                <a:gd name="connsiteX32" fmla="*/ 57901 w 93690"/>
                <a:gd name="connsiteY32" fmla="*/ 29169 h 24984"/>
                <a:gd name="connsiteX33" fmla="*/ 64959 w 93690"/>
                <a:gd name="connsiteY33" fmla="*/ 27420 h 24984"/>
                <a:gd name="connsiteX34" fmla="*/ 48157 w 93690"/>
                <a:gd name="connsiteY34" fmla="*/ 26983 h 24984"/>
                <a:gd name="connsiteX35" fmla="*/ 53404 w 93690"/>
                <a:gd name="connsiteY35" fmla="*/ 24984 h 24984"/>
                <a:gd name="connsiteX36" fmla="*/ 23610 w 93690"/>
                <a:gd name="connsiteY36" fmla="*/ 19925 h 24984"/>
                <a:gd name="connsiteX37" fmla="*/ 0 w 93690"/>
                <a:gd name="connsiteY37" fmla="*/ 1936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3690" h="24984">
                  <a:moveTo>
                    <a:pt x="0" y="1936"/>
                  </a:moveTo>
                  <a:cubicBezTo>
                    <a:pt x="1374" y="1187"/>
                    <a:pt x="4934" y="4372"/>
                    <a:pt x="4310" y="0"/>
                  </a:cubicBezTo>
                  <a:cubicBezTo>
                    <a:pt x="8869" y="3123"/>
                    <a:pt x="13367" y="6184"/>
                    <a:pt x="18488" y="9681"/>
                  </a:cubicBezTo>
                  <a:cubicBezTo>
                    <a:pt x="18676" y="6121"/>
                    <a:pt x="15240" y="5746"/>
                    <a:pt x="14741" y="3123"/>
                  </a:cubicBezTo>
                  <a:cubicBezTo>
                    <a:pt x="24360" y="9681"/>
                    <a:pt x="32854" y="18988"/>
                    <a:pt x="46658" y="14803"/>
                  </a:cubicBezTo>
                  <a:cubicBezTo>
                    <a:pt x="45159" y="13616"/>
                    <a:pt x="42286" y="15490"/>
                    <a:pt x="40662" y="13491"/>
                  </a:cubicBezTo>
                  <a:cubicBezTo>
                    <a:pt x="42473" y="11618"/>
                    <a:pt x="44909" y="12180"/>
                    <a:pt x="47158" y="12180"/>
                  </a:cubicBezTo>
                  <a:cubicBezTo>
                    <a:pt x="49469" y="12180"/>
                    <a:pt x="51780" y="12242"/>
                    <a:pt x="53716" y="10806"/>
                  </a:cubicBezTo>
                  <a:cubicBezTo>
                    <a:pt x="55403" y="10181"/>
                    <a:pt x="57089" y="10119"/>
                    <a:pt x="58775" y="10681"/>
                  </a:cubicBezTo>
                  <a:cubicBezTo>
                    <a:pt x="60150" y="10868"/>
                    <a:pt x="59338" y="13117"/>
                    <a:pt x="61711" y="12929"/>
                  </a:cubicBezTo>
                  <a:cubicBezTo>
                    <a:pt x="63710" y="12742"/>
                    <a:pt x="63585" y="14553"/>
                    <a:pt x="62398" y="15678"/>
                  </a:cubicBezTo>
                  <a:cubicBezTo>
                    <a:pt x="60337" y="17676"/>
                    <a:pt x="57714" y="18676"/>
                    <a:pt x="54716" y="18426"/>
                  </a:cubicBezTo>
                  <a:cubicBezTo>
                    <a:pt x="47158" y="17801"/>
                    <a:pt x="39475" y="18676"/>
                    <a:pt x="33979" y="17364"/>
                  </a:cubicBezTo>
                  <a:cubicBezTo>
                    <a:pt x="39163" y="18363"/>
                    <a:pt x="46533" y="18051"/>
                    <a:pt x="53779" y="18738"/>
                  </a:cubicBezTo>
                  <a:cubicBezTo>
                    <a:pt x="58338" y="19175"/>
                    <a:pt x="62523" y="17614"/>
                    <a:pt x="66770" y="16427"/>
                  </a:cubicBezTo>
                  <a:cubicBezTo>
                    <a:pt x="70206" y="15490"/>
                    <a:pt x="73391" y="14678"/>
                    <a:pt x="77076" y="16302"/>
                  </a:cubicBezTo>
                  <a:cubicBezTo>
                    <a:pt x="80324" y="17801"/>
                    <a:pt x="83635" y="15615"/>
                    <a:pt x="86883" y="15178"/>
                  </a:cubicBezTo>
                  <a:cubicBezTo>
                    <a:pt x="89131" y="14866"/>
                    <a:pt x="91692" y="13179"/>
                    <a:pt x="93379" y="16115"/>
                  </a:cubicBezTo>
                  <a:cubicBezTo>
                    <a:pt x="92629" y="18301"/>
                    <a:pt x="90443" y="18551"/>
                    <a:pt x="88444" y="19113"/>
                  </a:cubicBezTo>
                  <a:cubicBezTo>
                    <a:pt x="83073" y="20487"/>
                    <a:pt x="77826" y="22049"/>
                    <a:pt x="72329" y="22986"/>
                  </a:cubicBezTo>
                  <a:cubicBezTo>
                    <a:pt x="68957" y="23673"/>
                    <a:pt x="65396" y="21736"/>
                    <a:pt x="61274" y="23922"/>
                  </a:cubicBezTo>
                  <a:cubicBezTo>
                    <a:pt x="66521" y="23548"/>
                    <a:pt x="70955" y="23548"/>
                    <a:pt x="75265" y="22236"/>
                  </a:cubicBezTo>
                  <a:cubicBezTo>
                    <a:pt x="79950" y="22174"/>
                    <a:pt x="84010" y="19738"/>
                    <a:pt x="88569" y="19363"/>
                  </a:cubicBezTo>
                  <a:cubicBezTo>
                    <a:pt x="90693" y="19925"/>
                    <a:pt x="92754" y="19363"/>
                    <a:pt x="94815" y="18863"/>
                  </a:cubicBezTo>
                  <a:cubicBezTo>
                    <a:pt x="96627" y="18426"/>
                    <a:pt x="98688" y="17614"/>
                    <a:pt x="99875" y="19925"/>
                  </a:cubicBezTo>
                  <a:cubicBezTo>
                    <a:pt x="95003" y="24047"/>
                    <a:pt x="88944" y="25484"/>
                    <a:pt x="82635" y="26421"/>
                  </a:cubicBezTo>
                  <a:cubicBezTo>
                    <a:pt x="82323" y="26483"/>
                    <a:pt x="81948" y="26233"/>
                    <a:pt x="81761" y="26608"/>
                  </a:cubicBezTo>
                  <a:cubicBezTo>
                    <a:pt x="82323" y="26733"/>
                    <a:pt x="82573" y="27045"/>
                    <a:pt x="82698" y="27545"/>
                  </a:cubicBezTo>
                  <a:cubicBezTo>
                    <a:pt x="79575" y="30231"/>
                    <a:pt x="76015" y="31293"/>
                    <a:pt x="71767" y="29856"/>
                  </a:cubicBezTo>
                  <a:cubicBezTo>
                    <a:pt x="71143" y="28295"/>
                    <a:pt x="70268" y="27795"/>
                    <a:pt x="68270" y="28420"/>
                  </a:cubicBezTo>
                  <a:cubicBezTo>
                    <a:pt x="65271" y="29294"/>
                    <a:pt x="62211" y="30169"/>
                    <a:pt x="58900" y="29856"/>
                  </a:cubicBezTo>
                  <a:cubicBezTo>
                    <a:pt x="58713" y="29856"/>
                    <a:pt x="58463" y="29856"/>
                    <a:pt x="58401" y="29794"/>
                  </a:cubicBezTo>
                  <a:cubicBezTo>
                    <a:pt x="58213" y="29606"/>
                    <a:pt x="58088" y="29356"/>
                    <a:pt x="57901" y="29169"/>
                  </a:cubicBezTo>
                  <a:cubicBezTo>
                    <a:pt x="60025" y="28669"/>
                    <a:pt x="62148" y="28107"/>
                    <a:pt x="64959" y="27420"/>
                  </a:cubicBezTo>
                  <a:cubicBezTo>
                    <a:pt x="58838" y="25984"/>
                    <a:pt x="53404" y="29919"/>
                    <a:pt x="48157" y="26983"/>
                  </a:cubicBezTo>
                  <a:cubicBezTo>
                    <a:pt x="49906" y="26296"/>
                    <a:pt x="51655" y="25671"/>
                    <a:pt x="53404" y="24984"/>
                  </a:cubicBezTo>
                  <a:cubicBezTo>
                    <a:pt x="43223" y="24110"/>
                    <a:pt x="32917" y="24672"/>
                    <a:pt x="23610" y="19925"/>
                  </a:cubicBezTo>
                  <a:cubicBezTo>
                    <a:pt x="14366" y="15365"/>
                    <a:pt x="7495" y="8370"/>
                    <a:pt x="0" y="1936"/>
                  </a:cubicBezTo>
                  <a:close/>
                </a:path>
              </a:pathLst>
            </a:custGeom>
            <a:grpFill/>
            <a:ln w="6246" cap="flat">
              <a:noFill/>
              <a:prstDash val="solid"/>
              <a:miter/>
            </a:ln>
          </p:spPr>
          <p:txBody>
            <a:bodyPr rtlCol="0" anchor="ctr"/>
            <a:lstStyle/>
            <a:p>
              <a:endParaRPr lang="fr-FR" sz="2400"/>
            </a:p>
          </p:txBody>
        </p:sp>
        <p:sp>
          <p:nvSpPr>
            <p:cNvPr id="569" name="Freeform: Shape 568">
              <a:extLst>
                <a:ext uri="{FF2B5EF4-FFF2-40B4-BE49-F238E27FC236}">
                  <a16:creationId xmlns:a16="http://schemas.microsoft.com/office/drawing/2014/main" id="{8EB101F1-B464-43B9-89DF-A1937286740C}"/>
                </a:ext>
              </a:extLst>
            </p:cNvPr>
            <p:cNvSpPr/>
            <p:nvPr/>
          </p:nvSpPr>
          <p:spPr>
            <a:xfrm>
              <a:off x="1219835" y="506305"/>
              <a:ext cx="18738" cy="62461"/>
            </a:xfrm>
            <a:custGeom>
              <a:avLst/>
              <a:gdLst>
                <a:gd name="connsiteX0" fmla="*/ 13169 w 18738"/>
                <a:gd name="connsiteY0" fmla="*/ 64834 h 62460"/>
                <a:gd name="connsiteX1" fmla="*/ 6735 w 18738"/>
                <a:gd name="connsiteY1" fmla="*/ 59026 h 62460"/>
                <a:gd name="connsiteX2" fmla="*/ 3550 w 18738"/>
                <a:gd name="connsiteY2" fmla="*/ 55153 h 62460"/>
                <a:gd name="connsiteX3" fmla="*/ 2488 w 18738"/>
                <a:gd name="connsiteY3" fmla="*/ 53217 h 62460"/>
                <a:gd name="connsiteX4" fmla="*/ 1426 w 18738"/>
                <a:gd name="connsiteY4" fmla="*/ 43535 h 62460"/>
                <a:gd name="connsiteX5" fmla="*/ 552 w 18738"/>
                <a:gd name="connsiteY5" fmla="*/ 32667 h 62460"/>
                <a:gd name="connsiteX6" fmla="*/ 6236 w 18738"/>
                <a:gd name="connsiteY6" fmla="*/ 9557 h 62460"/>
                <a:gd name="connsiteX7" fmla="*/ 12169 w 18738"/>
                <a:gd name="connsiteY7" fmla="*/ 2936 h 62460"/>
                <a:gd name="connsiteX8" fmla="*/ 16792 w 18738"/>
                <a:gd name="connsiteY8" fmla="*/ 125 h 62460"/>
                <a:gd name="connsiteX9" fmla="*/ 14293 w 18738"/>
                <a:gd name="connsiteY9" fmla="*/ 7183 h 62460"/>
                <a:gd name="connsiteX10" fmla="*/ 9359 w 18738"/>
                <a:gd name="connsiteY10" fmla="*/ 16677 h 62460"/>
                <a:gd name="connsiteX11" fmla="*/ 11482 w 18738"/>
                <a:gd name="connsiteY11" fmla="*/ 29544 h 62460"/>
                <a:gd name="connsiteX12" fmla="*/ 13106 w 18738"/>
                <a:gd name="connsiteY12" fmla="*/ 38601 h 62460"/>
                <a:gd name="connsiteX13" fmla="*/ 13106 w 18738"/>
                <a:gd name="connsiteY13" fmla="*/ 39538 h 62460"/>
                <a:gd name="connsiteX14" fmla="*/ 15542 w 18738"/>
                <a:gd name="connsiteY14" fmla="*/ 50156 h 62460"/>
                <a:gd name="connsiteX15" fmla="*/ 16854 w 18738"/>
                <a:gd name="connsiteY15" fmla="*/ 54279 h 62460"/>
                <a:gd name="connsiteX16" fmla="*/ 18478 w 18738"/>
                <a:gd name="connsiteY16" fmla="*/ 55715 h 62460"/>
                <a:gd name="connsiteX17" fmla="*/ 22725 w 18738"/>
                <a:gd name="connsiteY17" fmla="*/ 60899 h 62460"/>
                <a:gd name="connsiteX18" fmla="*/ 22038 w 18738"/>
                <a:gd name="connsiteY18" fmla="*/ 62898 h 62460"/>
                <a:gd name="connsiteX19" fmla="*/ 18166 w 18738"/>
                <a:gd name="connsiteY19" fmla="*/ 62836 h 62460"/>
                <a:gd name="connsiteX20" fmla="*/ 11732 w 18738"/>
                <a:gd name="connsiteY20" fmla="*/ 56090 h 62460"/>
                <a:gd name="connsiteX21" fmla="*/ 10670 w 18738"/>
                <a:gd name="connsiteY21" fmla="*/ 54091 h 62460"/>
                <a:gd name="connsiteX22" fmla="*/ 15917 w 18738"/>
                <a:gd name="connsiteY22" fmla="*/ 62898 h 62460"/>
                <a:gd name="connsiteX23" fmla="*/ 15855 w 18738"/>
                <a:gd name="connsiteY23" fmla="*/ 64335 h 62460"/>
                <a:gd name="connsiteX24" fmla="*/ 13169 w 18738"/>
                <a:gd name="connsiteY24" fmla="*/ 64834 h 6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738" h="62460">
                  <a:moveTo>
                    <a:pt x="13169" y="64834"/>
                  </a:moveTo>
                  <a:cubicBezTo>
                    <a:pt x="9858" y="63960"/>
                    <a:pt x="8422" y="61399"/>
                    <a:pt x="6735" y="59026"/>
                  </a:cubicBezTo>
                  <a:cubicBezTo>
                    <a:pt x="5736" y="57651"/>
                    <a:pt x="4549" y="56465"/>
                    <a:pt x="3550" y="55153"/>
                  </a:cubicBezTo>
                  <a:cubicBezTo>
                    <a:pt x="3175" y="54528"/>
                    <a:pt x="2863" y="53841"/>
                    <a:pt x="2488" y="53217"/>
                  </a:cubicBezTo>
                  <a:cubicBezTo>
                    <a:pt x="3487" y="49844"/>
                    <a:pt x="2113" y="46721"/>
                    <a:pt x="1426" y="43535"/>
                  </a:cubicBezTo>
                  <a:cubicBezTo>
                    <a:pt x="-573" y="40038"/>
                    <a:pt x="-73" y="36165"/>
                    <a:pt x="552" y="32667"/>
                  </a:cubicBezTo>
                  <a:cubicBezTo>
                    <a:pt x="1926" y="24860"/>
                    <a:pt x="3800" y="17114"/>
                    <a:pt x="6236" y="9557"/>
                  </a:cubicBezTo>
                  <a:cubicBezTo>
                    <a:pt x="7048" y="7058"/>
                    <a:pt x="10108" y="5122"/>
                    <a:pt x="12169" y="2936"/>
                  </a:cubicBezTo>
                  <a:cubicBezTo>
                    <a:pt x="13481" y="1749"/>
                    <a:pt x="13981" y="-562"/>
                    <a:pt x="16792" y="125"/>
                  </a:cubicBezTo>
                  <a:cubicBezTo>
                    <a:pt x="17978" y="3061"/>
                    <a:pt x="15292" y="4872"/>
                    <a:pt x="14293" y="7183"/>
                  </a:cubicBezTo>
                  <a:cubicBezTo>
                    <a:pt x="12482" y="10306"/>
                    <a:pt x="11108" y="13554"/>
                    <a:pt x="9359" y="16677"/>
                  </a:cubicBezTo>
                  <a:cubicBezTo>
                    <a:pt x="7048" y="20987"/>
                    <a:pt x="9234" y="25547"/>
                    <a:pt x="11482" y="29544"/>
                  </a:cubicBezTo>
                  <a:cubicBezTo>
                    <a:pt x="13231" y="32542"/>
                    <a:pt x="14043" y="35353"/>
                    <a:pt x="13106" y="38601"/>
                  </a:cubicBezTo>
                  <a:cubicBezTo>
                    <a:pt x="13169" y="38913"/>
                    <a:pt x="13169" y="39226"/>
                    <a:pt x="13106" y="39538"/>
                  </a:cubicBezTo>
                  <a:cubicBezTo>
                    <a:pt x="12607" y="42536"/>
                    <a:pt x="13668" y="47096"/>
                    <a:pt x="15542" y="50156"/>
                  </a:cubicBezTo>
                  <a:cubicBezTo>
                    <a:pt x="16292" y="51405"/>
                    <a:pt x="16229" y="52967"/>
                    <a:pt x="16854" y="54279"/>
                  </a:cubicBezTo>
                  <a:cubicBezTo>
                    <a:pt x="16979" y="55091"/>
                    <a:pt x="17479" y="55590"/>
                    <a:pt x="18478" y="55715"/>
                  </a:cubicBezTo>
                  <a:cubicBezTo>
                    <a:pt x="20851" y="56777"/>
                    <a:pt x="22101" y="58651"/>
                    <a:pt x="22725" y="60899"/>
                  </a:cubicBezTo>
                  <a:cubicBezTo>
                    <a:pt x="22788" y="61649"/>
                    <a:pt x="22600" y="62336"/>
                    <a:pt x="22038" y="62898"/>
                  </a:cubicBezTo>
                  <a:cubicBezTo>
                    <a:pt x="20726" y="63585"/>
                    <a:pt x="19477" y="63210"/>
                    <a:pt x="18166" y="62836"/>
                  </a:cubicBezTo>
                  <a:cubicBezTo>
                    <a:pt x="14980" y="61399"/>
                    <a:pt x="12732" y="59275"/>
                    <a:pt x="11732" y="56090"/>
                  </a:cubicBezTo>
                  <a:cubicBezTo>
                    <a:pt x="11545" y="55340"/>
                    <a:pt x="11295" y="54591"/>
                    <a:pt x="10670" y="54091"/>
                  </a:cubicBezTo>
                  <a:cubicBezTo>
                    <a:pt x="10483" y="57964"/>
                    <a:pt x="14231" y="59900"/>
                    <a:pt x="15917" y="62898"/>
                  </a:cubicBezTo>
                  <a:cubicBezTo>
                    <a:pt x="16042" y="63398"/>
                    <a:pt x="15979" y="63835"/>
                    <a:pt x="15855" y="64335"/>
                  </a:cubicBezTo>
                  <a:cubicBezTo>
                    <a:pt x="15105" y="65272"/>
                    <a:pt x="14293" y="65646"/>
                    <a:pt x="13169" y="64834"/>
                  </a:cubicBezTo>
                  <a:close/>
                </a:path>
              </a:pathLst>
            </a:custGeom>
            <a:grpFill/>
            <a:ln w="6246" cap="flat">
              <a:noFill/>
              <a:prstDash val="solid"/>
              <a:miter/>
            </a:ln>
          </p:spPr>
          <p:txBody>
            <a:bodyPr rtlCol="0" anchor="ctr"/>
            <a:lstStyle/>
            <a:p>
              <a:endParaRPr lang="fr-FR" sz="2400"/>
            </a:p>
          </p:txBody>
        </p:sp>
        <p:sp>
          <p:nvSpPr>
            <p:cNvPr id="570" name="Freeform: Shape 569">
              <a:extLst>
                <a:ext uri="{FF2B5EF4-FFF2-40B4-BE49-F238E27FC236}">
                  <a16:creationId xmlns:a16="http://schemas.microsoft.com/office/drawing/2014/main" id="{826C30FB-A60E-4BF9-8C29-86BFD9C205D7}"/>
                </a:ext>
              </a:extLst>
            </p:cNvPr>
            <p:cNvSpPr/>
            <p:nvPr/>
          </p:nvSpPr>
          <p:spPr>
            <a:xfrm>
              <a:off x="1206080" y="442925"/>
              <a:ext cx="93691" cy="43722"/>
            </a:xfrm>
            <a:custGeom>
              <a:avLst/>
              <a:gdLst>
                <a:gd name="connsiteX0" fmla="*/ 50471 w 93690"/>
                <a:gd name="connsiteY0" fmla="*/ 7353 h 43722"/>
                <a:gd name="connsiteX1" fmla="*/ 93256 w 93690"/>
                <a:gd name="connsiteY1" fmla="*/ 2544 h 43722"/>
                <a:gd name="connsiteX2" fmla="*/ 93194 w 93690"/>
                <a:gd name="connsiteY2" fmla="*/ 3793 h 43722"/>
                <a:gd name="connsiteX3" fmla="*/ 97566 w 93690"/>
                <a:gd name="connsiteY3" fmla="*/ 7416 h 43722"/>
                <a:gd name="connsiteX4" fmla="*/ 97566 w 93690"/>
                <a:gd name="connsiteY4" fmla="*/ 9352 h 43722"/>
                <a:gd name="connsiteX5" fmla="*/ 96879 w 93690"/>
                <a:gd name="connsiteY5" fmla="*/ 9852 h 43722"/>
                <a:gd name="connsiteX6" fmla="*/ 83263 w 93690"/>
                <a:gd name="connsiteY6" fmla="*/ 8852 h 43722"/>
                <a:gd name="connsiteX7" fmla="*/ 55842 w 93690"/>
                <a:gd name="connsiteY7" fmla="*/ 11975 h 43722"/>
                <a:gd name="connsiteX8" fmla="*/ 49784 w 93690"/>
                <a:gd name="connsiteY8" fmla="*/ 14037 h 43722"/>
                <a:gd name="connsiteX9" fmla="*/ 22426 w 93690"/>
                <a:gd name="connsiteY9" fmla="*/ 28215 h 43722"/>
                <a:gd name="connsiteX10" fmla="*/ 15180 w 93690"/>
                <a:gd name="connsiteY10" fmla="*/ 34524 h 43722"/>
                <a:gd name="connsiteX11" fmla="*/ 14119 w 93690"/>
                <a:gd name="connsiteY11" fmla="*/ 36585 h 43722"/>
                <a:gd name="connsiteX12" fmla="*/ 3 w 93690"/>
                <a:gd name="connsiteY12" fmla="*/ 49389 h 43722"/>
                <a:gd name="connsiteX13" fmla="*/ 7935 w 93690"/>
                <a:gd name="connsiteY13" fmla="*/ 36647 h 43722"/>
                <a:gd name="connsiteX14" fmla="*/ 9059 w 93690"/>
                <a:gd name="connsiteY14" fmla="*/ 34399 h 43722"/>
                <a:gd name="connsiteX15" fmla="*/ 6561 w 93690"/>
                <a:gd name="connsiteY15" fmla="*/ 34524 h 43722"/>
                <a:gd name="connsiteX16" fmla="*/ 20365 w 93690"/>
                <a:gd name="connsiteY16" fmla="*/ 21844 h 43722"/>
                <a:gd name="connsiteX17" fmla="*/ 22301 w 93690"/>
                <a:gd name="connsiteY17" fmla="*/ 21907 h 43722"/>
                <a:gd name="connsiteX18" fmla="*/ 21989 w 93690"/>
                <a:gd name="connsiteY18" fmla="*/ 23968 h 43722"/>
                <a:gd name="connsiteX19" fmla="*/ 17991 w 93690"/>
                <a:gd name="connsiteY19" fmla="*/ 27591 h 43722"/>
                <a:gd name="connsiteX20" fmla="*/ 30796 w 93690"/>
                <a:gd name="connsiteY20" fmla="*/ 17409 h 43722"/>
                <a:gd name="connsiteX21" fmla="*/ 50471 w 93690"/>
                <a:gd name="connsiteY21" fmla="*/ 7353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90" h="43722">
                  <a:moveTo>
                    <a:pt x="50471" y="7353"/>
                  </a:moveTo>
                  <a:cubicBezTo>
                    <a:pt x="64150" y="1295"/>
                    <a:pt x="78016" y="-2953"/>
                    <a:pt x="93256" y="2544"/>
                  </a:cubicBezTo>
                  <a:cubicBezTo>
                    <a:pt x="93756" y="2981"/>
                    <a:pt x="91008" y="3106"/>
                    <a:pt x="93194" y="3793"/>
                  </a:cubicBezTo>
                  <a:cubicBezTo>
                    <a:pt x="95130" y="4418"/>
                    <a:pt x="97628" y="4730"/>
                    <a:pt x="97566" y="7416"/>
                  </a:cubicBezTo>
                  <a:cubicBezTo>
                    <a:pt x="96504" y="8040"/>
                    <a:pt x="97441" y="8727"/>
                    <a:pt x="97566" y="9352"/>
                  </a:cubicBezTo>
                  <a:cubicBezTo>
                    <a:pt x="97316" y="9539"/>
                    <a:pt x="97129" y="9664"/>
                    <a:pt x="96879" y="9852"/>
                  </a:cubicBezTo>
                  <a:cubicBezTo>
                    <a:pt x="92257" y="10664"/>
                    <a:pt x="87885" y="8415"/>
                    <a:pt x="83263" y="8852"/>
                  </a:cubicBezTo>
                  <a:cubicBezTo>
                    <a:pt x="73956" y="8852"/>
                    <a:pt x="64587" y="8103"/>
                    <a:pt x="55842" y="11975"/>
                  </a:cubicBezTo>
                  <a:cubicBezTo>
                    <a:pt x="53844" y="12662"/>
                    <a:pt x="51720" y="13162"/>
                    <a:pt x="49784" y="14037"/>
                  </a:cubicBezTo>
                  <a:cubicBezTo>
                    <a:pt x="39603" y="17097"/>
                    <a:pt x="31358" y="23218"/>
                    <a:pt x="22426" y="28215"/>
                  </a:cubicBezTo>
                  <a:cubicBezTo>
                    <a:pt x="19990" y="30276"/>
                    <a:pt x="16867" y="31713"/>
                    <a:pt x="15180" y="34524"/>
                  </a:cubicBezTo>
                  <a:cubicBezTo>
                    <a:pt x="14868" y="35211"/>
                    <a:pt x="14681" y="36398"/>
                    <a:pt x="14119" y="36585"/>
                  </a:cubicBezTo>
                  <a:cubicBezTo>
                    <a:pt x="7248" y="38896"/>
                    <a:pt x="2688" y="43206"/>
                    <a:pt x="3" y="49389"/>
                  </a:cubicBezTo>
                  <a:cubicBezTo>
                    <a:pt x="-122" y="43643"/>
                    <a:pt x="4375" y="40395"/>
                    <a:pt x="7935" y="36647"/>
                  </a:cubicBezTo>
                  <a:cubicBezTo>
                    <a:pt x="8560" y="36023"/>
                    <a:pt x="9996" y="35461"/>
                    <a:pt x="9059" y="34399"/>
                  </a:cubicBezTo>
                  <a:cubicBezTo>
                    <a:pt x="8747" y="34086"/>
                    <a:pt x="7435" y="34461"/>
                    <a:pt x="6561" y="34524"/>
                  </a:cubicBezTo>
                  <a:cubicBezTo>
                    <a:pt x="9059" y="28465"/>
                    <a:pt x="15305" y="25654"/>
                    <a:pt x="20365" y="21844"/>
                  </a:cubicBezTo>
                  <a:cubicBezTo>
                    <a:pt x="20927" y="21407"/>
                    <a:pt x="21739" y="21407"/>
                    <a:pt x="22301" y="21907"/>
                  </a:cubicBezTo>
                  <a:cubicBezTo>
                    <a:pt x="23113" y="22656"/>
                    <a:pt x="22613" y="23406"/>
                    <a:pt x="21989" y="23968"/>
                  </a:cubicBezTo>
                  <a:cubicBezTo>
                    <a:pt x="20677" y="25155"/>
                    <a:pt x="19303" y="26404"/>
                    <a:pt x="17991" y="27591"/>
                  </a:cubicBezTo>
                  <a:cubicBezTo>
                    <a:pt x="22114" y="24030"/>
                    <a:pt x="26111" y="20345"/>
                    <a:pt x="30796" y="17409"/>
                  </a:cubicBezTo>
                  <a:cubicBezTo>
                    <a:pt x="37416" y="14099"/>
                    <a:pt x="44599" y="11788"/>
                    <a:pt x="50471" y="7353"/>
                  </a:cubicBezTo>
                  <a:close/>
                </a:path>
              </a:pathLst>
            </a:custGeom>
            <a:grpFill/>
            <a:ln w="6246" cap="flat">
              <a:noFill/>
              <a:prstDash val="solid"/>
              <a:miter/>
            </a:ln>
          </p:spPr>
          <p:txBody>
            <a:bodyPr rtlCol="0" anchor="ctr"/>
            <a:lstStyle/>
            <a:p>
              <a:endParaRPr lang="fr-FR" sz="2400"/>
            </a:p>
          </p:txBody>
        </p:sp>
        <p:sp>
          <p:nvSpPr>
            <p:cNvPr id="571" name="Freeform: Shape 570">
              <a:extLst>
                <a:ext uri="{FF2B5EF4-FFF2-40B4-BE49-F238E27FC236}">
                  <a16:creationId xmlns:a16="http://schemas.microsoft.com/office/drawing/2014/main" id="{0E644404-2063-45B9-BD57-69A0C797C7FA}"/>
                </a:ext>
              </a:extLst>
            </p:cNvPr>
            <p:cNvSpPr/>
            <p:nvPr/>
          </p:nvSpPr>
          <p:spPr>
            <a:xfrm>
              <a:off x="1208760" y="475969"/>
              <a:ext cx="37476" cy="43722"/>
            </a:xfrm>
            <a:custGeom>
              <a:avLst/>
              <a:gdLst>
                <a:gd name="connsiteX0" fmla="*/ 11377 w 37476"/>
                <a:gd name="connsiteY0" fmla="*/ 39081 h 43722"/>
                <a:gd name="connsiteX1" fmla="*/ 10315 w 37476"/>
                <a:gd name="connsiteY1" fmla="*/ 38144 h 43722"/>
                <a:gd name="connsiteX2" fmla="*/ 12314 w 37476"/>
                <a:gd name="connsiteY2" fmla="*/ 31523 h 43722"/>
                <a:gd name="connsiteX3" fmla="*/ 8191 w 37476"/>
                <a:gd name="connsiteY3" fmla="*/ 40080 h 43722"/>
                <a:gd name="connsiteX4" fmla="*/ 1820 w 37476"/>
                <a:gd name="connsiteY4" fmla="*/ 48700 h 43722"/>
                <a:gd name="connsiteX5" fmla="*/ 7067 w 37476"/>
                <a:gd name="connsiteY5" fmla="*/ 35458 h 43722"/>
                <a:gd name="connsiteX6" fmla="*/ 446 w 37476"/>
                <a:gd name="connsiteY6" fmla="*/ 43703 h 43722"/>
                <a:gd name="connsiteX7" fmla="*/ 1820 w 37476"/>
                <a:gd name="connsiteY7" fmla="*/ 38144 h 43722"/>
                <a:gd name="connsiteX8" fmla="*/ 10377 w 37476"/>
                <a:gd name="connsiteY8" fmla="*/ 24590 h 43722"/>
                <a:gd name="connsiteX9" fmla="*/ 15749 w 37476"/>
                <a:gd name="connsiteY9" fmla="*/ 14908 h 43722"/>
                <a:gd name="connsiteX10" fmla="*/ 33988 w 37476"/>
                <a:gd name="connsiteY10" fmla="*/ 730 h 43722"/>
                <a:gd name="connsiteX11" fmla="*/ 37923 w 37476"/>
                <a:gd name="connsiteY11" fmla="*/ 1729 h 43722"/>
                <a:gd name="connsiteX12" fmla="*/ 36424 w 37476"/>
                <a:gd name="connsiteY12" fmla="*/ 5664 h 43722"/>
                <a:gd name="connsiteX13" fmla="*/ 33738 w 37476"/>
                <a:gd name="connsiteY13" fmla="*/ 7288 h 43722"/>
                <a:gd name="connsiteX14" fmla="*/ 32051 w 37476"/>
                <a:gd name="connsiteY14" fmla="*/ 8350 h 43722"/>
                <a:gd name="connsiteX15" fmla="*/ 34550 w 37476"/>
                <a:gd name="connsiteY15" fmla="*/ 6976 h 43722"/>
                <a:gd name="connsiteX16" fmla="*/ 30615 w 37476"/>
                <a:gd name="connsiteY16" fmla="*/ 13784 h 43722"/>
                <a:gd name="connsiteX17" fmla="*/ 20746 w 37476"/>
                <a:gd name="connsiteY17" fmla="*/ 25152 h 43722"/>
                <a:gd name="connsiteX18" fmla="*/ 11377 w 37476"/>
                <a:gd name="connsiteY18" fmla="*/ 39081 h 4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76" h="43722">
                  <a:moveTo>
                    <a:pt x="11377" y="39081"/>
                  </a:moveTo>
                  <a:cubicBezTo>
                    <a:pt x="11002" y="38768"/>
                    <a:pt x="10690" y="38456"/>
                    <a:pt x="10315" y="38144"/>
                  </a:cubicBezTo>
                  <a:cubicBezTo>
                    <a:pt x="9003" y="35333"/>
                    <a:pt x="11627" y="33522"/>
                    <a:pt x="12314" y="31523"/>
                  </a:cubicBezTo>
                  <a:cubicBezTo>
                    <a:pt x="10377" y="33959"/>
                    <a:pt x="9690" y="37207"/>
                    <a:pt x="8191" y="40080"/>
                  </a:cubicBezTo>
                  <a:cubicBezTo>
                    <a:pt x="6317" y="42828"/>
                    <a:pt x="6442" y="46576"/>
                    <a:pt x="1820" y="48700"/>
                  </a:cubicBezTo>
                  <a:cubicBezTo>
                    <a:pt x="3632" y="44140"/>
                    <a:pt x="5193" y="40205"/>
                    <a:pt x="7067" y="35458"/>
                  </a:cubicBezTo>
                  <a:cubicBezTo>
                    <a:pt x="3507" y="37894"/>
                    <a:pt x="3569" y="41829"/>
                    <a:pt x="446" y="43703"/>
                  </a:cubicBezTo>
                  <a:cubicBezTo>
                    <a:pt x="-928" y="41204"/>
                    <a:pt x="1258" y="39830"/>
                    <a:pt x="1820" y="38144"/>
                  </a:cubicBezTo>
                  <a:cubicBezTo>
                    <a:pt x="2383" y="32460"/>
                    <a:pt x="5880" y="28275"/>
                    <a:pt x="10377" y="24590"/>
                  </a:cubicBezTo>
                  <a:cubicBezTo>
                    <a:pt x="13313" y="21904"/>
                    <a:pt x="17498" y="19718"/>
                    <a:pt x="15749" y="14908"/>
                  </a:cubicBezTo>
                  <a:cubicBezTo>
                    <a:pt x="20871" y="9224"/>
                    <a:pt x="26742" y="4290"/>
                    <a:pt x="33988" y="730"/>
                  </a:cubicBezTo>
                  <a:cubicBezTo>
                    <a:pt x="35924" y="-207"/>
                    <a:pt x="37236" y="-582"/>
                    <a:pt x="37923" y="1729"/>
                  </a:cubicBezTo>
                  <a:cubicBezTo>
                    <a:pt x="38110" y="3228"/>
                    <a:pt x="36361" y="4165"/>
                    <a:pt x="36424" y="5664"/>
                  </a:cubicBezTo>
                  <a:cubicBezTo>
                    <a:pt x="36049" y="6913"/>
                    <a:pt x="34612" y="6664"/>
                    <a:pt x="33738" y="7288"/>
                  </a:cubicBezTo>
                  <a:cubicBezTo>
                    <a:pt x="33176" y="7600"/>
                    <a:pt x="32613" y="7975"/>
                    <a:pt x="32051" y="8350"/>
                  </a:cubicBezTo>
                  <a:cubicBezTo>
                    <a:pt x="32863" y="7913"/>
                    <a:pt x="33613" y="7288"/>
                    <a:pt x="34550" y="6976"/>
                  </a:cubicBezTo>
                  <a:cubicBezTo>
                    <a:pt x="37360" y="11223"/>
                    <a:pt x="32364" y="11723"/>
                    <a:pt x="30615" y="13784"/>
                  </a:cubicBezTo>
                  <a:cubicBezTo>
                    <a:pt x="26430" y="16970"/>
                    <a:pt x="23369" y="20842"/>
                    <a:pt x="20746" y="25152"/>
                  </a:cubicBezTo>
                  <a:cubicBezTo>
                    <a:pt x="16873" y="29399"/>
                    <a:pt x="15874" y="35208"/>
                    <a:pt x="11377" y="39081"/>
                  </a:cubicBezTo>
                  <a:close/>
                </a:path>
              </a:pathLst>
            </a:custGeom>
            <a:grpFill/>
            <a:ln w="6246" cap="flat">
              <a:noFill/>
              <a:prstDash val="solid"/>
              <a:miter/>
            </a:ln>
          </p:spPr>
          <p:txBody>
            <a:bodyPr rtlCol="0" anchor="ctr"/>
            <a:lstStyle/>
            <a:p>
              <a:endParaRPr lang="fr-FR" sz="2400"/>
            </a:p>
          </p:txBody>
        </p:sp>
        <p:sp>
          <p:nvSpPr>
            <p:cNvPr id="572" name="Freeform: Shape 571">
              <a:extLst>
                <a:ext uri="{FF2B5EF4-FFF2-40B4-BE49-F238E27FC236}">
                  <a16:creationId xmlns:a16="http://schemas.microsoft.com/office/drawing/2014/main" id="{77C0A9B5-A6B6-456B-ADB0-4203A463F2EC}"/>
                </a:ext>
              </a:extLst>
            </p:cNvPr>
            <p:cNvSpPr/>
            <p:nvPr/>
          </p:nvSpPr>
          <p:spPr>
            <a:xfrm>
              <a:off x="1218450" y="616446"/>
              <a:ext cx="49969" cy="6246"/>
            </a:xfrm>
            <a:custGeom>
              <a:avLst/>
              <a:gdLst>
                <a:gd name="connsiteX0" fmla="*/ 31668 w 49968"/>
                <a:gd name="connsiteY0" fmla="*/ 9783 h 6246"/>
                <a:gd name="connsiteX1" fmla="*/ 26296 w 49968"/>
                <a:gd name="connsiteY1" fmla="*/ 9783 h 6246"/>
                <a:gd name="connsiteX2" fmla="*/ 10244 w 49968"/>
                <a:gd name="connsiteY2" fmla="*/ 9783 h 6246"/>
                <a:gd name="connsiteX3" fmla="*/ 0 w 49968"/>
                <a:gd name="connsiteY3" fmla="*/ 5348 h 6246"/>
                <a:gd name="connsiteX4" fmla="*/ 187 w 49968"/>
                <a:gd name="connsiteY4" fmla="*/ 4162 h 6246"/>
                <a:gd name="connsiteX5" fmla="*/ 37851 w 49968"/>
                <a:gd name="connsiteY5" fmla="*/ 4599 h 6246"/>
                <a:gd name="connsiteX6" fmla="*/ 31792 w 49968"/>
                <a:gd name="connsiteY6" fmla="*/ 2413 h 6246"/>
                <a:gd name="connsiteX7" fmla="*/ 43473 w 49968"/>
                <a:gd name="connsiteY7" fmla="*/ 1039 h 6246"/>
                <a:gd name="connsiteX8" fmla="*/ 46658 w 49968"/>
                <a:gd name="connsiteY8" fmla="*/ 1039 h 6246"/>
                <a:gd name="connsiteX9" fmla="*/ 51717 w 49968"/>
                <a:gd name="connsiteY9" fmla="*/ 164 h 6246"/>
                <a:gd name="connsiteX10" fmla="*/ 55840 w 49968"/>
                <a:gd name="connsiteY10" fmla="*/ 1164 h 6246"/>
                <a:gd name="connsiteX11" fmla="*/ 53029 w 49968"/>
                <a:gd name="connsiteY11" fmla="*/ 3974 h 6246"/>
                <a:gd name="connsiteX12" fmla="*/ 31668 w 49968"/>
                <a:gd name="connsiteY12" fmla="*/ 978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968" h="6246">
                  <a:moveTo>
                    <a:pt x="31668" y="9783"/>
                  </a:moveTo>
                  <a:cubicBezTo>
                    <a:pt x="29856" y="9783"/>
                    <a:pt x="28107" y="9783"/>
                    <a:pt x="26296" y="9783"/>
                  </a:cubicBezTo>
                  <a:cubicBezTo>
                    <a:pt x="20924" y="12531"/>
                    <a:pt x="15615" y="11532"/>
                    <a:pt x="10244" y="9783"/>
                  </a:cubicBezTo>
                  <a:cubicBezTo>
                    <a:pt x="6808" y="8284"/>
                    <a:pt x="3435" y="6847"/>
                    <a:pt x="0" y="5348"/>
                  </a:cubicBezTo>
                  <a:cubicBezTo>
                    <a:pt x="62" y="4974"/>
                    <a:pt x="125" y="4536"/>
                    <a:pt x="187" y="4162"/>
                  </a:cubicBezTo>
                  <a:cubicBezTo>
                    <a:pt x="12492" y="4349"/>
                    <a:pt x="24859" y="5598"/>
                    <a:pt x="37851" y="4599"/>
                  </a:cubicBezTo>
                  <a:cubicBezTo>
                    <a:pt x="35728" y="2100"/>
                    <a:pt x="33416" y="3787"/>
                    <a:pt x="31792" y="2413"/>
                  </a:cubicBezTo>
                  <a:cubicBezTo>
                    <a:pt x="35665" y="1164"/>
                    <a:pt x="39912" y="3225"/>
                    <a:pt x="43473" y="1039"/>
                  </a:cubicBezTo>
                  <a:cubicBezTo>
                    <a:pt x="44534" y="352"/>
                    <a:pt x="45596" y="352"/>
                    <a:pt x="46658" y="1039"/>
                  </a:cubicBezTo>
                  <a:cubicBezTo>
                    <a:pt x="48344" y="726"/>
                    <a:pt x="50031" y="227"/>
                    <a:pt x="51717" y="164"/>
                  </a:cubicBezTo>
                  <a:cubicBezTo>
                    <a:pt x="53154" y="102"/>
                    <a:pt x="55215" y="-523"/>
                    <a:pt x="55840" y="1164"/>
                  </a:cubicBezTo>
                  <a:cubicBezTo>
                    <a:pt x="56652" y="3162"/>
                    <a:pt x="53654" y="2725"/>
                    <a:pt x="53029" y="3974"/>
                  </a:cubicBezTo>
                  <a:cubicBezTo>
                    <a:pt x="46346" y="7097"/>
                    <a:pt x="39038" y="8659"/>
                    <a:pt x="31668" y="9783"/>
                  </a:cubicBezTo>
                  <a:close/>
                </a:path>
              </a:pathLst>
            </a:custGeom>
            <a:grpFill/>
            <a:ln w="6246" cap="flat">
              <a:noFill/>
              <a:prstDash val="solid"/>
              <a:miter/>
            </a:ln>
          </p:spPr>
          <p:txBody>
            <a:bodyPr rtlCol="0" anchor="ctr"/>
            <a:lstStyle/>
            <a:p>
              <a:endParaRPr lang="fr-FR" sz="2400"/>
            </a:p>
          </p:txBody>
        </p:sp>
        <p:sp>
          <p:nvSpPr>
            <p:cNvPr id="573" name="Freeform: Shape 572">
              <a:extLst>
                <a:ext uri="{FF2B5EF4-FFF2-40B4-BE49-F238E27FC236}">
                  <a16:creationId xmlns:a16="http://schemas.microsoft.com/office/drawing/2014/main" id="{7E4AD37E-FD63-45CF-98D6-89237F119AF7}"/>
                </a:ext>
              </a:extLst>
            </p:cNvPr>
            <p:cNvSpPr/>
            <p:nvPr/>
          </p:nvSpPr>
          <p:spPr>
            <a:xfrm>
              <a:off x="1226141" y="474106"/>
              <a:ext cx="31230" cy="31230"/>
            </a:xfrm>
            <a:custGeom>
              <a:avLst/>
              <a:gdLst>
                <a:gd name="connsiteX0" fmla="*/ 33595 w 31230"/>
                <a:gd name="connsiteY0" fmla="*/ 1281 h 31230"/>
                <a:gd name="connsiteX1" fmla="*/ 21915 w 31230"/>
                <a:gd name="connsiteY1" fmla="*/ 21269 h 31230"/>
                <a:gd name="connsiteX2" fmla="*/ 12671 w 31230"/>
                <a:gd name="connsiteY2" fmla="*/ 23205 h 31230"/>
                <a:gd name="connsiteX3" fmla="*/ 8986 w 31230"/>
                <a:gd name="connsiteY3" fmla="*/ 24454 h 31230"/>
                <a:gd name="connsiteX4" fmla="*/ 2427 w 31230"/>
                <a:gd name="connsiteY4" fmla="*/ 32012 h 31230"/>
                <a:gd name="connsiteX5" fmla="*/ 491 w 31230"/>
                <a:gd name="connsiteY5" fmla="*/ 32074 h 31230"/>
                <a:gd name="connsiteX6" fmla="*/ 179 w 31230"/>
                <a:gd name="connsiteY6" fmla="*/ 30325 h 31230"/>
                <a:gd name="connsiteX7" fmla="*/ 2989 w 31230"/>
                <a:gd name="connsiteY7" fmla="*/ 26265 h 31230"/>
                <a:gd name="connsiteX8" fmla="*/ 12921 w 31230"/>
                <a:gd name="connsiteY8" fmla="*/ 15210 h 31230"/>
                <a:gd name="connsiteX9" fmla="*/ 20104 w 31230"/>
                <a:gd name="connsiteY9" fmla="*/ 5466 h 31230"/>
                <a:gd name="connsiteX10" fmla="*/ 31596 w 31230"/>
                <a:gd name="connsiteY10" fmla="*/ 94 h 31230"/>
                <a:gd name="connsiteX11" fmla="*/ 33595 w 31230"/>
                <a:gd name="connsiteY11" fmla="*/ 1281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31230">
                  <a:moveTo>
                    <a:pt x="33595" y="1281"/>
                  </a:moveTo>
                  <a:cubicBezTo>
                    <a:pt x="29723" y="7964"/>
                    <a:pt x="25850" y="14648"/>
                    <a:pt x="21915" y="21269"/>
                  </a:cubicBezTo>
                  <a:cubicBezTo>
                    <a:pt x="20166" y="24204"/>
                    <a:pt x="15232" y="25329"/>
                    <a:pt x="12671" y="23205"/>
                  </a:cubicBezTo>
                  <a:cubicBezTo>
                    <a:pt x="10172" y="21206"/>
                    <a:pt x="9985" y="23517"/>
                    <a:pt x="8986" y="24454"/>
                  </a:cubicBezTo>
                  <a:cubicBezTo>
                    <a:pt x="9111" y="28577"/>
                    <a:pt x="4676" y="29513"/>
                    <a:pt x="2427" y="32012"/>
                  </a:cubicBezTo>
                  <a:cubicBezTo>
                    <a:pt x="2052" y="32387"/>
                    <a:pt x="1178" y="32574"/>
                    <a:pt x="491" y="32074"/>
                  </a:cubicBezTo>
                  <a:cubicBezTo>
                    <a:pt x="-134" y="31575"/>
                    <a:pt x="-71" y="30950"/>
                    <a:pt x="179" y="30325"/>
                  </a:cubicBezTo>
                  <a:cubicBezTo>
                    <a:pt x="803" y="28826"/>
                    <a:pt x="1865" y="27515"/>
                    <a:pt x="2989" y="26265"/>
                  </a:cubicBezTo>
                  <a:cubicBezTo>
                    <a:pt x="5051" y="21643"/>
                    <a:pt x="9235" y="18645"/>
                    <a:pt x="12921" y="15210"/>
                  </a:cubicBezTo>
                  <a:cubicBezTo>
                    <a:pt x="17106" y="13024"/>
                    <a:pt x="19042" y="9526"/>
                    <a:pt x="20104" y="5466"/>
                  </a:cubicBezTo>
                  <a:cubicBezTo>
                    <a:pt x="23289" y="2593"/>
                    <a:pt x="28036" y="2405"/>
                    <a:pt x="31596" y="94"/>
                  </a:cubicBezTo>
                  <a:cubicBezTo>
                    <a:pt x="32283" y="-280"/>
                    <a:pt x="33220" y="532"/>
                    <a:pt x="33595" y="1281"/>
                  </a:cubicBezTo>
                  <a:close/>
                </a:path>
              </a:pathLst>
            </a:custGeom>
            <a:grpFill/>
            <a:ln w="6246" cap="flat">
              <a:noFill/>
              <a:prstDash val="solid"/>
              <a:miter/>
            </a:ln>
          </p:spPr>
          <p:txBody>
            <a:bodyPr rtlCol="0" anchor="ctr"/>
            <a:lstStyle/>
            <a:p>
              <a:endParaRPr lang="fr-FR" sz="2400"/>
            </a:p>
          </p:txBody>
        </p:sp>
        <p:sp>
          <p:nvSpPr>
            <p:cNvPr id="574" name="Freeform: Shape 573">
              <a:extLst>
                <a:ext uri="{FF2B5EF4-FFF2-40B4-BE49-F238E27FC236}">
                  <a16:creationId xmlns:a16="http://schemas.microsoft.com/office/drawing/2014/main" id="{EC1F0390-F668-4C3A-97DC-9960C2908965}"/>
                </a:ext>
              </a:extLst>
            </p:cNvPr>
            <p:cNvSpPr/>
            <p:nvPr/>
          </p:nvSpPr>
          <p:spPr>
            <a:xfrm>
              <a:off x="1211979" y="576199"/>
              <a:ext cx="56215" cy="12492"/>
            </a:xfrm>
            <a:custGeom>
              <a:avLst/>
              <a:gdLst>
                <a:gd name="connsiteX0" fmla="*/ 54191 w 56214"/>
                <a:gd name="connsiteY0" fmla="*/ 10368 h 12492"/>
                <a:gd name="connsiteX1" fmla="*/ 57751 w 56214"/>
                <a:gd name="connsiteY1" fmla="*/ 12242 h 12492"/>
                <a:gd name="connsiteX2" fmla="*/ 47383 w 56214"/>
                <a:gd name="connsiteY2" fmla="*/ 11992 h 12492"/>
                <a:gd name="connsiteX3" fmla="*/ 32642 w 56214"/>
                <a:gd name="connsiteY3" fmla="*/ 11555 h 12492"/>
                <a:gd name="connsiteX4" fmla="*/ 12779 w 56214"/>
                <a:gd name="connsiteY4" fmla="*/ 10931 h 12492"/>
                <a:gd name="connsiteX5" fmla="*/ 2786 w 56214"/>
                <a:gd name="connsiteY5" fmla="*/ 6996 h 12492"/>
                <a:gd name="connsiteX6" fmla="*/ 100 w 56214"/>
                <a:gd name="connsiteY6" fmla="*/ 3997 h 12492"/>
                <a:gd name="connsiteX7" fmla="*/ 1599 w 56214"/>
                <a:gd name="connsiteY7" fmla="*/ 2186 h 12492"/>
                <a:gd name="connsiteX8" fmla="*/ 5097 w 56214"/>
                <a:gd name="connsiteY8" fmla="*/ 3935 h 12492"/>
                <a:gd name="connsiteX9" fmla="*/ 12967 w 56214"/>
                <a:gd name="connsiteY9" fmla="*/ 8682 h 12492"/>
                <a:gd name="connsiteX10" fmla="*/ 16277 w 56214"/>
                <a:gd name="connsiteY10" fmla="*/ 8682 h 12492"/>
                <a:gd name="connsiteX11" fmla="*/ 14778 w 56214"/>
                <a:gd name="connsiteY11" fmla="*/ 6059 h 12492"/>
                <a:gd name="connsiteX12" fmla="*/ 6096 w 56214"/>
                <a:gd name="connsiteY12" fmla="*/ 0 h 12492"/>
                <a:gd name="connsiteX13" fmla="*/ 21087 w 56214"/>
                <a:gd name="connsiteY13" fmla="*/ 7558 h 12492"/>
                <a:gd name="connsiteX14" fmla="*/ 29269 w 56214"/>
                <a:gd name="connsiteY14" fmla="*/ 7870 h 12492"/>
                <a:gd name="connsiteX15" fmla="*/ 40262 w 56214"/>
                <a:gd name="connsiteY15" fmla="*/ 8120 h 12492"/>
                <a:gd name="connsiteX16" fmla="*/ 54191 w 56214"/>
                <a:gd name="connsiteY16" fmla="*/ 10368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2492">
                  <a:moveTo>
                    <a:pt x="54191" y="10368"/>
                  </a:moveTo>
                  <a:cubicBezTo>
                    <a:pt x="55378" y="10993"/>
                    <a:pt x="56564" y="11618"/>
                    <a:pt x="57751" y="12242"/>
                  </a:cubicBezTo>
                  <a:cubicBezTo>
                    <a:pt x="54191" y="12367"/>
                    <a:pt x="51005" y="13367"/>
                    <a:pt x="47383" y="11992"/>
                  </a:cubicBezTo>
                  <a:cubicBezTo>
                    <a:pt x="42823" y="10244"/>
                    <a:pt x="37389" y="10681"/>
                    <a:pt x="32642" y="11555"/>
                  </a:cubicBezTo>
                  <a:cubicBezTo>
                    <a:pt x="25646" y="12804"/>
                    <a:pt x="19150" y="13304"/>
                    <a:pt x="12779" y="10931"/>
                  </a:cubicBezTo>
                  <a:cubicBezTo>
                    <a:pt x="9407" y="9681"/>
                    <a:pt x="6408" y="7808"/>
                    <a:pt x="2786" y="6996"/>
                  </a:cubicBezTo>
                  <a:cubicBezTo>
                    <a:pt x="1474" y="6683"/>
                    <a:pt x="-462" y="5996"/>
                    <a:pt x="100" y="3997"/>
                  </a:cubicBezTo>
                  <a:cubicBezTo>
                    <a:pt x="287" y="3310"/>
                    <a:pt x="974" y="2311"/>
                    <a:pt x="1599" y="2186"/>
                  </a:cubicBezTo>
                  <a:cubicBezTo>
                    <a:pt x="3098" y="1874"/>
                    <a:pt x="4285" y="2748"/>
                    <a:pt x="5097" y="3935"/>
                  </a:cubicBezTo>
                  <a:cubicBezTo>
                    <a:pt x="6908" y="6621"/>
                    <a:pt x="10156" y="7308"/>
                    <a:pt x="12967" y="8682"/>
                  </a:cubicBezTo>
                  <a:cubicBezTo>
                    <a:pt x="14029" y="9182"/>
                    <a:pt x="15403" y="9931"/>
                    <a:pt x="16277" y="8682"/>
                  </a:cubicBezTo>
                  <a:cubicBezTo>
                    <a:pt x="17214" y="7370"/>
                    <a:pt x="15653" y="6808"/>
                    <a:pt x="14778" y="6059"/>
                  </a:cubicBezTo>
                  <a:cubicBezTo>
                    <a:pt x="12092" y="3810"/>
                    <a:pt x="7907" y="3498"/>
                    <a:pt x="6096" y="0"/>
                  </a:cubicBezTo>
                  <a:cubicBezTo>
                    <a:pt x="11093" y="2498"/>
                    <a:pt x="16090" y="4997"/>
                    <a:pt x="21087" y="7558"/>
                  </a:cubicBezTo>
                  <a:cubicBezTo>
                    <a:pt x="23897" y="5934"/>
                    <a:pt x="26646" y="7433"/>
                    <a:pt x="29269" y="7870"/>
                  </a:cubicBezTo>
                  <a:cubicBezTo>
                    <a:pt x="33017" y="8495"/>
                    <a:pt x="36577" y="8432"/>
                    <a:pt x="40262" y="8120"/>
                  </a:cubicBezTo>
                  <a:cubicBezTo>
                    <a:pt x="45009" y="7745"/>
                    <a:pt x="50131" y="6746"/>
                    <a:pt x="54191" y="10368"/>
                  </a:cubicBezTo>
                  <a:close/>
                </a:path>
              </a:pathLst>
            </a:custGeom>
            <a:grpFill/>
            <a:ln w="6246" cap="flat">
              <a:noFill/>
              <a:prstDash val="solid"/>
              <a:miter/>
            </a:ln>
          </p:spPr>
          <p:txBody>
            <a:bodyPr rtlCol="0" anchor="ctr"/>
            <a:lstStyle/>
            <a:p>
              <a:endParaRPr lang="fr-FR" sz="2400"/>
            </a:p>
          </p:txBody>
        </p:sp>
        <p:sp>
          <p:nvSpPr>
            <p:cNvPr id="575" name="Freeform: Shape 574">
              <a:extLst>
                <a:ext uri="{FF2B5EF4-FFF2-40B4-BE49-F238E27FC236}">
                  <a16:creationId xmlns:a16="http://schemas.microsoft.com/office/drawing/2014/main" id="{0E3CC806-BDE1-49EA-A4A0-EE21DB80F2D6}"/>
                </a:ext>
              </a:extLst>
            </p:cNvPr>
            <p:cNvSpPr/>
            <p:nvPr/>
          </p:nvSpPr>
          <p:spPr>
            <a:xfrm>
              <a:off x="1229471" y="572673"/>
              <a:ext cx="37476" cy="12492"/>
            </a:xfrm>
            <a:custGeom>
              <a:avLst/>
              <a:gdLst>
                <a:gd name="connsiteX0" fmla="*/ 36699 w 37476"/>
                <a:gd name="connsiteY0" fmla="*/ 13894 h 12492"/>
                <a:gd name="connsiteX1" fmla="*/ 3533 w 37476"/>
                <a:gd name="connsiteY1" fmla="*/ 11020 h 12492"/>
                <a:gd name="connsiteX2" fmla="*/ 8467 w 37476"/>
                <a:gd name="connsiteY2" fmla="*/ 9709 h 12492"/>
                <a:gd name="connsiteX3" fmla="*/ 20897 w 37476"/>
                <a:gd name="connsiteY3" fmla="*/ 10646 h 12492"/>
                <a:gd name="connsiteX4" fmla="*/ 20147 w 37476"/>
                <a:gd name="connsiteY4" fmla="*/ 9584 h 12492"/>
                <a:gd name="connsiteX5" fmla="*/ 3095 w 37476"/>
                <a:gd name="connsiteY5" fmla="*/ 3588 h 12492"/>
                <a:gd name="connsiteX6" fmla="*/ 222 w 37476"/>
                <a:gd name="connsiteY6" fmla="*/ 1214 h 12492"/>
                <a:gd name="connsiteX7" fmla="*/ 4594 w 37476"/>
                <a:gd name="connsiteY7" fmla="*/ 1214 h 12492"/>
                <a:gd name="connsiteX8" fmla="*/ 5656 w 37476"/>
                <a:gd name="connsiteY8" fmla="*/ 1339 h 12492"/>
                <a:gd name="connsiteX9" fmla="*/ 16587 w 37476"/>
                <a:gd name="connsiteY9" fmla="*/ 4087 h 12492"/>
                <a:gd name="connsiteX10" fmla="*/ 18023 w 37476"/>
                <a:gd name="connsiteY10" fmla="*/ 4462 h 12492"/>
                <a:gd name="connsiteX11" fmla="*/ 36762 w 37476"/>
                <a:gd name="connsiteY11" fmla="*/ 8772 h 12492"/>
                <a:gd name="connsiteX12" fmla="*/ 38198 w 37476"/>
                <a:gd name="connsiteY12" fmla="*/ 9272 h 12492"/>
                <a:gd name="connsiteX13" fmla="*/ 43070 w 37476"/>
                <a:gd name="connsiteY13" fmla="*/ 12894 h 12492"/>
                <a:gd name="connsiteX14" fmla="*/ 36699 w 37476"/>
                <a:gd name="connsiteY14" fmla="*/ 1389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76" h="12492">
                  <a:moveTo>
                    <a:pt x="36699" y="13894"/>
                  </a:moveTo>
                  <a:cubicBezTo>
                    <a:pt x="25769" y="11832"/>
                    <a:pt x="14338" y="14143"/>
                    <a:pt x="3533" y="11020"/>
                  </a:cubicBezTo>
                  <a:cubicBezTo>
                    <a:pt x="4657" y="8959"/>
                    <a:pt x="6343" y="9334"/>
                    <a:pt x="8467" y="9709"/>
                  </a:cubicBezTo>
                  <a:cubicBezTo>
                    <a:pt x="12464" y="10396"/>
                    <a:pt x="16524" y="11832"/>
                    <a:pt x="20897" y="10646"/>
                  </a:cubicBezTo>
                  <a:cubicBezTo>
                    <a:pt x="20522" y="10084"/>
                    <a:pt x="20272" y="9584"/>
                    <a:pt x="20147" y="9584"/>
                  </a:cubicBezTo>
                  <a:cubicBezTo>
                    <a:pt x="13276" y="10396"/>
                    <a:pt x="8842" y="5399"/>
                    <a:pt x="3095" y="3588"/>
                  </a:cubicBezTo>
                  <a:cubicBezTo>
                    <a:pt x="1846" y="3213"/>
                    <a:pt x="-777" y="3400"/>
                    <a:pt x="222" y="1214"/>
                  </a:cubicBezTo>
                  <a:cubicBezTo>
                    <a:pt x="1346" y="-1284"/>
                    <a:pt x="3095" y="777"/>
                    <a:pt x="4594" y="1214"/>
                  </a:cubicBezTo>
                  <a:cubicBezTo>
                    <a:pt x="4907" y="1277"/>
                    <a:pt x="5282" y="1339"/>
                    <a:pt x="5656" y="1339"/>
                  </a:cubicBezTo>
                  <a:cubicBezTo>
                    <a:pt x="9904" y="402"/>
                    <a:pt x="12839" y="3463"/>
                    <a:pt x="16587" y="4087"/>
                  </a:cubicBezTo>
                  <a:cubicBezTo>
                    <a:pt x="17087" y="4212"/>
                    <a:pt x="17586" y="4337"/>
                    <a:pt x="18023" y="4462"/>
                  </a:cubicBezTo>
                  <a:cubicBezTo>
                    <a:pt x="24145" y="6398"/>
                    <a:pt x="30828" y="6336"/>
                    <a:pt x="36762" y="8772"/>
                  </a:cubicBezTo>
                  <a:cubicBezTo>
                    <a:pt x="37261" y="8897"/>
                    <a:pt x="37761" y="9084"/>
                    <a:pt x="38198" y="9272"/>
                  </a:cubicBezTo>
                  <a:cubicBezTo>
                    <a:pt x="39760" y="10521"/>
                    <a:pt x="42945" y="10084"/>
                    <a:pt x="43070" y="12894"/>
                  </a:cubicBezTo>
                  <a:cubicBezTo>
                    <a:pt x="41384" y="15393"/>
                    <a:pt x="38573" y="12082"/>
                    <a:pt x="36699" y="13894"/>
                  </a:cubicBezTo>
                  <a:close/>
                </a:path>
              </a:pathLst>
            </a:custGeom>
            <a:grpFill/>
            <a:ln w="6246" cap="flat">
              <a:noFill/>
              <a:prstDash val="solid"/>
              <a:miter/>
            </a:ln>
          </p:spPr>
          <p:txBody>
            <a:bodyPr rtlCol="0" anchor="ctr"/>
            <a:lstStyle/>
            <a:p>
              <a:endParaRPr lang="fr-FR" sz="2400"/>
            </a:p>
          </p:txBody>
        </p:sp>
        <p:sp>
          <p:nvSpPr>
            <p:cNvPr id="576" name="Freeform: Shape 575">
              <a:extLst>
                <a:ext uri="{FF2B5EF4-FFF2-40B4-BE49-F238E27FC236}">
                  <a16:creationId xmlns:a16="http://schemas.microsoft.com/office/drawing/2014/main" id="{8B7BE9F8-2F5D-4D8D-929E-18000AF71C69}"/>
                </a:ext>
              </a:extLst>
            </p:cNvPr>
            <p:cNvSpPr/>
            <p:nvPr/>
          </p:nvSpPr>
          <p:spPr>
            <a:xfrm>
              <a:off x="1243673" y="455954"/>
              <a:ext cx="49969" cy="24984"/>
            </a:xfrm>
            <a:custGeom>
              <a:avLst/>
              <a:gdLst>
                <a:gd name="connsiteX0" fmla="*/ 16064 w 49968"/>
                <a:gd name="connsiteY0" fmla="*/ 19433 h 24984"/>
                <a:gd name="connsiteX1" fmla="*/ 3197 w 49968"/>
                <a:gd name="connsiteY1" fmla="*/ 24242 h 24984"/>
                <a:gd name="connsiteX2" fmla="*/ 1073 w 49968"/>
                <a:gd name="connsiteY2" fmla="*/ 25179 h 24984"/>
                <a:gd name="connsiteX3" fmla="*/ 2135 w 49968"/>
                <a:gd name="connsiteY3" fmla="*/ 22306 h 24984"/>
                <a:gd name="connsiteX4" fmla="*/ 7257 w 49968"/>
                <a:gd name="connsiteY4" fmla="*/ 18371 h 24984"/>
                <a:gd name="connsiteX5" fmla="*/ 18437 w 49968"/>
                <a:gd name="connsiteY5" fmla="*/ 11251 h 24984"/>
                <a:gd name="connsiteX6" fmla="*/ 45045 w 49968"/>
                <a:gd name="connsiteY6" fmla="*/ 8 h 24984"/>
                <a:gd name="connsiteX7" fmla="*/ 48044 w 49968"/>
                <a:gd name="connsiteY7" fmla="*/ 1070 h 24984"/>
                <a:gd name="connsiteX8" fmla="*/ 52103 w 49968"/>
                <a:gd name="connsiteY8" fmla="*/ 1070 h 24984"/>
                <a:gd name="connsiteX9" fmla="*/ 41673 w 49968"/>
                <a:gd name="connsiteY9" fmla="*/ 5879 h 24984"/>
                <a:gd name="connsiteX10" fmla="*/ 26682 w 49968"/>
                <a:gd name="connsiteY10" fmla="*/ 15560 h 24984"/>
                <a:gd name="connsiteX11" fmla="*/ 26807 w 49968"/>
                <a:gd name="connsiteY11" fmla="*/ 13124 h 24984"/>
                <a:gd name="connsiteX12" fmla="*/ 32928 w 49968"/>
                <a:gd name="connsiteY12" fmla="*/ 7253 h 24984"/>
                <a:gd name="connsiteX13" fmla="*/ 16064 w 49968"/>
                <a:gd name="connsiteY13" fmla="*/ 19433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68" h="24984">
                  <a:moveTo>
                    <a:pt x="16064" y="19433"/>
                  </a:moveTo>
                  <a:cubicBezTo>
                    <a:pt x="11754" y="21057"/>
                    <a:pt x="7507" y="22681"/>
                    <a:pt x="3197" y="24242"/>
                  </a:cubicBezTo>
                  <a:cubicBezTo>
                    <a:pt x="2572" y="24805"/>
                    <a:pt x="2260" y="25804"/>
                    <a:pt x="1073" y="25179"/>
                  </a:cubicBezTo>
                  <a:cubicBezTo>
                    <a:pt x="-1987" y="23181"/>
                    <a:pt x="2510" y="23430"/>
                    <a:pt x="2135" y="22306"/>
                  </a:cubicBezTo>
                  <a:cubicBezTo>
                    <a:pt x="3259" y="20370"/>
                    <a:pt x="5508" y="19620"/>
                    <a:pt x="7257" y="18371"/>
                  </a:cubicBezTo>
                  <a:cubicBezTo>
                    <a:pt x="11629" y="16747"/>
                    <a:pt x="15127" y="14249"/>
                    <a:pt x="18437" y="11251"/>
                  </a:cubicBezTo>
                  <a:cubicBezTo>
                    <a:pt x="25745" y="4630"/>
                    <a:pt x="35489" y="2444"/>
                    <a:pt x="45045" y="8"/>
                  </a:cubicBezTo>
                  <a:cubicBezTo>
                    <a:pt x="46232" y="-55"/>
                    <a:pt x="47232" y="258"/>
                    <a:pt x="48044" y="1070"/>
                  </a:cubicBezTo>
                  <a:cubicBezTo>
                    <a:pt x="49043" y="1070"/>
                    <a:pt x="50105" y="1070"/>
                    <a:pt x="52103" y="1070"/>
                  </a:cubicBezTo>
                  <a:cubicBezTo>
                    <a:pt x="48481" y="3818"/>
                    <a:pt x="44046" y="3068"/>
                    <a:pt x="41673" y="5879"/>
                  </a:cubicBezTo>
                  <a:cubicBezTo>
                    <a:pt x="37175" y="9689"/>
                    <a:pt x="32241" y="13062"/>
                    <a:pt x="26682" y="15560"/>
                  </a:cubicBezTo>
                  <a:cubicBezTo>
                    <a:pt x="23434" y="14624"/>
                    <a:pt x="26245" y="13749"/>
                    <a:pt x="26807" y="13124"/>
                  </a:cubicBezTo>
                  <a:cubicBezTo>
                    <a:pt x="28431" y="11438"/>
                    <a:pt x="31304" y="10813"/>
                    <a:pt x="32928" y="7253"/>
                  </a:cubicBezTo>
                  <a:cubicBezTo>
                    <a:pt x="26682" y="11875"/>
                    <a:pt x="20311" y="14436"/>
                    <a:pt x="16064" y="19433"/>
                  </a:cubicBezTo>
                  <a:close/>
                </a:path>
              </a:pathLst>
            </a:custGeom>
            <a:grpFill/>
            <a:ln w="6246" cap="flat">
              <a:noFill/>
              <a:prstDash val="solid"/>
              <a:miter/>
            </a:ln>
          </p:spPr>
          <p:txBody>
            <a:bodyPr rtlCol="0" anchor="ctr"/>
            <a:lstStyle/>
            <a:p>
              <a:endParaRPr lang="fr-FR" sz="2400"/>
            </a:p>
          </p:txBody>
        </p:sp>
        <p:sp>
          <p:nvSpPr>
            <p:cNvPr id="577" name="Freeform: Shape 576">
              <a:extLst>
                <a:ext uri="{FF2B5EF4-FFF2-40B4-BE49-F238E27FC236}">
                  <a16:creationId xmlns:a16="http://schemas.microsoft.com/office/drawing/2014/main" id="{A84FB85C-BD40-42FC-903F-D0222B4DFF2B}"/>
                </a:ext>
              </a:extLst>
            </p:cNvPr>
            <p:cNvSpPr/>
            <p:nvPr/>
          </p:nvSpPr>
          <p:spPr>
            <a:xfrm>
              <a:off x="1269423" y="495405"/>
              <a:ext cx="31230" cy="18738"/>
            </a:xfrm>
            <a:custGeom>
              <a:avLst/>
              <a:gdLst>
                <a:gd name="connsiteX0" fmla="*/ 4242 w 31230"/>
                <a:gd name="connsiteY0" fmla="*/ 1281 h 18738"/>
                <a:gd name="connsiteX1" fmla="*/ 11738 w 31230"/>
                <a:gd name="connsiteY1" fmla="*/ 2218 h 18738"/>
                <a:gd name="connsiteX2" fmla="*/ 8739 w 31230"/>
                <a:gd name="connsiteY2" fmla="*/ 8277 h 18738"/>
                <a:gd name="connsiteX3" fmla="*/ 7740 w 31230"/>
                <a:gd name="connsiteY3" fmla="*/ 8527 h 18738"/>
                <a:gd name="connsiteX4" fmla="*/ 9489 w 31230"/>
                <a:gd name="connsiteY4" fmla="*/ 8464 h 18738"/>
                <a:gd name="connsiteX5" fmla="*/ 13736 w 31230"/>
                <a:gd name="connsiteY5" fmla="*/ 6528 h 18738"/>
                <a:gd name="connsiteX6" fmla="*/ 17359 w 31230"/>
                <a:gd name="connsiteY6" fmla="*/ 6278 h 18738"/>
                <a:gd name="connsiteX7" fmla="*/ 23105 w 31230"/>
                <a:gd name="connsiteY7" fmla="*/ 9588 h 18738"/>
                <a:gd name="connsiteX8" fmla="*/ 28352 w 31230"/>
                <a:gd name="connsiteY8" fmla="*/ 12961 h 18738"/>
                <a:gd name="connsiteX9" fmla="*/ 31850 w 31230"/>
                <a:gd name="connsiteY9" fmla="*/ 16209 h 18738"/>
                <a:gd name="connsiteX10" fmla="*/ 33661 w 31230"/>
                <a:gd name="connsiteY10" fmla="*/ 20332 h 18738"/>
                <a:gd name="connsiteX11" fmla="*/ 32412 w 31230"/>
                <a:gd name="connsiteY11" fmla="*/ 20956 h 18738"/>
                <a:gd name="connsiteX12" fmla="*/ 16172 w 31230"/>
                <a:gd name="connsiteY12" fmla="*/ 14523 h 18738"/>
                <a:gd name="connsiteX13" fmla="*/ 11113 w 31230"/>
                <a:gd name="connsiteY13" fmla="*/ 13336 h 18738"/>
                <a:gd name="connsiteX14" fmla="*/ 7740 w 31230"/>
                <a:gd name="connsiteY14" fmla="*/ 13586 h 18738"/>
                <a:gd name="connsiteX15" fmla="*/ 5741 w 31230"/>
                <a:gd name="connsiteY15" fmla="*/ 13523 h 18738"/>
                <a:gd name="connsiteX16" fmla="*/ 1307 w 31230"/>
                <a:gd name="connsiteY16" fmla="*/ 12274 h 18738"/>
                <a:gd name="connsiteX17" fmla="*/ 3993 w 31230"/>
                <a:gd name="connsiteY17" fmla="*/ 3592 h 18738"/>
                <a:gd name="connsiteX18" fmla="*/ 3993 w 31230"/>
                <a:gd name="connsiteY18" fmla="*/ 2156 h 18738"/>
                <a:gd name="connsiteX19" fmla="*/ 4242 w 31230"/>
                <a:gd name="connsiteY19" fmla="*/ 1281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230" h="18738">
                  <a:moveTo>
                    <a:pt x="4242" y="1281"/>
                  </a:moveTo>
                  <a:cubicBezTo>
                    <a:pt x="7303" y="-1842"/>
                    <a:pt x="9302" y="1656"/>
                    <a:pt x="11738" y="2218"/>
                  </a:cubicBezTo>
                  <a:cubicBezTo>
                    <a:pt x="11863" y="4717"/>
                    <a:pt x="11675" y="7090"/>
                    <a:pt x="8739" y="8277"/>
                  </a:cubicBezTo>
                  <a:cubicBezTo>
                    <a:pt x="8490" y="8589"/>
                    <a:pt x="7927" y="8027"/>
                    <a:pt x="7740" y="8527"/>
                  </a:cubicBezTo>
                  <a:cubicBezTo>
                    <a:pt x="8302" y="8527"/>
                    <a:pt x="8864" y="8402"/>
                    <a:pt x="9489" y="8464"/>
                  </a:cubicBezTo>
                  <a:cubicBezTo>
                    <a:pt x="11051" y="8152"/>
                    <a:pt x="13861" y="10713"/>
                    <a:pt x="13736" y="6528"/>
                  </a:cubicBezTo>
                  <a:cubicBezTo>
                    <a:pt x="13674" y="4966"/>
                    <a:pt x="15985" y="4904"/>
                    <a:pt x="17359" y="6278"/>
                  </a:cubicBezTo>
                  <a:cubicBezTo>
                    <a:pt x="18483" y="8464"/>
                    <a:pt x="21169" y="8464"/>
                    <a:pt x="23105" y="9588"/>
                  </a:cubicBezTo>
                  <a:cubicBezTo>
                    <a:pt x="25229" y="10213"/>
                    <a:pt x="26791" y="11525"/>
                    <a:pt x="28352" y="12961"/>
                  </a:cubicBezTo>
                  <a:cubicBezTo>
                    <a:pt x="29476" y="14023"/>
                    <a:pt x="30663" y="15085"/>
                    <a:pt x="31850" y="16209"/>
                  </a:cubicBezTo>
                  <a:cubicBezTo>
                    <a:pt x="32974" y="17396"/>
                    <a:pt x="34286" y="18520"/>
                    <a:pt x="33661" y="20332"/>
                  </a:cubicBezTo>
                  <a:cubicBezTo>
                    <a:pt x="33349" y="20706"/>
                    <a:pt x="32974" y="20894"/>
                    <a:pt x="32412" y="20956"/>
                  </a:cubicBezTo>
                  <a:cubicBezTo>
                    <a:pt x="26416" y="20019"/>
                    <a:pt x="22106" y="15647"/>
                    <a:pt x="16172" y="14523"/>
                  </a:cubicBezTo>
                  <a:cubicBezTo>
                    <a:pt x="14486" y="14211"/>
                    <a:pt x="12862" y="13461"/>
                    <a:pt x="11113" y="13336"/>
                  </a:cubicBezTo>
                  <a:cubicBezTo>
                    <a:pt x="9989" y="13211"/>
                    <a:pt x="8864" y="13336"/>
                    <a:pt x="7740" y="13586"/>
                  </a:cubicBezTo>
                  <a:cubicBezTo>
                    <a:pt x="7053" y="13711"/>
                    <a:pt x="6366" y="13648"/>
                    <a:pt x="5741" y="13523"/>
                  </a:cubicBezTo>
                  <a:cubicBezTo>
                    <a:pt x="4305" y="13086"/>
                    <a:pt x="2556" y="13399"/>
                    <a:pt x="1307" y="12274"/>
                  </a:cubicBezTo>
                  <a:cubicBezTo>
                    <a:pt x="-1192" y="8527"/>
                    <a:pt x="-5" y="5716"/>
                    <a:pt x="3993" y="3592"/>
                  </a:cubicBezTo>
                  <a:cubicBezTo>
                    <a:pt x="4492" y="3155"/>
                    <a:pt x="4367" y="2655"/>
                    <a:pt x="3993" y="2156"/>
                  </a:cubicBezTo>
                  <a:cubicBezTo>
                    <a:pt x="3805" y="1843"/>
                    <a:pt x="3930" y="1531"/>
                    <a:pt x="4242" y="1281"/>
                  </a:cubicBezTo>
                  <a:close/>
                </a:path>
              </a:pathLst>
            </a:custGeom>
            <a:grpFill/>
            <a:ln w="6246" cap="flat">
              <a:noFill/>
              <a:prstDash val="solid"/>
              <a:miter/>
            </a:ln>
          </p:spPr>
          <p:txBody>
            <a:bodyPr rtlCol="0" anchor="ctr"/>
            <a:lstStyle/>
            <a:p>
              <a:endParaRPr lang="fr-FR" sz="2400"/>
            </a:p>
          </p:txBody>
        </p:sp>
        <p:sp>
          <p:nvSpPr>
            <p:cNvPr id="578" name="Freeform: Shape 577">
              <a:extLst>
                <a:ext uri="{FF2B5EF4-FFF2-40B4-BE49-F238E27FC236}">
                  <a16:creationId xmlns:a16="http://schemas.microsoft.com/office/drawing/2014/main" id="{6F9CD4C4-4E88-40A6-B540-DFF9FDF4C0D4}"/>
                </a:ext>
              </a:extLst>
            </p:cNvPr>
            <p:cNvSpPr/>
            <p:nvPr/>
          </p:nvSpPr>
          <p:spPr>
            <a:xfrm>
              <a:off x="1211517" y="459323"/>
              <a:ext cx="43722" cy="31230"/>
            </a:xfrm>
            <a:custGeom>
              <a:avLst/>
              <a:gdLst>
                <a:gd name="connsiteX0" fmla="*/ 15053 w 43722"/>
                <a:gd name="connsiteY0" fmla="*/ 19936 h 31230"/>
                <a:gd name="connsiteX1" fmla="*/ 28794 w 43722"/>
                <a:gd name="connsiteY1" fmla="*/ 11192 h 31230"/>
                <a:gd name="connsiteX2" fmla="*/ 24672 w 43722"/>
                <a:gd name="connsiteY2" fmla="*/ 11192 h 31230"/>
                <a:gd name="connsiteX3" fmla="*/ 24672 w 43722"/>
                <a:gd name="connsiteY3" fmla="*/ 11192 h 31230"/>
                <a:gd name="connsiteX4" fmla="*/ 25734 w 43722"/>
                <a:gd name="connsiteY4" fmla="*/ 8319 h 31230"/>
                <a:gd name="connsiteX5" fmla="*/ 27483 w 43722"/>
                <a:gd name="connsiteY5" fmla="*/ 5820 h 31230"/>
                <a:gd name="connsiteX6" fmla="*/ 37539 w 43722"/>
                <a:gd name="connsiteY6" fmla="*/ 2260 h 31230"/>
                <a:gd name="connsiteX7" fmla="*/ 48469 w 43722"/>
                <a:gd name="connsiteY7" fmla="*/ 449 h 31230"/>
                <a:gd name="connsiteX8" fmla="*/ 49094 w 43722"/>
                <a:gd name="connsiteY8" fmla="*/ 3384 h 31230"/>
                <a:gd name="connsiteX9" fmla="*/ 44597 w 43722"/>
                <a:gd name="connsiteY9" fmla="*/ 6320 h 31230"/>
                <a:gd name="connsiteX10" fmla="*/ 10306 w 43722"/>
                <a:gd name="connsiteY10" fmla="*/ 29056 h 31230"/>
                <a:gd name="connsiteX11" fmla="*/ 1062 w 43722"/>
                <a:gd name="connsiteY11" fmla="*/ 37363 h 31230"/>
                <a:gd name="connsiteX12" fmla="*/ 0 w 43722"/>
                <a:gd name="connsiteY12" fmla="*/ 35427 h 31230"/>
                <a:gd name="connsiteX13" fmla="*/ 15053 w 43722"/>
                <a:gd name="connsiteY13" fmla="*/ 19936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22" h="31230">
                  <a:moveTo>
                    <a:pt x="15053" y="19936"/>
                  </a:moveTo>
                  <a:cubicBezTo>
                    <a:pt x="20300" y="17938"/>
                    <a:pt x="23360" y="13440"/>
                    <a:pt x="28794" y="11192"/>
                  </a:cubicBezTo>
                  <a:cubicBezTo>
                    <a:pt x="26858" y="10130"/>
                    <a:pt x="25859" y="11442"/>
                    <a:pt x="24672" y="11192"/>
                  </a:cubicBezTo>
                  <a:lnTo>
                    <a:pt x="24672" y="11192"/>
                  </a:lnTo>
                  <a:cubicBezTo>
                    <a:pt x="24422" y="10067"/>
                    <a:pt x="27670" y="9943"/>
                    <a:pt x="25734" y="8319"/>
                  </a:cubicBezTo>
                  <a:cubicBezTo>
                    <a:pt x="25172" y="6820"/>
                    <a:pt x="26296" y="6320"/>
                    <a:pt x="27483" y="5820"/>
                  </a:cubicBezTo>
                  <a:cubicBezTo>
                    <a:pt x="31230" y="5508"/>
                    <a:pt x="34478" y="4071"/>
                    <a:pt x="37539" y="2260"/>
                  </a:cubicBezTo>
                  <a:cubicBezTo>
                    <a:pt x="41099" y="1198"/>
                    <a:pt x="44410" y="-926"/>
                    <a:pt x="48469" y="449"/>
                  </a:cubicBezTo>
                  <a:cubicBezTo>
                    <a:pt x="49219" y="1323"/>
                    <a:pt x="49344" y="2322"/>
                    <a:pt x="49094" y="3384"/>
                  </a:cubicBezTo>
                  <a:cubicBezTo>
                    <a:pt x="48407" y="5445"/>
                    <a:pt x="46283" y="5570"/>
                    <a:pt x="44597" y="6320"/>
                  </a:cubicBezTo>
                  <a:cubicBezTo>
                    <a:pt x="31043" y="11254"/>
                    <a:pt x="20112" y="19437"/>
                    <a:pt x="10306" y="29056"/>
                  </a:cubicBezTo>
                  <a:cubicBezTo>
                    <a:pt x="7495" y="32116"/>
                    <a:pt x="5497" y="35864"/>
                    <a:pt x="1062" y="37363"/>
                  </a:cubicBezTo>
                  <a:cubicBezTo>
                    <a:pt x="250" y="36926"/>
                    <a:pt x="0" y="36238"/>
                    <a:pt x="0" y="35427"/>
                  </a:cubicBezTo>
                  <a:cubicBezTo>
                    <a:pt x="3123" y="28681"/>
                    <a:pt x="9556" y="24683"/>
                    <a:pt x="15053" y="19936"/>
                  </a:cubicBezTo>
                  <a:close/>
                </a:path>
              </a:pathLst>
            </a:custGeom>
            <a:grpFill/>
            <a:ln w="6246" cap="flat">
              <a:noFill/>
              <a:prstDash val="solid"/>
              <a:miter/>
            </a:ln>
          </p:spPr>
          <p:txBody>
            <a:bodyPr rtlCol="0" anchor="ctr"/>
            <a:lstStyle/>
            <a:p>
              <a:endParaRPr lang="fr-FR" sz="2400"/>
            </a:p>
          </p:txBody>
        </p:sp>
        <p:sp>
          <p:nvSpPr>
            <p:cNvPr id="579" name="Freeform: Shape 578">
              <a:extLst>
                <a:ext uri="{FF2B5EF4-FFF2-40B4-BE49-F238E27FC236}">
                  <a16:creationId xmlns:a16="http://schemas.microsoft.com/office/drawing/2014/main" id="{40E5EBED-A429-458C-B23A-EE5D5783AA0A}"/>
                </a:ext>
              </a:extLst>
            </p:cNvPr>
            <p:cNvSpPr/>
            <p:nvPr/>
          </p:nvSpPr>
          <p:spPr>
            <a:xfrm>
              <a:off x="1210580" y="452152"/>
              <a:ext cx="31230" cy="24984"/>
            </a:xfrm>
            <a:custGeom>
              <a:avLst/>
              <a:gdLst>
                <a:gd name="connsiteX0" fmla="*/ 26671 w 31230"/>
                <a:gd name="connsiteY0" fmla="*/ 8745 h 24984"/>
                <a:gd name="connsiteX1" fmla="*/ 10618 w 31230"/>
                <a:gd name="connsiteY1" fmla="*/ 21861 h 24984"/>
                <a:gd name="connsiteX2" fmla="*/ 9619 w 31230"/>
                <a:gd name="connsiteY2" fmla="*/ 20987 h 24984"/>
                <a:gd name="connsiteX3" fmla="*/ 17614 w 31230"/>
                <a:gd name="connsiteY3" fmla="*/ 13367 h 24984"/>
                <a:gd name="connsiteX4" fmla="*/ 2124 w 31230"/>
                <a:gd name="connsiteY4" fmla="*/ 25109 h 24984"/>
                <a:gd name="connsiteX5" fmla="*/ 1062 w 31230"/>
                <a:gd name="connsiteY5" fmla="*/ 26046 h 24984"/>
                <a:gd name="connsiteX6" fmla="*/ 0 w 31230"/>
                <a:gd name="connsiteY6" fmla="*/ 26046 h 24984"/>
                <a:gd name="connsiteX7" fmla="*/ 1062 w 31230"/>
                <a:gd name="connsiteY7" fmla="*/ 23173 h 24984"/>
                <a:gd name="connsiteX8" fmla="*/ 28357 w 31230"/>
                <a:gd name="connsiteY8" fmla="*/ 2998 h 24984"/>
                <a:gd name="connsiteX9" fmla="*/ 34229 w 31230"/>
                <a:gd name="connsiteY9" fmla="*/ 0 h 24984"/>
                <a:gd name="connsiteX10" fmla="*/ 28857 w 31230"/>
                <a:gd name="connsiteY10" fmla="*/ 5809 h 24984"/>
                <a:gd name="connsiteX11" fmla="*/ 26671 w 31230"/>
                <a:gd name="connsiteY11" fmla="*/ 8745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24984">
                  <a:moveTo>
                    <a:pt x="26671" y="8745"/>
                  </a:moveTo>
                  <a:cubicBezTo>
                    <a:pt x="21861" y="13679"/>
                    <a:pt x="15178" y="16677"/>
                    <a:pt x="10618" y="21861"/>
                  </a:cubicBezTo>
                  <a:cubicBezTo>
                    <a:pt x="10306" y="21549"/>
                    <a:pt x="9931" y="21299"/>
                    <a:pt x="9619" y="20987"/>
                  </a:cubicBezTo>
                  <a:cubicBezTo>
                    <a:pt x="12305" y="18426"/>
                    <a:pt x="14928" y="15927"/>
                    <a:pt x="17614" y="13367"/>
                  </a:cubicBezTo>
                  <a:cubicBezTo>
                    <a:pt x="12117" y="16927"/>
                    <a:pt x="6121" y="19987"/>
                    <a:pt x="2124" y="25109"/>
                  </a:cubicBezTo>
                  <a:cubicBezTo>
                    <a:pt x="1749" y="25421"/>
                    <a:pt x="1437" y="25734"/>
                    <a:pt x="1062" y="26046"/>
                  </a:cubicBezTo>
                  <a:cubicBezTo>
                    <a:pt x="687" y="26483"/>
                    <a:pt x="375" y="26483"/>
                    <a:pt x="0" y="26046"/>
                  </a:cubicBezTo>
                  <a:cubicBezTo>
                    <a:pt x="375" y="25109"/>
                    <a:pt x="687" y="24110"/>
                    <a:pt x="1062" y="23173"/>
                  </a:cubicBezTo>
                  <a:cubicBezTo>
                    <a:pt x="8370" y="14491"/>
                    <a:pt x="19425" y="9931"/>
                    <a:pt x="28357" y="2998"/>
                  </a:cubicBezTo>
                  <a:cubicBezTo>
                    <a:pt x="30044" y="1686"/>
                    <a:pt x="31855" y="250"/>
                    <a:pt x="34229" y="0"/>
                  </a:cubicBezTo>
                  <a:cubicBezTo>
                    <a:pt x="33729" y="2936"/>
                    <a:pt x="29731" y="3186"/>
                    <a:pt x="28857" y="5809"/>
                  </a:cubicBezTo>
                  <a:cubicBezTo>
                    <a:pt x="29544" y="7683"/>
                    <a:pt x="27295" y="7683"/>
                    <a:pt x="26671" y="8745"/>
                  </a:cubicBezTo>
                  <a:close/>
                </a:path>
              </a:pathLst>
            </a:custGeom>
            <a:grpFill/>
            <a:ln w="6246" cap="flat">
              <a:noFill/>
              <a:prstDash val="solid"/>
              <a:miter/>
            </a:ln>
          </p:spPr>
          <p:txBody>
            <a:bodyPr rtlCol="0" anchor="ctr"/>
            <a:lstStyle/>
            <a:p>
              <a:endParaRPr lang="fr-FR" sz="2400"/>
            </a:p>
          </p:txBody>
        </p:sp>
        <p:sp>
          <p:nvSpPr>
            <p:cNvPr id="580" name="Freeform: Shape 579">
              <a:extLst>
                <a:ext uri="{FF2B5EF4-FFF2-40B4-BE49-F238E27FC236}">
                  <a16:creationId xmlns:a16="http://schemas.microsoft.com/office/drawing/2014/main" id="{0A19428B-4FD8-4A1D-AEB8-576A5804A2B4}"/>
                </a:ext>
              </a:extLst>
            </p:cNvPr>
            <p:cNvSpPr/>
            <p:nvPr/>
          </p:nvSpPr>
          <p:spPr>
            <a:xfrm>
              <a:off x="1232370" y="503212"/>
              <a:ext cx="24984" cy="12492"/>
            </a:xfrm>
            <a:custGeom>
              <a:avLst/>
              <a:gdLst>
                <a:gd name="connsiteX0" fmla="*/ 633 w 24984"/>
                <a:gd name="connsiteY0" fmla="*/ 9901 h 12492"/>
                <a:gd name="connsiteX1" fmla="*/ 3819 w 24984"/>
                <a:gd name="connsiteY1" fmla="*/ 3156 h 12492"/>
                <a:gd name="connsiteX2" fmla="*/ 4881 w 24984"/>
                <a:gd name="connsiteY2" fmla="*/ 1219 h 12492"/>
                <a:gd name="connsiteX3" fmla="*/ 24056 w 24984"/>
                <a:gd name="connsiteY3" fmla="*/ 220 h 12492"/>
                <a:gd name="connsiteX4" fmla="*/ 27366 w 24984"/>
                <a:gd name="connsiteY4" fmla="*/ 2156 h 12492"/>
                <a:gd name="connsiteX5" fmla="*/ 23431 w 24984"/>
                <a:gd name="connsiteY5" fmla="*/ 4092 h 12492"/>
                <a:gd name="connsiteX6" fmla="*/ 11439 w 24984"/>
                <a:gd name="connsiteY6" fmla="*/ 9527 h 12492"/>
                <a:gd name="connsiteX7" fmla="*/ 3819 w 24984"/>
                <a:gd name="connsiteY7" fmla="*/ 11963 h 12492"/>
                <a:gd name="connsiteX8" fmla="*/ 508 w 24984"/>
                <a:gd name="connsiteY8" fmla="*/ 12525 h 12492"/>
                <a:gd name="connsiteX9" fmla="*/ 633 w 24984"/>
                <a:gd name="connsiteY9" fmla="*/ 990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633" y="9901"/>
                  </a:moveTo>
                  <a:cubicBezTo>
                    <a:pt x="883" y="7340"/>
                    <a:pt x="3881" y="5841"/>
                    <a:pt x="3819" y="3156"/>
                  </a:cubicBezTo>
                  <a:cubicBezTo>
                    <a:pt x="3194" y="2031"/>
                    <a:pt x="4069" y="1657"/>
                    <a:pt x="4881" y="1219"/>
                  </a:cubicBezTo>
                  <a:cubicBezTo>
                    <a:pt x="11439" y="3530"/>
                    <a:pt x="17685" y="1282"/>
                    <a:pt x="24056" y="220"/>
                  </a:cubicBezTo>
                  <a:cubicBezTo>
                    <a:pt x="25867" y="-92"/>
                    <a:pt x="27679" y="-467"/>
                    <a:pt x="27366" y="2156"/>
                  </a:cubicBezTo>
                  <a:cubicBezTo>
                    <a:pt x="26429" y="3405"/>
                    <a:pt x="24743" y="3405"/>
                    <a:pt x="23431" y="4092"/>
                  </a:cubicBezTo>
                  <a:cubicBezTo>
                    <a:pt x="19059" y="5217"/>
                    <a:pt x="15936" y="8590"/>
                    <a:pt x="11439" y="9527"/>
                  </a:cubicBezTo>
                  <a:cubicBezTo>
                    <a:pt x="8191" y="8590"/>
                    <a:pt x="6067" y="10276"/>
                    <a:pt x="3819" y="11963"/>
                  </a:cubicBezTo>
                  <a:cubicBezTo>
                    <a:pt x="2944" y="12650"/>
                    <a:pt x="1695" y="13586"/>
                    <a:pt x="508" y="12525"/>
                  </a:cubicBezTo>
                  <a:cubicBezTo>
                    <a:pt x="-304" y="11775"/>
                    <a:pt x="-54" y="10776"/>
                    <a:pt x="633" y="9901"/>
                  </a:cubicBezTo>
                  <a:close/>
                </a:path>
              </a:pathLst>
            </a:custGeom>
            <a:grpFill/>
            <a:ln w="6246" cap="flat">
              <a:noFill/>
              <a:prstDash val="solid"/>
              <a:miter/>
            </a:ln>
          </p:spPr>
          <p:txBody>
            <a:bodyPr rtlCol="0" anchor="ctr"/>
            <a:lstStyle/>
            <a:p>
              <a:endParaRPr lang="fr-FR" sz="2400"/>
            </a:p>
          </p:txBody>
        </p:sp>
        <p:sp>
          <p:nvSpPr>
            <p:cNvPr id="581" name="Freeform: Shape 580">
              <a:extLst>
                <a:ext uri="{FF2B5EF4-FFF2-40B4-BE49-F238E27FC236}">
                  <a16:creationId xmlns:a16="http://schemas.microsoft.com/office/drawing/2014/main" id="{88F4A825-83FD-4BE3-B693-E96F7E6F2BAA}"/>
                </a:ext>
              </a:extLst>
            </p:cNvPr>
            <p:cNvSpPr/>
            <p:nvPr/>
          </p:nvSpPr>
          <p:spPr>
            <a:xfrm>
              <a:off x="1216624" y="593435"/>
              <a:ext cx="43722" cy="12492"/>
            </a:xfrm>
            <a:custGeom>
              <a:avLst/>
              <a:gdLst>
                <a:gd name="connsiteX0" fmla="*/ 45236 w 43722"/>
                <a:gd name="connsiteY0" fmla="*/ 10559 h 12492"/>
                <a:gd name="connsiteX1" fmla="*/ 31682 w 43722"/>
                <a:gd name="connsiteY1" fmla="*/ 10684 h 12492"/>
                <a:gd name="connsiteX2" fmla="*/ 28059 w 43722"/>
                <a:gd name="connsiteY2" fmla="*/ 10122 h 12492"/>
                <a:gd name="connsiteX3" fmla="*/ 264 w 43722"/>
                <a:gd name="connsiteY3" fmla="*/ 1877 h 12492"/>
                <a:gd name="connsiteX4" fmla="*/ 2325 w 43722"/>
                <a:gd name="connsiteY4" fmla="*/ 940 h 12492"/>
                <a:gd name="connsiteX5" fmla="*/ 26872 w 43722"/>
                <a:gd name="connsiteY5" fmla="*/ 7436 h 12492"/>
                <a:gd name="connsiteX6" fmla="*/ 45236 w 43722"/>
                <a:gd name="connsiteY6" fmla="*/ 1055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22" h="12492">
                  <a:moveTo>
                    <a:pt x="45236" y="10559"/>
                  </a:moveTo>
                  <a:cubicBezTo>
                    <a:pt x="40739" y="12183"/>
                    <a:pt x="36366" y="14244"/>
                    <a:pt x="31682" y="10684"/>
                  </a:cubicBezTo>
                  <a:cubicBezTo>
                    <a:pt x="30870" y="10059"/>
                    <a:pt x="29308" y="10184"/>
                    <a:pt x="28059" y="10122"/>
                  </a:cubicBezTo>
                  <a:cubicBezTo>
                    <a:pt x="17941" y="9622"/>
                    <a:pt x="9134" y="5687"/>
                    <a:pt x="264" y="1877"/>
                  </a:cubicBezTo>
                  <a:cubicBezTo>
                    <a:pt x="-798" y="-1434"/>
                    <a:pt x="1638" y="565"/>
                    <a:pt x="2325" y="940"/>
                  </a:cubicBezTo>
                  <a:cubicBezTo>
                    <a:pt x="9946" y="4938"/>
                    <a:pt x="18440" y="6561"/>
                    <a:pt x="26872" y="7436"/>
                  </a:cubicBezTo>
                  <a:cubicBezTo>
                    <a:pt x="33181" y="8061"/>
                    <a:pt x="39427" y="8123"/>
                    <a:pt x="45236" y="10559"/>
                  </a:cubicBezTo>
                  <a:close/>
                </a:path>
              </a:pathLst>
            </a:custGeom>
            <a:grpFill/>
            <a:ln w="6246" cap="flat">
              <a:noFill/>
              <a:prstDash val="solid"/>
              <a:miter/>
            </a:ln>
          </p:spPr>
          <p:txBody>
            <a:bodyPr rtlCol="0" anchor="ctr"/>
            <a:lstStyle/>
            <a:p>
              <a:endParaRPr lang="fr-FR" sz="2400"/>
            </a:p>
          </p:txBody>
        </p:sp>
        <p:sp>
          <p:nvSpPr>
            <p:cNvPr id="582" name="Freeform: Shape 581">
              <a:extLst>
                <a:ext uri="{FF2B5EF4-FFF2-40B4-BE49-F238E27FC236}">
                  <a16:creationId xmlns:a16="http://schemas.microsoft.com/office/drawing/2014/main" id="{6A15EA11-3322-40D7-B4F4-98C7F61AFD10}"/>
                </a:ext>
              </a:extLst>
            </p:cNvPr>
            <p:cNvSpPr/>
            <p:nvPr/>
          </p:nvSpPr>
          <p:spPr>
            <a:xfrm>
              <a:off x="1217640" y="498685"/>
              <a:ext cx="12492" cy="24984"/>
            </a:xfrm>
            <a:custGeom>
              <a:avLst/>
              <a:gdLst>
                <a:gd name="connsiteX0" fmla="*/ 12115 w 12492"/>
                <a:gd name="connsiteY0" fmla="*/ 1874 h 24984"/>
                <a:gd name="connsiteX1" fmla="*/ 9367 w 12492"/>
                <a:gd name="connsiteY1" fmla="*/ 7370 h 24984"/>
                <a:gd name="connsiteX2" fmla="*/ 17487 w 12492"/>
                <a:gd name="connsiteY2" fmla="*/ 0 h 24984"/>
                <a:gd name="connsiteX3" fmla="*/ 17362 w 12492"/>
                <a:gd name="connsiteY3" fmla="*/ 4185 h 24984"/>
                <a:gd name="connsiteX4" fmla="*/ 1310 w 12492"/>
                <a:gd name="connsiteY4" fmla="*/ 29481 h 24984"/>
                <a:gd name="connsiteX5" fmla="*/ 185 w 12492"/>
                <a:gd name="connsiteY5" fmla="*/ 30231 h 24984"/>
                <a:gd name="connsiteX6" fmla="*/ 2496 w 12492"/>
                <a:gd name="connsiteY6" fmla="*/ 16427 h 24984"/>
                <a:gd name="connsiteX7" fmla="*/ 11053 w 12492"/>
                <a:gd name="connsiteY7" fmla="*/ 1936 h 24984"/>
                <a:gd name="connsiteX8" fmla="*/ 12115 w 12492"/>
                <a:gd name="connsiteY8" fmla="*/ 1874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24984">
                  <a:moveTo>
                    <a:pt x="12115" y="1874"/>
                  </a:moveTo>
                  <a:cubicBezTo>
                    <a:pt x="11241" y="3498"/>
                    <a:pt x="9305" y="4685"/>
                    <a:pt x="9367" y="7370"/>
                  </a:cubicBezTo>
                  <a:cubicBezTo>
                    <a:pt x="12615" y="4997"/>
                    <a:pt x="15301" y="2748"/>
                    <a:pt x="17487" y="0"/>
                  </a:cubicBezTo>
                  <a:cubicBezTo>
                    <a:pt x="19111" y="1437"/>
                    <a:pt x="18986" y="3123"/>
                    <a:pt x="17362" y="4185"/>
                  </a:cubicBezTo>
                  <a:cubicBezTo>
                    <a:pt x="7993" y="10556"/>
                    <a:pt x="4620" y="20050"/>
                    <a:pt x="1310" y="29481"/>
                  </a:cubicBezTo>
                  <a:cubicBezTo>
                    <a:pt x="1122" y="29919"/>
                    <a:pt x="935" y="30418"/>
                    <a:pt x="185" y="30231"/>
                  </a:cubicBezTo>
                  <a:cubicBezTo>
                    <a:pt x="-814" y="25422"/>
                    <a:pt x="2559" y="21112"/>
                    <a:pt x="2496" y="16427"/>
                  </a:cubicBezTo>
                  <a:cubicBezTo>
                    <a:pt x="4745" y="11305"/>
                    <a:pt x="6744" y="6059"/>
                    <a:pt x="11053" y="1936"/>
                  </a:cubicBezTo>
                  <a:cubicBezTo>
                    <a:pt x="11428" y="1374"/>
                    <a:pt x="11803" y="1374"/>
                    <a:pt x="12115" y="1874"/>
                  </a:cubicBezTo>
                  <a:close/>
                </a:path>
              </a:pathLst>
            </a:custGeom>
            <a:grpFill/>
            <a:ln w="6246" cap="flat">
              <a:noFill/>
              <a:prstDash val="solid"/>
              <a:miter/>
            </a:ln>
          </p:spPr>
          <p:txBody>
            <a:bodyPr rtlCol="0" anchor="ctr"/>
            <a:lstStyle/>
            <a:p>
              <a:endParaRPr lang="fr-FR" sz="2400"/>
            </a:p>
          </p:txBody>
        </p:sp>
        <p:sp>
          <p:nvSpPr>
            <p:cNvPr id="583" name="Freeform: Shape 582">
              <a:extLst>
                <a:ext uri="{FF2B5EF4-FFF2-40B4-BE49-F238E27FC236}">
                  <a16:creationId xmlns:a16="http://schemas.microsoft.com/office/drawing/2014/main" id="{9FB206D0-9E00-4284-8992-3E44BB69A285}"/>
                </a:ext>
              </a:extLst>
            </p:cNvPr>
            <p:cNvSpPr/>
            <p:nvPr/>
          </p:nvSpPr>
          <p:spPr>
            <a:xfrm>
              <a:off x="1221072" y="464336"/>
              <a:ext cx="31230" cy="18738"/>
            </a:xfrm>
            <a:custGeom>
              <a:avLst/>
              <a:gdLst>
                <a:gd name="connsiteX0" fmla="*/ 126 w 31230"/>
                <a:gd name="connsiteY0" fmla="*/ 23606 h 18738"/>
                <a:gd name="connsiteX1" fmla="*/ 34354 w 31230"/>
                <a:gd name="connsiteY1" fmla="*/ 433 h 18738"/>
                <a:gd name="connsiteX2" fmla="*/ 36353 w 31230"/>
                <a:gd name="connsiteY2" fmla="*/ 2245 h 18738"/>
                <a:gd name="connsiteX3" fmla="*/ 34854 w 31230"/>
                <a:gd name="connsiteY3" fmla="*/ 3681 h 18738"/>
                <a:gd name="connsiteX4" fmla="*/ 32168 w 31230"/>
                <a:gd name="connsiteY4" fmla="*/ 4306 h 18738"/>
                <a:gd name="connsiteX5" fmla="*/ 1125 w 31230"/>
                <a:gd name="connsiteY5" fmla="*/ 24605 h 18738"/>
                <a:gd name="connsiteX6" fmla="*/ 126 w 31230"/>
                <a:gd name="connsiteY6" fmla="*/ 23606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30" h="18738">
                  <a:moveTo>
                    <a:pt x="126" y="23606"/>
                  </a:moveTo>
                  <a:cubicBezTo>
                    <a:pt x="9620" y="13550"/>
                    <a:pt x="20301" y="4930"/>
                    <a:pt x="34354" y="433"/>
                  </a:cubicBezTo>
                  <a:cubicBezTo>
                    <a:pt x="36853" y="-629"/>
                    <a:pt x="37103" y="371"/>
                    <a:pt x="36353" y="2245"/>
                  </a:cubicBezTo>
                  <a:cubicBezTo>
                    <a:pt x="35978" y="2807"/>
                    <a:pt x="35479" y="3306"/>
                    <a:pt x="34854" y="3681"/>
                  </a:cubicBezTo>
                  <a:cubicBezTo>
                    <a:pt x="34042" y="4181"/>
                    <a:pt x="32980" y="3681"/>
                    <a:pt x="32168" y="4306"/>
                  </a:cubicBezTo>
                  <a:cubicBezTo>
                    <a:pt x="20488" y="9365"/>
                    <a:pt x="10182" y="16236"/>
                    <a:pt x="1125" y="24605"/>
                  </a:cubicBezTo>
                  <a:cubicBezTo>
                    <a:pt x="251" y="24855"/>
                    <a:pt x="-249" y="24668"/>
                    <a:pt x="126" y="23606"/>
                  </a:cubicBezTo>
                  <a:close/>
                </a:path>
              </a:pathLst>
            </a:custGeom>
            <a:grpFill/>
            <a:ln w="6246" cap="flat">
              <a:noFill/>
              <a:prstDash val="solid"/>
              <a:miter/>
            </a:ln>
          </p:spPr>
          <p:txBody>
            <a:bodyPr rtlCol="0" anchor="ctr"/>
            <a:lstStyle/>
            <a:p>
              <a:endParaRPr lang="fr-FR" sz="2400"/>
            </a:p>
          </p:txBody>
        </p:sp>
        <p:sp>
          <p:nvSpPr>
            <p:cNvPr id="584" name="Freeform: Shape 583">
              <a:extLst>
                <a:ext uri="{FF2B5EF4-FFF2-40B4-BE49-F238E27FC236}">
                  <a16:creationId xmlns:a16="http://schemas.microsoft.com/office/drawing/2014/main" id="{1AF481A3-6253-466B-A58A-92F4ED9E1C22}"/>
                </a:ext>
              </a:extLst>
            </p:cNvPr>
            <p:cNvSpPr/>
            <p:nvPr/>
          </p:nvSpPr>
          <p:spPr>
            <a:xfrm>
              <a:off x="1281161" y="459930"/>
              <a:ext cx="31230" cy="6246"/>
            </a:xfrm>
            <a:custGeom>
              <a:avLst/>
              <a:gdLst>
                <a:gd name="connsiteX0" fmla="*/ 11743 w 31230"/>
                <a:gd name="connsiteY0" fmla="*/ 7712 h 6246"/>
                <a:gd name="connsiteX1" fmla="*/ 19613 w 31230"/>
                <a:gd name="connsiteY1" fmla="*/ 3277 h 6246"/>
                <a:gd name="connsiteX2" fmla="*/ 5559 w 31230"/>
                <a:gd name="connsiteY2" fmla="*/ 6150 h 6246"/>
                <a:gd name="connsiteX3" fmla="*/ 0 w 31230"/>
                <a:gd name="connsiteY3" fmla="*/ 6713 h 6246"/>
                <a:gd name="connsiteX4" fmla="*/ 3186 w 31230"/>
                <a:gd name="connsiteY4" fmla="*/ 4776 h 6246"/>
                <a:gd name="connsiteX5" fmla="*/ 9494 w 31230"/>
                <a:gd name="connsiteY5" fmla="*/ 1403 h 6246"/>
                <a:gd name="connsiteX6" fmla="*/ 29294 w 31230"/>
                <a:gd name="connsiteY6" fmla="*/ 1653 h 6246"/>
                <a:gd name="connsiteX7" fmla="*/ 36227 w 31230"/>
                <a:gd name="connsiteY7" fmla="*/ 3527 h 6246"/>
                <a:gd name="connsiteX8" fmla="*/ 12867 w 31230"/>
                <a:gd name="connsiteY8" fmla="*/ 8649 h 6246"/>
                <a:gd name="connsiteX9" fmla="*/ 11743 w 31230"/>
                <a:gd name="connsiteY9" fmla="*/ 771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11743" y="7712"/>
                  </a:moveTo>
                  <a:cubicBezTo>
                    <a:pt x="14241" y="6338"/>
                    <a:pt x="16740" y="4901"/>
                    <a:pt x="19613" y="3277"/>
                  </a:cubicBezTo>
                  <a:cubicBezTo>
                    <a:pt x="13991" y="1903"/>
                    <a:pt x="9681" y="4089"/>
                    <a:pt x="5559" y="6150"/>
                  </a:cubicBezTo>
                  <a:cubicBezTo>
                    <a:pt x="3623" y="7150"/>
                    <a:pt x="2124" y="8524"/>
                    <a:pt x="0" y="6713"/>
                  </a:cubicBezTo>
                  <a:cubicBezTo>
                    <a:pt x="500" y="5276"/>
                    <a:pt x="1249" y="4214"/>
                    <a:pt x="3186" y="4776"/>
                  </a:cubicBezTo>
                  <a:cubicBezTo>
                    <a:pt x="5934" y="4714"/>
                    <a:pt x="7245" y="2340"/>
                    <a:pt x="9494" y="1403"/>
                  </a:cubicBezTo>
                  <a:cubicBezTo>
                    <a:pt x="16177" y="-1407"/>
                    <a:pt x="22798" y="716"/>
                    <a:pt x="29294" y="1653"/>
                  </a:cubicBezTo>
                  <a:cubicBezTo>
                    <a:pt x="31043" y="1903"/>
                    <a:pt x="33292" y="2465"/>
                    <a:pt x="36227" y="3527"/>
                  </a:cubicBezTo>
                  <a:cubicBezTo>
                    <a:pt x="27358" y="3839"/>
                    <a:pt x="19675" y="4776"/>
                    <a:pt x="12867" y="8649"/>
                  </a:cubicBezTo>
                  <a:cubicBezTo>
                    <a:pt x="12430" y="8399"/>
                    <a:pt x="11805" y="8337"/>
                    <a:pt x="11743" y="7712"/>
                  </a:cubicBezTo>
                  <a:close/>
                </a:path>
              </a:pathLst>
            </a:custGeom>
            <a:grpFill/>
            <a:ln w="6246" cap="flat">
              <a:noFill/>
              <a:prstDash val="solid"/>
              <a:miter/>
            </a:ln>
          </p:spPr>
          <p:txBody>
            <a:bodyPr rtlCol="0" anchor="ctr"/>
            <a:lstStyle/>
            <a:p>
              <a:endParaRPr lang="fr-FR" sz="2400"/>
            </a:p>
          </p:txBody>
        </p:sp>
        <p:sp>
          <p:nvSpPr>
            <p:cNvPr id="585" name="Freeform: Shape 584">
              <a:extLst>
                <a:ext uri="{FF2B5EF4-FFF2-40B4-BE49-F238E27FC236}">
                  <a16:creationId xmlns:a16="http://schemas.microsoft.com/office/drawing/2014/main" id="{3F5A5F56-8473-410D-AD33-911670D86D5A}"/>
                </a:ext>
              </a:extLst>
            </p:cNvPr>
            <p:cNvSpPr/>
            <p:nvPr/>
          </p:nvSpPr>
          <p:spPr>
            <a:xfrm>
              <a:off x="1240785" y="505392"/>
              <a:ext cx="18738" cy="12492"/>
            </a:xfrm>
            <a:custGeom>
              <a:avLst/>
              <a:gdLst>
                <a:gd name="connsiteX0" fmla="*/ 14704 w 18738"/>
                <a:gd name="connsiteY0" fmla="*/ 976 h 12492"/>
                <a:gd name="connsiteX1" fmla="*/ 19014 w 18738"/>
                <a:gd name="connsiteY1" fmla="*/ 39 h 12492"/>
                <a:gd name="connsiteX2" fmla="*/ 21138 w 18738"/>
                <a:gd name="connsiteY2" fmla="*/ 39 h 12492"/>
                <a:gd name="connsiteX3" fmla="*/ 23948 w 18738"/>
                <a:gd name="connsiteY3" fmla="*/ 4599 h 12492"/>
                <a:gd name="connsiteX4" fmla="*/ 22949 w 18738"/>
                <a:gd name="connsiteY4" fmla="*/ 5536 h 12492"/>
                <a:gd name="connsiteX5" fmla="*/ 12331 w 18738"/>
                <a:gd name="connsiteY5" fmla="*/ 11095 h 12492"/>
                <a:gd name="connsiteX6" fmla="*/ 3399 w 18738"/>
                <a:gd name="connsiteY6" fmla="*/ 15717 h 12492"/>
                <a:gd name="connsiteX7" fmla="*/ 651 w 18738"/>
                <a:gd name="connsiteY7" fmla="*/ 16154 h 12492"/>
                <a:gd name="connsiteX8" fmla="*/ 338 w 18738"/>
                <a:gd name="connsiteY8" fmla="*/ 13468 h 12492"/>
                <a:gd name="connsiteX9" fmla="*/ 4586 w 18738"/>
                <a:gd name="connsiteY9" fmla="*/ 8034 h 12492"/>
                <a:gd name="connsiteX10" fmla="*/ 15141 w 18738"/>
                <a:gd name="connsiteY10" fmla="*/ 1913 h 12492"/>
                <a:gd name="connsiteX11" fmla="*/ 15454 w 18738"/>
                <a:gd name="connsiteY11" fmla="*/ 1538 h 12492"/>
                <a:gd name="connsiteX12" fmla="*/ 14704 w 18738"/>
                <a:gd name="connsiteY12" fmla="*/ 97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38" h="12492">
                  <a:moveTo>
                    <a:pt x="14704" y="976"/>
                  </a:moveTo>
                  <a:cubicBezTo>
                    <a:pt x="15829" y="-398"/>
                    <a:pt x="17515" y="101"/>
                    <a:pt x="19014" y="39"/>
                  </a:cubicBezTo>
                  <a:cubicBezTo>
                    <a:pt x="19701" y="39"/>
                    <a:pt x="20451" y="39"/>
                    <a:pt x="21138" y="39"/>
                  </a:cubicBezTo>
                  <a:cubicBezTo>
                    <a:pt x="23261" y="976"/>
                    <a:pt x="25198" y="2038"/>
                    <a:pt x="23948" y="4599"/>
                  </a:cubicBezTo>
                  <a:cubicBezTo>
                    <a:pt x="23699" y="4973"/>
                    <a:pt x="23324" y="5286"/>
                    <a:pt x="22949" y="5536"/>
                  </a:cubicBezTo>
                  <a:cubicBezTo>
                    <a:pt x="19076" y="6910"/>
                    <a:pt x="14829" y="7659"/>
                    <a:pt x="12331" y="11095"/>
                  </a:cubicBezTo>
                  <a:cubicBezTo>
                    <a:pt x="9020" y="12094"/>
                    <a:pt x="5647" y="12968"/>
                    <a:pt x="3399" y="15717"/>
                  </a:cubicBezTo>
                  <a:cubicBezTo>
                    <a:pt x="2837" y="16404"/>
                    <a:pt x="1712" y="17028"/>
                    <a:pt x="651" y="16154"/>
                  </a:cubicBezTo>
                  <a:cubicBezTo>
                    <a:pt x="-224" y="15404"/>
                    <a:pt x="-99" y="14405"/>
                    <a:pt x="338" y="13468"/>
                  </a:cubicBezTo>
                  <a:cubicBezTo>
                    <a:pt x="1275" y="11344"/>
                    <a:pt x="3711" y="10158"/>
                    <a:pt x="4586" y="8034"/>
                  </a:cubicBezTo>
                  <a:cubicBezTo>
                    <a:pt x="7646" y="5348"/>
                    <a:pt x="10457" y="2350"/>
                    <a:pt x="15141" y="1913"/>
                  </a:cubicBezTo>
                  <a:cubicBezTo>
                    <a:pt x="15829" y="1850"/>
                    <a:pt x="16141" y="1413"/>
                    <a:pt x="15454" y="1538"/>
                  </a:cubicBezTo>
                  <a:cubicBezTo>
                    <a:pt x="15204" y="1538"/>
                    <a:pt x="14892" y="1226"/>
                    <a:pt x="14704" y="976"/>
                  </a:cubicBezTo>
                  <a:close/>
                </a:path>
              </a:pathLst>
            </a:custGeom>
            <a:grpFill/>
            <a:ln w="6246" cap="flat">
              <a:noFill/>
              <a:prstDash val="solid"/>
              <a:miter/>
            </a:ln>
          </p:spPr>
          <p:txBody>
            <a:bodyPr rtlCol="0" anchor="ctr"/>
            <a:lstStyle/>
            <a:p>
              <a:endParaRPr lang="fr-FR" sz="2400"/>
            </a:p>
          </p:txBody>
        </p:sp>
        <p:sp>
          <p:nvSpPr>
            <p:cNvPr id="586" name="Freeform: Shape 585">
              <a:extLst>
                <a:ext uri="{FF2B5EF4-FFF2-40B4-BE49-F238E27FC236}">
                  <a16:creationId xmlns:a16="http://schemas.microsoft.com/office/drawing/2014/main" id="{710D71AE-91D4-4226-9785-DAA3F7B6C573}"/>
                </a:ext>
              </a:extLst>
            </p:cNvPr>
            <p:cNvSpPr/>
            <p:nvPr/>
          </p:nvSpPr>
          <p:spPr>
            <a:xfrm>
              <a:off x="1272291" y="585377"/>
              <a:ext cx="24984" cy="6246"/>
            </a:xfrm>
            <a:custGeom>
              <a:avLst/>
              <a:gdLst>
                <a:gd name="connsiteX0" fmla="*/ 8869 w 24984"/>
                <a:gd name="connsiteY0" fmla="*/ 8935 h 6246"/>
                <a:gd name="connsiteX1" fmla="*/ 7808 w 24984"/>
                <a:gd name="connsiteY1" fmla="*/ 7998 h 6246"/>
                <a:gd name="connsiteX2" fmla="*/ 2436 w 24984"/>
                <a:gd name="connsiteY2" fmla="*/ 7061 h 6246"/>
                <a:gd name="connsiteX3" fmla="*/ 0 w 24984"/>
                <a:gd name="connsiteY3" fmla="*/ 4188 h 6246"/>
                <a:gd name="connsiteX4" fmla="*/ 17177 w 24984"/>
                <a:gd name="connsiteY4" fmla="*/ 3126 h 6246"/>
                <a:gd name="connsiteX5" fmla="*/ 13179 w 24984"/>
                <a:gd name="connsiteY5" fmla="*/ 1252 h 6246"/>
                <a:gd name="connsiteX6" fmla="*/ 13804 w 24984"/>
                <a:gd name="connsiteY6" fmla="*/ 690 h 6246"/>
                <a:gd name="connsiteX7" fmla="*/ 25109 w 24984"/>
                <a:gd name="connsiteY7" fmla="*/ 1190 h 6246"/>
                <a:gd name="connsiteX8" fmla="*/ 26671 w 24984"/>
                <a:gd name="connsiteY8" fmla="*/ 3750 h 6246"/>
                <a:gd name="connsiteX9" fmla="*/ 19425 w 24984"/>
                <a:gd name="connsiteY9" fmla="*/ 9309 h 6246"/>
                <a:gd name="connsiteX10" fmla="*/ 8869 w 24984"/>
                <a:gd name="connsiteY10" fmla="*/ 893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84" h="6246">
                  <a:moveTo>
                    <a:pt x="8869" y="8935"/>
                  </a:moveTo>
                  <a:cubicBezTo>
                    <a:pt x="8495" y="8622"/>
                    <a:pt x="8182" y="8310"/>
                    <a:pt x="7808" y="7998"/>
                  </a:cubicBezTo>
                  <a:cubicBezTo>
                    <a:pt x="6246" y="6749"/>
                    <a:pt x="3873" y="8872"/>
                    <a:pt x="2436" y="7061"/>
                  </a:cubicBezTo>
                  <a:cubicBezTo>
                    <a:pt x="1686" y="6249"/>
                    <a:pt x="999" y="5374"/>
                    <a:pt x="0" y="4188"/>
                  </a:cubicBezTo>
                  <a:cubicBezTo>
                    <a:pt x="5809" y="4562"/>
                    <a:pt x="11555" y="6811"/>
                    <a:pt x="17177" y="3126"/>
                  </a:cubicBezTo>
                  <a:cubicBezTo>
                    <a:pt x="15490" y="2314"/>
                    <a:pt x="14304" y="1814"/>
                    <a:pt x="13179" y="1252"/>
                  </a:cubicBezTo>
                  <a:cubicBezTo>
                    <a:pt x="13367" y="1065"/>
                    <a:pt x="13554" y="877"/>
                    <a:pt x="13804" y="690"/>
                  </a:cubicBezTo>
                  <a:cubicBezTo>
                    <a:pt x="17676" y="-872"/>
                    <a:pt x="21362" y="627"/>
                    <a:pt x="25109" y="1190"/>
                  </a:cubicBezTo>
                  <a:cubicBezTo>
                    <a:pt x="26546" y="1377"/>
                    <a:pt x="28232" y="2626"/>
                    <a:pt x="26671" y="3750"/>
                  </a:cubicBezTo>
                  <a:cubicBezTo>
                    <a:pt x="24172" y="5499"/>
                    <a:pt x="23423" y="9185"/>
                    <a:pt x="19425" y="9309"/>
                  </a:cubicBezTo>
                  <a:cubicBezTo>
                    <a:pt x="15865" y="8747"/>
                    <a:pt x="12305" y="10746"/>
                    <a:pt x="8869" y="8935"/>
                  </a:cubicBezTo>
                  <a:close/>
                </a:path>
              </a:pathLst>
            </a:custGeom>
            <a:grpFill/>
            <a:ln w="6246" cap="flat">
              <a:noFill/>
              <a:prstDash val="solid"/>
              <a:miter/>
            </a:ln>
          </p:spPr>
          <p:txBody>
            <a:bodyPr rtlCol="0" anchor="ctr"/>
            <a:lstStyle/>
            <a:p>
              <a:endParaRPr lang="fr-FR" sz="2400"/>
            </a:p>
          </p:txBody>
        </p:sp>
        <p:sp>
          <p:nvSpPr>
            <p:cNvPr id="587" name="Freeform: Shape 586">
              <a:extLst>
                <a:ext uri="{FF2B5EF4-FFF2-40B4-BE49-F238E27FC236}">
                  <a16:creationId xmlns:a16="http://schemas.microsoft.com/office/drawing/2014/main" id="{F7848F06-6B03-4EE6-88E0-9859857441BC}"/>
                </a:ext>
              </a:extLst>
            </p:cNvPr>
            <p:cNvSpPr/>
            <p:nvPr/>
          </p:nvSpPr>
          <p:spPr>
            <a:xfrm>
              <a:off x="1332222" y="452206"/>
              <a:ext cx="12492" cy="12492"/>
            </a:xfrm>
            <a:custGeom>
              <a:avLst/>
              <a:gdLst>
                <a:gd name="connsiteX0" fmla="*/ 5653 w 12492"/>
                <a:gd name="connsiteY0" fmla="*/ 1944 h 12492"/>
                <a:gd name="connsiteX1" fmla="*/ 16521 w 12492"/>
                <a:gd name="connsiteY1" fmla="*/ 9127 h 12492"/>
                <a:gd name="connsiteX2" fmla="*/ 7777 w 12492"/>
                <a:gd name="connsiteY2" fmla="*/ 7066 h 12492"/>
                <a:gd name="connsiteX3" fmla="*/ 18520 w 12492"/>
                <a:gd name="connsiteY3" fmla="*/ 16872 h 12492"/>
                <a:gd name="connsiteX4" fmla="*/ 4778 w 12492"/>
                <a:gd name="connsiteY4" fmla="*/ 7753 h 12492"/>
                <a:gd name="connsiteX5" fmla="*/ 344 w 12492"/>
                <a:gd name="connsiteY5" fmla="*/ 8 h 12492"/>
                <a:gd name="connsiteX6" fmla="*/ 344 w 12492"/>
                <a:gd name="connsiteY6" fmla="*/ 8 h 12492"/>
                <a:gd name="connsiteX7" fmla="*/ 5653 w 12492"/>
                <a:gd name="connsiteY7" fmla="*/ 194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5653" y="1944"/>
                  </a:moveTo>
                  <a:cubicBezTo>
                    <a:pt x="9026" y="4193"/>
                    <a:pt x="12399" y="6379"/>
                    <a:pt x="16521" y="9127"/>
                  </a:cubicBezTo>
                  <a:cubicBezTo>
                    <a:pt x="13023" y="9440"/>
                    <a:pt x="11337" y="7316"/>
                    <a:pt x="7777" y="7066"/>
                  </a:cubicBezTo>
                  <a:cubicBezTo>
                    <a:pt x="11462" y="10376"/>
                    <a:pt x="15522" y="12313"/>
                    <a:pt x="18520" y="16872"/>
                  </a:cubicBezTo>
                  <a:cubicBezTo>
                    <a:pt x="12648" y="14062"/>
                    <a:pt x="9151" y="10376"/>
                    <a:pt x="4778" y="7753"/>
                  </a:cubicBezTo>
                  <a:cubicBezTo>
                    <a:pt x="1405" y="5754"/>
                    <a:pt x="-906" y="3881"/>
                    <a:pt x="344" y="8"/>
                  </a:cubicBezTo>
                  <a:lnTo>
                    <a:pt x="344" y="8"/>
                  </a:lnTo>
                  <a:cubicBezTo>
                    <a:pt x="2405" y="-117"/>
                    <a:pt x="3841" y="1257"/>
                    <a:pt x="5653" y="1944"/>
                  </a:cubicBezTo>
                  <a:close/>
                </a:path>
              </a:pathLst>
            </a:custGeom>
            <a:grpFill/>
            <a:ln w="6246" cap="flat">
              <a:noFill/>
              <a:prstDash val="solid"/>
              <a:miter/>
            </a:ln>
          </p:spPr>
          <p:txBody>
            <a:bodyPr rtlCol="0" anchor="ctr"/>
            <a:lstStyle/>
            <a:p>
              <a:endParaRPr lang="fr-FR" sz="2400"/>
            </a:p>
          </p:txBody>
        </p:sp>
        <p:sp>
          <p:nvSpPr>
            <p:cNvPr id="588" name="Freeform: Shape 587">
              <a:extLst>
                <a:ext uri="{FF2B5EF4-FFF2-40B4-BE49-F238E27FC236}">
                  <a16:creationId xmlns:a16="http://schemas.microsoft.com/office/drawing/2014/main" id="{F9D4C63B-C15D-4B28-8CDB-70B1C055B904}"/>
                </a:ext>
              </a:extLst>
            </p:cNvPr>
            <p:cNvSpPr/>
            <p:nvPr/>
          </p:nvSpPr>
          <p:spPr>
            <a:xfrm>
              <a:off x="1224321" y="467642"/>
              <a:ext cx="31230" cy="18738"/>
            </a:xfrm>
            <a:custGeom>
              <a:avLst/>
              <a:gdLst>
                <a:gd name="connsiteX0" fmla="*/ 28982 w 31230"/>
                <a:gd name="connsiteY0" fmla="*/ 999 h 18738"/>
                <a:gd name="connsiteX1" fmla="*/ 31105 w 31230"/>
                <a:gd name="connsiteY1" fmla="*/ 0 h 18738"/>
                <a:gd name="connsiteX2" fmla="*/ 30980 w 31230"/>
                <a:gd name="connsiteY2" fmla="*/ 4934 h 18738"/>
                <a:gd name="connsiteX3" fmla="*/ 26796 w 31230"/>
                <a:gd name="connsiteY3" fmla="*/ 7745 h 18738"/>
                <a:gd name="connsiteX4" fmla="*/ 21424 w 31230"/>
                <a:gd name="connsiteY4" fmla="*/ 10618 h 18738"/>
                <a:gd name="connsiteX5" fmla="*/ 18488 w 31230"/>
                <a:gd name="connsiteY5" fmla="*/ 9744 h 18738"/>
                <a:gd name="connsiteX6" fmla="*/ 0 w 31230"/>
                <a:gd name="connsiteY6" fmla="*/ 23173 h 18738"/>
                <a:gd name="connsiteX7" fmla="*/ 15803 w 31230"/>
                <a:gd name="connsiteY7" fmla="*/ 9307 h 18738"/>
                <a:gd name="connsiteX8" fmla="*/ 26046 w 31230"/>
                <a:gd name="connsiteY8" fmla="*/ 4122 h 18738"/>
                <a:gd name="connsiteX9" fmla="*/ 28982 w 31230"/>
                <a:gd name="connsiteY9" fmla="*/ 999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8738">
                  <a:moveTo>
                    <a:pt x="28982" y="999"/>
                  </a:moveTo>
                  <a:cubicBezTo>
                    <a:pt x="29481" y="250"/>
                    <a:pt x="30231" y="62"/>
                    <a:pt x="31105" y="0"/>
                  </a:cubicBezTo>
                  <a:cubicBezTo>
                    <a:pt x="34166" y="1686"/>
                    <a:pt x="32729" y="3310"/>
                    <a:pt x="30980" y="4934"/>
                  </a:cubicBezTo>
                  <a:cubicBezTo>
                    <a:pt x="29731" y="6059"/>
                    <a:pt x="27670" y="6121"/>
                    <a:pt x="26796" y="7745"/>
                  </a:cubicBezTo>
                  <a:cubicBezTo>
                    <a:pt x="25859" y="9931"/>
                    <a:pt x="23173" y="9556"/>
                    <a:pt x="21424" y="10618"/>
                  </a:cubicBezTo>
                  <a:cubicBezTo>
                    <a:pt x="21112" y="8557"/>
                    <a:pt x="20112" y="9057"/>
                    <a:pt x="18488" y="9744"/>
                  </a:cubicBezTo>
                  <a:cubicBezTo>
                    <a:pt x="11180" y="12992"/>
                    <a:pt x="6121" y="18613"/>
                    <a:pt x="0" y="23173"/>
                  </a:cubicBezTo>
                  <a:cubicBezTo>
                    <a:pt x="3435" y="16864"/>
                    <a:pt x="9619" y="13054"/>
                    <a:pt x="15803" y="9307"/>
                  </a:cubicBezTo>
                  <a:cubicBezTo>
                    <a:pt x="19050" y="7370"/>
                    <a:pt x="22673" y="5871"/>
                    <a:pt x="26046" y="4122"/>
                  </a:cubicBezTo>
                  <a:cubicBezTo>
                    <a:pt x="27420" y="3498"/>
                    <a:pt x="29856" y="3373"/>
                    <a:pt x="28982" y="999"/>
                  </a:cubicBezTo>
                  <a:close/>
                </a:path>
              </a:pathLst>
            </a:custGeom>
            <a:grpFill/>
            <a:ln w="6246" cap="flat">
              <a:noFill/>
              <a:prstDash val="solid"/>
              <a:miter/>
            </a:ln>
          </p:spPr>
          <p:txBody>
            <a:bodyPr rtlCol="0" anchor="ctr"/>
            <a:lstStyle/>
            <a:p>
              <a:endParaRPr lang="fr-FR" sz="2400"/>
            </a:p>
          </p:txBody>
        </p:sp>
        <p:sp>
          <p:nvSpPr>
            <p:cNvPr id="589" name="Freeform: Shape 588">
              <a:extLst>
                <a:ext uri="{FF2B5EF4-FFF2-40B4-BE49-F238E27FC236}">
                  <a16:creationId xmlns:a16="http://schemas.microsoft.com/office/drawing/2014/main" id="{67DA2FF9-2C46-4A9C-B4A4-37A2143784E4}"/>
                </a:ext>
              </a:extLst>
            </p:cNvPr>
            <p:cNvSpPr/>
            <p:nvPr/>
          </p:nvSpPr>
          <p:spPr>
            <a:xfrm>
              <a:off x="1280926" y="488965"/>
              <a:ext cx="12492" cy="6246"/>
            </a:xfrm>
            <a:custGeom>
              <a:avLst/>
              <a:gdLst>
                <a:gd name="connsiteX0" fmla="*/ 2358 w 12492"/>
                <a:gd name="connsiteY0" fmla="*/ 913 h 6246"/>
                <a:gd name="connsiteX1" fmla="*/ 10165 w 12492"/>
                <a:gd name="connsiteY1" fmla="*/ 538 h 6246"/>
                <a:gd name="connsiteX2" fmla="*/ 13226 w 12492"/>
                <a:gd name="connsiteY2" fmla="*/ 1163 h 6246"/>
                <a:gd name="connsiteX3" fmla="*/ 14475 w 12492"/>
                <a:gd name="connsiteY3" fmla="*/ 9033 h 6246"/>
                <a:gd name="connsiteX4" fmla="*/ 9666 w 12492"/>
                <a:gd name="connsiteY4" fmla="*/ 10094 h 6246"/>
                <a:gd name="connsiteX5" fmla="*/ 8104 w 12492"/>
                <a:gd name="connsiteY5" fmla="*/ 9970 h 6246"/>
                <a:gd name="connsiteX6" fmla="*/ 4544 w 12492"/>
                <a:gd name="connsiteY6" fmla="*/ 8595 h 6246"/>
                <a:gd name="connsiteX7" fmla="*/ 4544 w 12492"/>
                <a:gd name="connsiteY7" fmla="*/ 6659 h 6246"/>
                <a:gd name="connsiteX8" fmla="*/ 2420 w 12492"/>
                <a:gd name="connsiteY8" fmla="*/ 6659 h 6246"/>
                <a:gd name="connsiteX9" fmla="*/ 2358 w 12492"/>
                <a:gd name="connsiteY9" fmla="*/ 9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2358" y="913"/>
                  </a:moveTo>
                  <a:cubicBezTo>
                    <a:pt x="4981" y="1850"/>
                    <a:pt x="7605" y="3786"/>
                    <a:pt x="10165" y="538"/>
                  </a:cubicBezTo>
                  <a:cubicBezTo>
                    <a:pt x="10915" y="-461"/>
                    <a:pt x="12414" y="38"/>
                    <a:pt x="13226" y="1163"/>
                  </a:cubicBezTo>
                  <a:cubicBezTo>
                    <a:pt x="14225" y="3723"/>
                    <a:pt x="12164" y="6659"/>
                    <a:pt x="14475" y="9033"/>
                  </a:cubicBezTo>
                  <a:cubicBezTo>
                    <a:pt x="13351" y="11031"/>
                    <a:pt x="11477" y="10407"/>
                    <a:pt x="9666" y="10094"/>
                  </a:cubicBezTo>
                  <a:cubicBezTo>
                    <a:pt x="9166" y="10032"/>
                    <a:pt x="8604" y="9970"/>
                    <a:pt x="8104" y="9970"/>
                  </a:cubicBezTo>
                  <a:cubicBezTo>
                    <a:pt x="6730" y="9845"/>
                    <a:pt x="5418" y="9657"/>
                    <a:pt x="4544" y="8595"/>
                  </a:cubicBezTo>
                  <a:cubicBezTo>
                    <a:pt x="4544" y="7971"/>
                    <a:pt x="4544" y="7346"/>
                    <a:pt x="4544" y="6659"/>
                  </a:cubicBezTo>
                  <a:cubicBezTo>
                    <a:pt x="3857" y="5597"/>
                    <a:pt x="3170" y="6035"/>
                    <a:pt x="2420" y="6659"/>
                  </a:cubicBezTo>
                  <a:cubicBezTo>
                    <a:pt x="-828" y="4785"/>
                    <a:pt x="-765" y="2849"/>
                    <a:pt x="2358" y="913"/>
                  </a:cubicBezTo>
                  <a:close/>
                </a:path>
              </a:pathLst>
            </a:custGeom>
            <a:grpFill/>
            <a:ln w="6246" cap="flat">
              <a:noFill/>
              <a:prstDash val="solid"/>
              <a:miter/>
            </a:ln>
          </p:spPr>
          <p:txBody>
            <a:bodyPr rtlCol="0" anchor="ctr"/>
            <a:lstStyle/>
            <a:p>
              <a:endParaRPr lang="fr-FR" sz="2400"/>
            </a:p>
          </p:txBody>
        </p:sp>
        <p:sp>
          <p:nvSpPr>
            <p:cNvPr id="590" name="Freeform: Shape 589">
              <a:extLst>
                <a:ext uri="{FF2B5EF4-FFF2-40B4-BE49-F238E27FC236}">
                  <a16:creationId xmlns:a16="http://schemas.microsoft.com/office/drawing/2014/main" id="{D8D31BB5-FB78-404F-930B-0397BA8D0E98}"/>
                </a:ext>
              </a:extLst>
            </p:cNvPr>
            <p:cNvSpPr/>
            <p:nvPr/>
          </p:nvSpPr>
          <p:spPr>
            <a:xfrm>
              <a:off x="1301402" y="445406"/>
              <a:ext cx="18738" cy="6246"/>
            </a:xfrm>
            <a:custGeom>
              <a:avLst/>
              <a:gdLst>
                <a:gd name="connsiteX0" fmla="*/ 59 w 18738"/>
                <a:gd name="connsiteY0" fmla="*/ 0 h 6246"/>
                <a:gd name="connsiteX1" fmla="*/ 11989 w 18738"/>
                <a:gd name="connsiteY1" fmla="*/ 1811 h 6246"/>
                <a:gd name="connsiteX2" fmla="*/ 20296 w 18738"/>
                <a:gd name="connsiteY2" fmla="*/ 9681 h 6246"/>
                <a:gd name="connsiteX3" fmla="*/ 11801 w 18738"/>
                <a:gd name="connsiteY3" fmla="*/ 7745 h 6246"/>
                <a:gd name="connsiteX4" fmla="*/ 3994 w 18738"/>
                <a:gd name="connsiteY4" fmla="*/ 3623 h 6246"/>
                <a:gd name="connsiteX5" fmla="*/ 59 w 18738"/>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59" y="0"/>
                  </a:moveTo>
                  <a:cubicBezTo>
                    <a:pt x="4056" y="625"/>
                    <a:pt x="8054" y="1249"/>
                    <a:pt x="11989" y="1811"/>
                  </a:cubicBezTo>
                  <a:cubicBezTo>
                    <a:pt x="16861" y="2498"/>
                    <a:pt x="20546" y="4185"/>
                    <a:pt x="20296" y="9681"/>
                  </a:cubicBezTo>
                  <a:cubicBezTo>
                    <a:pt x="17423" y="9057"/>
                    <a:pt x="14425" y="9244"/>
                    <a:pt x="11801" y="7745"/>
                  </a:cubicBezTo>
                  <a:cubicBezTo>
                    <a:pt x="10365" y="4560"/>
                    <a:pt x="6555" y="5059"/>
                    <a:pt x="3994" y="3623"/>
                  </a:cubicBezTo>
                  <a:cubicBezTo>
                    <a:pt x="2370" y="2748"/>
                    <a:pt x="-441" y="2873"/>
                    <a:pt x="59" y="0"/>
                  </a:cubicBezTo>
                  <a:close/>
                </a:path>
              </a:pathLst>
            </a:custGeom>
            <a:grpFill/>
            <a:ln w="6246" cap="flat">
              <a:noFill/>
              <a:prstDash val="solid"/>
              <a:miter/>
            </a:ln>
          </p:spPr>
          <p:txBody>
            <a:bodyPr rtlCol="0" anchor="ctr"/>
            <a:lstStyle/>
            <a:p>
              <a:endParaRPr lang="fr-FR" sz="2400"/>
            </a:p>
          </p:txBody>
        </p:sp>
        <p:sp>
          <p:nvSpPr>
            <p:cNvPr id="591" name="Freeform: Shape 590">
              <a:extLst>
                <a:ext uri="{FF2B5EF4-FFF2-40B4-BE49-F238E27FC236}">
                  <a16:creationId xmlns:a16="http://schemas.microsoft.com/office/drawing/2014/main" id="{9CE6FF0C-AA04-44F1-BE83-BB9345A6B0A3}"/>
                </a:ext>
              </a:extLst>
            </p:cNvPr>
            <p:cNvSpPr/>
            <p:nvPr/>
          </p:nvSpPr>
          <p:spPr>
            <a:xfrm>
              <a:off x="1277975" y="497218"/>
              <a:ext cx="12492" cy="6246"/>
            </a:xfrm>
            <a:custGeom>
              <a:avLst/>
              <a:gdLst>
                <a:gd name="connsiteX0" fmla="*/ 7433 w 12492"/>
                <a:gd name="connsiteY0" fmla="*/ 406 h 6246"/>
                <a:gd name="connsiteX1" fmla="*/ 11743 w 12492"/>
                <a:gd name="connsiteY1" fmla="*/ 406 h 6246"/>
                <a:gd name="connsiteX2" fmla="*/ 12867 w 12492"/>
                <a:gd name="connsiteY2" fmla="*/ 6527 h 6246"/>
                <a:gd name="connsiteX3" fmla="*/ 8495 w 12492"/>
                <a:gd name="connsiteY3" fmla="*/ 5215 h 6246"/>
                <a:gd name="connsiteX4" fmla="*/ 6308 w 12492"/>
                <a:gd name="connsiteY4" fmla="*/ 4590 h 6246"/>
                <a:gd name="connsiteX5" fmla="*/ 8245 w 12492"/>
                <a:gd name="connsiteY5" fmla="*/ 8213 h 6246"/>
                <a:gd name="connsiteX6" fmla="*/ 1062 w 12492"/>
                <a:gd name="connsiteY6" fmla="*/ 7151 h 6246"/>
                <a:gd name="connsiteX7" fmla="*/ 0 w 12492"/>
                <a:gd name="connsiteY7" fmla="*/ 6152 h 6246"/>
                <a:gd name="connsiteX8" fmla="*/ 3248 w 12492"/>
                <a:gd name="connsiteY8" fmla="*/ 343 h 6246"/>
                <a:gd name="connsiteX9" fmla="*/ 7433 w 12492"/>
                <a:gd name="connsiteY9" fmla="*/ 4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6246">
                  <a:moveTo>
                    <a:pt x="7433" y="406"/>
                  </a:moveTo>
                  <a:cubicBezTo>
                    <a:pt x="8869" y="406"/>
                    <a:pt x="10306" y="406"/>
                    <a:pt x="11743" y="406"/>
                  </a:cubicBezTo>
                  <a:cubicBezTo>
                    <a:pt x="12804" y="2342"/>
                    <a:pt x="15803" y="3966"/>
                    <a:pt x="12867" y="6527"/>
                  </a:cubicBezTo>
                  <a:cubicBezTo>
                    <a:pt x="11118" y="6901"/>
                    <a:pt x="9869" y="5965"/>
                    <a:pt x="8495" y="5215"/>
                  </a:cubicBezTo>
                  <a:cubicBezTo>
                    <a:pt x="7933" y="4528"/>
                    <a:pt x="6871" y="4028"/>
                    <a:pt x="6308" y="4590"/>
                  </a:cubicBezTo>
                  <a:cubicBezTo>
                    <a:pt x="4685" y="6402"/>
                    <a:pt x="7370" y="6714"/>
                    <a:pt x="8245" y="8213"/>
                  </a:cubicBezTo>
                  <a:cubicBezTo>
                    <a:pt x="5559" y="8338"/>
                    <a:pt x="3123" y="8963"/>
                    <a:pt x="1062" y="7151"/>
                  </a:cubicBezTo>
                  <a:cubicBezTo>
                    <a:pt x="687" y="6839"/>
                    <a:pt x="62" y="6777"/>
                    <a:pt x="0" y="6152"/>
                  </a:cubicBezTo>
                  <a:cubicBezTo>
                    <a:pt x="2686" y="4965"/>
                    <a:pt x="625" y="1592"/>
                    <a:pt x="3248" y="343"/>
                  </a:cubicBezTo>
                  <a:cubicBezTo>
                    <a:pt x="4622" y="343"/>
                    <a:pt x="5996" y="-469"/>
                    <a:pt x="7433" y="406"/>
                  </a:cubicBezTo>
                  <a:close/>
                </a:path>
              </a:pathLst>
            </a:custGeom>
            <a:grpFill/>
            <a:ln w="6246" cap="flat">
              <a:noFill/>
              <a:prstDash val="solid"/>
              <a:miter/>
            </a:ln>
          </p:spPr>
          <p:txBody>
            <a:bodyPr rtlCol="0" anchor="ctr"/>
            <a:lstStyle/>
            <a:p>
              <a:endParaRPr lang="fr-FR" sz="2400"/>
            </a:p>
          </p:txBody>
        </p:sp>
        <p:sp>
          <p:nvSpPr>
            <p:cNvPr id="592" name="Freeform: Shape 591">
              <a:extLst>
                <a:ext uri="{FF2B5EF4-FFF2-40B4-BE49-F238E27FC236}">
                  <a16:creationId xmlns:a16="http://schemas.microsoft.com/office/drawing/2014/main" id="{22703A6D-F497-4CC2-BC04-287AF2DDE336}"/>
                </a:ext>
              </a:extLst>
            </p:cNvPr>
            <p:cNvSpPr/>
            <p:nvPr/>
          </p:nvSpPr>
          <p:spPr>
            <a:xfrm>
              <a:off x="1253990" y="592350"/>
              <a:ext cx="24984" cy="6246"/>
            </a:xfrm>
            <a:custGeom>
              <a:avLst/>
              <a:gdLst>
                <a:gd name="connsiteX0" fmla="*/ 20737 w 24984"/>
                <a:gd name="connsiteY0" fmla="*/ 26 h 0"/>
                <a:gd name="connsiteX1" fmla="*/ 26109 w 24984"/>
                <a:gd name="connsiteY1" fmla="*/ 963 h 0"/>
                <a:gd name="connsiteX2" fmla="*/ 0 w 24984"/>
                <a:gd name="connsiteY2" fmla="*/ 5960 h 0"/>
                <a:gd name="connsiteX3" fmla="*/ 20737 w 24984"/>
                <a:gd name="connsiteY3" fmla="*/ 26 h 0"/>
              </a:gdLst>
              <a:ahLst/>
              <a:cxnLst>
                <a:cxn ang="0">
                  <a:pos x="connsiteX0" y="connsiteY0"/>
                </a:cxn>
                <a:cxn ang="0">
                  <a:pos x="connsiteX1" y="connsiteY1"/>
                </a:cxn>
                <a:cxn ang="0">
                  <a:pos x="connsiteX2" y="connsiteY2"/>
                </a:cxn>
                <a:cxn ang="0">
                  <a:pos x="connsiteX3" y="connsiteY3"/>
                </a:cxn>
              </a:cxnLst>
              <a:rect l="l" t="t" r="r" b="b"/>
              <a:pathLst>
                <a:path w="24984">
                  <a:moveTo>
                    <a:pt x="20737" y="26"/>
                  </a:moveTo>
                  <a:cubicBezTo>
                    <a:pt x="22548" y="213"/>
                    <a:pt x="24547" y="-536"/>
                    <a:pt x="26109" y="963"/>
                  </a:cubicBezTo>
                  <a:cubicBezTo>
                    <a:pt x="17676" y="3649"/>
                    <a:pt x="8869" y="4960"/>
                    <a:pt x="0" y="5960"/>
                  </a:cubicBezTo>
                  <a:cubicBezTo>
                    <a:pt x="6683" y="3461"/>
                    <a:pt x="13179" y="213"/>
                    <a:pt x="20737" y="26"/>
                  </a:cubicBezTo>
                  <a:close/>
                </a:path>
              </a:pathLst>
            </a:custGeom>
            <a:grpFill/>
            <a:ln w="6246" cap="flat">
              <a:noFill/>
              <a:prstDash val="solid"/>
              <a:miter/>
            </a:ln>
          </p:spPr>
          <p:txBody>
            <a:bodyPr rtlCol="0" anchor="ctr"/>
            <a:lstStyle/>
            <a:p>
              <a:endParaRPr lang="fr-FR" sz="2400"/>
            </a:p>
          </p:txBody>
        </p:sp>
        <p:sp>
          <p:nvSpPr>
            <p:cNvPr id="593" name="Freeform: Shape 592">
              <a:extLst>
                <a:ext uri="{FF2B5EF4-FFF2-40B4-BE49-F238E27FC236}">
                  <a16:creationId xmlns:a16="http://schemas.microsoft.com/office/drawing/2014/main" id="{45D0A60B-F9DD-4229-815E-791EB7EC10D1}"/>
                </a:ext>
              </a:extLst>
            </p:cNvPr>
            <p:cNvSpPr/>
            <p:nvPr/>
          </p:nvSpPr>
          <p:spPr>
            <a:xfrm>
              <a:off x="1304118" y="468756"/>
              <a:ext cx="24984" cy="6246"/>
            </a:xfrm>
            <a:custGeom>
              <a:avLst/>
              <a:gdLst>
                <a:gd name="connsiteX0" fmla="*/ 8023 w 24984"/>
                <a:gd name="connsiteY0" fmla="*/ 3758 h 0"/>
                <a:gd name="connsiteX1" fmla="*/ 528 w 24984"/>
                <a:gd name="connsiteY1" fmla="*/ 4695 h 0"/>
                <a:gd name="connsiteX2" fmla="*/ 3276 w 24984"/>
                <a:gd name="connsiteY2" fmla="*/ 1822 h 0"/>
                <a:gd name="connsiteX3" fmla="*/ 26199 w 24984"/>
                <a:gd name="connsiteY3" fmla="*/ 885 h 0"/>
                <a:gd name="connsiteX4" fmla="*/ 26199 w 24984"/>
                <a:gd name="connsiteY4" fmla="*/ 885 h 0"/>
                <a:gd name="connsiteX5" fmla="*/ 29884 w 24984"/>
                <a:gd name="connsiteY5" fmla="*/ 2571 h 0"/>
                <a:gd name="connsiteX6" fmla="*/ 29447 w 24984"/>
                <a:gd name="connsiteY6" fmla="*/ 3758 h 0"/>
                <a:gd name="connsiteX7" fmla="*/ 14331 w 24984"/>
                <a:gd name="connsiteY7" fmla="*/ 1760 h 0"/>
                <a:gd name="connsiteX8" fmla="*/ 8023 w 24984"/>
                <a:gd name="connsiteY8" fmla="*/ 375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8023" y="3758"/>
                  </a:moveTo>
                  <a:cubicBezTo>
                    <a:pt x="5462" y="3821"/>
                    <a:pt x="2901" y="3383"/>
                    <a:pt x="528" y="4695"/>
                  </a:cubicBezTo>
                  <a:cubicBezTo>
                    <a:pt x="-1159" y="1697"/>
                    <a:pt x="1589" y="2259"/>
                    <a:pt x="3276" y="1822"/>
                  </a:cubicBezTo>
                  <a:cubicBezTo>
                    <a:pt x="10834" y="-239"/>
                    <a:pt x="18454" y="-552"/>
                    <a:pt x="26199" y="885"/>
                  </a:cubicBezTo>
                  <a:lnTo>
                    <a:pt x="26199" y="885"/>
                  </a:lnTo>
                  <a:cubicBezTo>
                    <a:pt x="27448" y="1447"/>
                    <a:pt x="28697" y="1947"/>
                    <a:pt x="29884" y="2571"/>
                  </a:cubicBezTo>
                  <a:cubicBezTo>
                    <a:pt x="31446" y="3446"/>
                    <a:pt x="30321" y="3571"/>
                    <a:pt x="29447" y="3758"/>
                  </a:cubicBezTo>
                  <a:cubicBezTo>
                    <a:pt x="24388" y="3196"/>
                    <a:pt x="19578" y="1260"/>
                    <a:pt x="14331" y="1760"/>
                  </a:cubicBezTo>
                  <a:cubicBezTo>
                    <a:pt x="12020" y="2009"/>
                    <a:pt x="9709" y="1947"/>
                    <a:pt x="8023" y="3758"/>
                  </a:cubicBezTo>
                  <a:close/>
                </a:path>
              </a:pathLst>
            </a:custGeom>
            <a:grpFill/>
            <a:ln w="6246" cap="flat">
              <a:noFill/>
              <a:prstDash val="solid"/>
              <a:miter/>
            </a:ln>
          </p:spPr>
          <p:txBody>
            <a:bodyPr rtlCol="0" anchor="ctr"/>
            <a:lstStyle/>
            <a:p>
              <a:endParaRPr lang="fr-FR" sz="2400"/>
            </a:p>
          </p:txBody>
        </p:sp>
        <p:sp>
          <p:nvSpPr>
            <p:cNvPr id="594" name="Freeform: Shape 593">
              <a:extLst>
                <a:ext uri="{FF2B5EF4-FFF2-40B4-BE49-F238E27FC236}">
                  <a16:creationId xmlns:a16="http://schemas.microsoft.com/office/drawing/2014/main" id="{AEDB6D07-BF79-4336-85E8-B7677053640D}"/>
                </a:ext>
              </a:extLst>
            </p:cNvPr>
            <p:cNvSpPr/>
            <p:nvPr/>
          </p:nvSpPr>
          <p:spPr>
            <a:xfrm>
              <a:off x="1227587" y="456013"/>
              <a:ext cx="24984" cy="12492"/>
            </a:xfrm>
            <a:custGeom>
              <a:avLst/>
              <a:gdLst>
                <a:gd name="connsiteX0" fmla="*/ 11850 w 24984"/>
                <a:gd name="connsiteY0" fmla="*/ 9755 h 12492"/>
                <a:gd name="connsiteX1" fmla="*/ 9726 w 24984"/>
                <a:gd name="connsiteY1" fmla="*/ 11691 h 12492"/>
                <a:gd name="connsiteX2" fmla="*/ 1169 w 24984"/>
                <a:gd name="connsiteY2" fmla="*/ 15564 h 12492"/>
                <a:gd name="connsiteX3" fmla="*/ 107 w 24984"/>
                <a:gd name="connsiteY3" fmla="*/ 14565 h 12492"/>
                <a:gd name="connsiteX4" fmla="*/ 22406 w 24984"/>
                <a:gd name="connsiteY4" fmla="*/ 1573 h 12492"/>
                <a:gd name="connsiteX5" fmla="*/ 27965 w 24984"/>
                <a:gd name="connsiteY5" fmla="*/ 11 h 12492"/>
                <a:gd name="connsiteX6" fmla="*/ 28215 w 24984"/>
                <a:gd name="connsiteY6" fmla="*/ 1260 h 12492"/>
                <a:gd name="connsiteX7" fmla="*/ 26840 w 24984"/>
                <a:gd name="connsiteY7" fmla="*/ 2697 h 12492"/>
                <a:gd name="connsiteX8" fmla="*/ 20032 w 24984"/>
                <a:gd name="connsiteY8" fmla="*/ 6008 h 12492"/>
                <a:gd name="connsiteX9" fmla="*/ 11850 w 24984"/>
                <a:gd name="connsiteY9" fmla="*/ 9755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1850" y="9755"/>
                  </a:moveTo>
                  <a:cubicBezTo>
                    <a:pt x="11163" y="10380"/>
                    <a:pt x="10413" y="11067"/>
                    <a:pt x="9726" y="11691"/>
                  </a:cubicBezTo>
                  <a:cubicBezTo>
                    <a:pt x="6853" y="13003"/>
                    <a:pt x="4042" y="14252"/>
                    <a:pt x="1169" y="15564"/>
                  </a:cubicBezTo>
                  <a:cubicBezTo>
                    <a:pt x="170" y="15814"/>
                    <a:pt x="-205" y="15502"/>
                    <a:pt x="107" y="14565"/>
                  </a:cubicBezTo>
                  <a:cubicBezTo>
                    <a:pt x="7165" y="9755"/>
                    <a:pt x="14348" y="5071"/>
                    <a:pt x="22406" y="1573"/>
                  </a:cubicBezTo>
                  <a:cubicBezTo>
                    <a:pt x="24155" y="823"/>
                    <a:pt x="25841" y="-114"/>
                    <a:pt x="27965" y="11"/>
                  </a:cubicBezTo>
                  <a:cubicBezTo>
                    <a:pt x="28277" y="386"/>
                    <a:pt x="28339" y="823"/>
                    <a:pt x="28215" y="1260"/>
                  </a:cubicBezTo>
                  <a:cubicBezTo>
                    <a:pt x="27902" y="1885"/>
                    <a:pt x="27402" y="2322"/>
                    <a:pt x="26840" y="2697"/>
                  </a:cubicBezTo>
                  <a:cubicBezTo>
                    <a:pt x="24717" y="4009"/>
                    <a:pt x="22343" y="5008"/>
                    <a:pt x="20032" y="6008"/>
                  </a:cubicBezTo>
                  <a:cubicBezTo>
                    <a:pt x="17159" y="7132"/>
                    <a:pt x="14848" y="9006"/>
                    <a:pt x="11850" y="9755"/>
                  </a:cubicBezTo>
                  <a:close/>
                </a:path>
              </a:pathLst>
            </a:custGeom>
            <a:grpFill/>
            <a:ln w="6246" cap="flat">
              <a:noFill/>
              <a:prstDash val="solid"/>
              <a:miter/>
            </a:ln>
          </p:spPr>
          <p:txBody>
            <a:bodyPr rtlCol="0" anchor="ctr"/>
            <a:lstStyle/>
            <a:p>
              <a:endParaRPr lang="fr-FR" sz="2400"/>
            </a:p>
          </p:txBody>
        </p:sp>
        <p:sp>
          <p:nvSpPr>
            <p:cNvPr id="595" name="Freeform: Shape 594">
              <a:extLst>
                <a:ext uri="{FF2B5EF4-FFF2-40B4-BE49-F238E27FC236}">
                  <a16:creationId xmlns:a16="http://schemas.microsoft.com/office/drawing/2014/main" id="{B0BFD450-DF72-4FA3-93F7-ED85B6E957E1}"/>
                </a:ext>
              </a:extLst>
            </p:cNvPr>
            <p:cNvSpPr/>
            <p:nvPr/>
          </p:nvSpPr>
          <p:spPr>
            <a:xfrm>
              <a:off x="1193753" y="504244"/>
              <a:ext cx="6246" cy="18738"/>
            </a:xfrm>
            <a:custGeom>
              <a:avLst/>
              <a:gdLst>
                <a:gd name="connsiteX0" fmla="*/ 275 w 6246"/>
                <a:gd name="connsiteY0" fmla="*/ 20362 h 18738"/>
                <a:gd name="connsiteX1" fmla="*/ 9644 w 6246"/>
                <a:gd name="connsiteY1" fmla="*/ 0 h 18738"/>
                <a:gd name="connsiteX2" fmla="*/ 275 w 6246"/>
                <a:gd name="connsiteY2" fmla="*/ 20362 h 18738"/>
              </a:gdLst>
              <a:ahLst/>
              <a:cxnLst>
                <a:cxn ang="0">
                  <a:pos x="connsiteX0" y="connsiteY0"/>
                </a:cxn>
                <a:cxn ang="0">
                  <a:pos x="connsiteX1" y="connsiteY1"/>
                </a:cxn>
                <a:cxn ang="0">
                  <a:pos x="connsiteX2" y="connsiteY2"/>
                </a:cxn>
              </a:cxnLst>
              <a:rect l="l" t="t" r="r" b="b"/>
              <a:pathLst>
                <a:path w="6246" h="18738">
                  <a:moveTo>
                    <a:pt x="275" y="20362"/>
                  </a:moveTo>
                  <a:cubicBezTo>
                    <a:pt x="-1411" y="11805"/>
                    <a:pt x="5022" y="6246"/>
                    <a:pt x="9644" y="0"/>
                  </a:cubicBezTo>
                  <a:cubicBezTo>
                    <a:pt x="8395" y="7433"/>
                    <a:pt x="3273" y="13429"/>
                    <a:pt x="275" y="20362"/>
                  </a:cubicBezTo>
                  <a:close/>
                </a:path>
              </a:pathLst>
            </a:custGeom>
            <a:grpFill/>
            <a:ln w="6246" cap="flat">
              <a:noFill/>
              <a:prstDash val="solid"/>
              <a:miter/>
            </a:ln>
          </p:spPr>
          <p:txBody>
            <a:bodyPr rtlCol="0" anchor="ctr"/>
            <a:lstStyle/>
            <a:p>
              <a:endParaRPr lang="fr-FR" sz="2400"/>
            </a:p>
          </p:txBody>
        </p:sp>
        <p:sp>
          <p:nvSpPr>
            <p:cNvPr id="596" name="Freeform: Shape 595">
              <a:extLst>
                <a:ext uri="{FF2B5EF4-FFF2-40B4-BE49-F238E27FC236}">
                  <a16:creationId xmlns:a16="http://schemas.microsoft.com/office/drawing/2014/main" id="{5A909875-0FB8-426B-B3E5-FF1C433E1B8E}"/>
                </a:ext>
              </a:extLst>
            </p:cNvPr>
            <p:cNvSpPr/>
            <p:nvPr/>
          </p:nvSpPr>
          <p:spPr>
            <a:xfrm>
              <a:off x="1261800" y="496686"/>
              <a:ext cx="12492" cy="12492"/>
            </a:xfrm>
            <a:custGeom>
              <a:avLst/>
              <a:gdLst>
                <a:gd name="connsiteX0" fmla="*/ 2246 w 12492"/>
                <a:gd name="connsiteY0" fmla="*/ 13492 h 12492"/>
                <a:gd name="connsiteX1" fmla="*/ 122 w 12492"/>
                <a:gd name="connsiteY1" fmla="*/ 8682 h 12492"/>
                <a:gd name="connsiteX2" fmla="*/ 7930 w 12492"/>
                <a:gd name="connsiteY2" fmla="*/ 3748 h 12492"/>
                <a:gd name="connsiteX3" fmla="*/ 11865 w 12492"/>
                <a:gd name="connsiteY3" fmla="*/ 0 h 12492"/>
                <a:gd name="connsiteX4" fmla="*/ 11865 w 12492"/>
                <a:gd name="connsiteY4" fmla="*/ 937 h 12492"/>
                <a:gd name="connsiteX5" fmla="*/ 12927 w 12492"/>
                <a:gd name="connsiteY5" fmla="*/ 2873 h 12492"/>
                <a:gd name="connsiteX6" fmla="*/ 9741 w 12492"/>
                <a:gd name="connsiteY6" fmla="*/ 10618 h 12492"/>
                <a:gd name="connsiteX7" fmla="*/ 2246 w 12492"/>
                <a:gd name="connsiteY7" fmla="*/ 1349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12492">
                  <a:moveTo>
                    <a:pt x="2246" y="13492"/>
                  </a:moveTo>
                  <a:cubicBezTo>
                    <a:pt x="3995" y="10993"/>
                    <a:pt x="-815" y="10868"/>
                    <a:pt x="122" y="8682"/>
                  </a:cubicBezTo>
                  <a:cubicBezTo>
                    <a:pt x="4307" y="9182"/>
                    <a:pt x="5307" y="5372"/>
                    <a:pt x="7930" y="3748"/>
                  </a:cubicBezTo>
                  <a:cubicBezTo>
                    <a:pt x="9491" y="2811"/>
                    <a:pt x="10553" y="1249"/>
                    <a:pt x="11865" y="0"/>
                  </a:cubicBezTo>
                  <a:cubicBezTo>
                    <a:pt x="11865" y="312"/>
                    <a:pt x="11865" y="625"/>
                    <a:pt x="11865" y="937"/>
                  </a:cubicBezTo>
                  <a:cubicBezTo>
                    <a:pt x="12677" y="1374"/>
                    <a:pt x="13551" y="1811"/>
                    <a:pt x="12927" y="2873"/>
                  </a:cubicBezTo>
                  <a:cubicBezTo>
                    <a:pt x="8367" y="4310"/>
                    <a:pt x="8742" y="7308"/>
                    <a:pt x="9741" y="10618"/>
                  </a:cubicBezTo>
                  <a:cubicBezTo>
                    <a:pt x="8305" y="13866"/>
                    <a:pt x="5182" y="13554"/>
                    <a:pt x="2246" y="13492"/>
                  </a:cubicBezTo>
                  <a:close/>
                </a:path>
              </a:pathLst>
            </a:custGeom>
            <a:grpFill/>
            <a:ln w="6246" cap="flat">
              <a:noFill/>
              <a:prstDash val="solid"/>
              <a:miter/>
            </a:ln>
          </p:spPr>
          <p:txBody>
            <a:bodyPr rtlCol="0" anchor="ctr"/>
            <a:lstStyle/>
            <a:p>
              <a:endParaRPr lang="fr-FR" sz="2400"/>
            </a:p>
          </p:txBody>
        </p:sp>
        <p:sp>
          <p:nvSpPr>
            <p:cNvPr id="597" name="Freeform: Shape 596">
              <a:extLst>
                <a:ext uri="{FF2B5EF4-FFF2-40B4-BE49-F238E27FC236}">
                  <a16:creationId xmlns:a16="http://schemas.microsoft.com/office/drawing/2014/main" id="{C8D26435-BEB1-4902-847B-ED10D360EB5A}"/>
                </a:ext>
              </a:extLst>
            </p:cNvPr>
            <p:cNvSpPr/>
            <p:nvPr/>
          </p:nvSpPr>
          <p:spPr>
            <a:xfrm>
              <a:off x="1223287" y="604805"/>
              <a:ext cx="31230" cy="6246"/>
            </a:xfrm>
            <a:custGeom>
              <a:avLst/>
              <a:gdLst>
                <a:gd name="connsiteX0" fmla="*/ 1159 w 31230"/>
                <a:gd name="connsiteY0" fmla="*/ 126 h 6246"/>
                <a:gd name="connsiteX1" fmla="*/ 35388 w 31230"/>
                <a:gd name="connsiteY1" fmla="*/ 5935 h 6246"/>
                <a:gd name="connsiteX2" fmla="*/ 23520 w 31230"/>
                <a:gd name="connsiteY2" fmla="*/ 6684 h 6246"/>
                <a:gd name="connsiteX3" fmla="*/ 98 w 31230"/>
                <a:gd name="connsiteY3" fmla="*/ 1125 h 6246"/>
                <a:gd name="connsiteX4" fmla="*/ 1159 w 31230"/>
                <a:gd name="connsiteY4" fmla="*/ 126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0" h="6246">
                  <a:moveTo>
                    <a:pt x="1159" y="126"/>
                  </a:moveTo>
                  <a:cubicBezTo>
                    <a:pt x="11965" y="4810"/>
                    <a:pt x="23770" y="4873"/>
                    <a:pt x="35388" y="5935"/>
                  </a:cubicBezTo>
                  <a:cubicBezTo>
                    <a:pt x="31703" y="9058"/>
                    <a:pt x="27268" y="6934"/>
                    <a:pt x="23520" y="6684"/>
                  </a:cubicBezTo>
                  <a:cubicBezTo>
                    <a:pt x="15463" y="6060"/>
                    <a:pt x="7405" y="4686"/>
                    <a:pt x="98" y="1125"/>
                  </a:cubicBezTo>
                  <a:cubicBezTo>
                    <a:pt x="-152" y="251"/>
                    <a:pt x="35" y="-249"/>
                    <a:pt x="1159" y="126"/>
                  </a:cubicBezTo>
                  <a:close/>
                </a:path>
              </a:pathLst>
            </a:custGeom>
            <a:grpFill/>
            <a:ln w="6246" cap="flat">
              <a:noFill/>
              <a:prstDash val="solid"/>
              <a:miter/>
            </a:ln>
          </p:spPr>
          <p:txBody>
            <a:bodyPr rtlCol="0" anchor="ctr"/>
            <a:lstStyle/>
            <a:p>
              <a:endParaRPr lang="fr-FR" sz="2400"/>
            </a:p>
          </p:txBody>
        </p:sp>
        <p:sp>
          <p:nvSpPr>
            <p:cNvPr id="598" name="Freeform: Shape 597">
              <a:extLst>
                <a:ext uri="{FF2B5EF4-FFF2-40B4-BE49-F238E27FC236}">
                  <a16:creationId xmlns:a16="http://schemas.microsoft.com/office/drawing/2014/main" id="{FDCD3978-6196-4DB4-8D22-A3A9F1500198}"/>
                </a:ext>
              </a:extLst>
            </p:cNvPr>
            <p:cNvSpPr/>
            <p:nvPr/>
          </p:nvSpPr>
          <p:spPr>
            <a:xfrm>
              <a:off x="1263890" y="596787"/>
              <a:ext cx="12492" cy="6246"/>
            </a:xfrm>
            <a:custGeom>
              <a:avLst/>
              <a:gdLst>
                <a:gd name="connsiteX0" fmla="*/ 17270 w 12492"/>
                <a:gd name="connsiteY0" fmla="*/ 1398 h 0"/>
                <a:gd name="connsiteX1" fmla="*/ 1218 w 12492"/>
                <a:gd name="connsiteY1" fmla="*/ 6207 h 0"/>
                <a:gd name="connsiteX2" fmla="*/ 2155 w 12492"/>
                <a:gd name="connsiteY2" fmla="*/ 2522 h 0"/>
                <a:gd name="connsiteX3" fmla="*/ 11899 w 12492"/>
                <a:gd name="connsiteY3" fmla="*/ 398 h 0"/>
                <a:gd name="connsiteX4" fmla="*/ 17270 w 12492"/>
                <a:gd name="connsiteY4" fmla="*/ 13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270" y="1398"/>
                  </a:moveTo>
                  <a:cubicBezTo>
                    <a:pt x="12398" y="4271"/>
                    <a:pt x="6902" y="5520"/>
                    <a:pt x="1218" y="6207"/>
                  </a:cubicBezTo>
                  <a:cubicBezTo>
                    <a:pt x="-94" y="4646"/>
                    <a:pt x="-1031" y="3147"/>
                    <a:pt x="2155" y="2522"/>
                  </a:cubicBezTo>
                  <a:cubicBezTo>
                    <a:pt x="5403" y="1835"/>
                    <a:pt x="8651" y="1148"/>
                    <a:pt x="11899" y="398"/>
                  </a:cubicBezTo>
                  <a:cubicBezTo>
                    <a:pt x="13585" y="1086"/>
                    <a:pt x="16021" y="-1475"/>
                    <a:pt x="17270" y="1398"/>
                  </a:cubicBezTo>
                  <a:close/>
                </a:path>
              </a:pathLst>
            </a:custGeom>
            <a:grpFill/>
            <a:ln w="6246" cap="flat">
              <a:noFill/>
              <a:prstDash val="solid"/>
              <a:miter/>
            </a:ln>
          </p:spPr>
          <p:txBody>
            <a:bodyPr rtlCol="0" anchor="ctr"/>
            <a:lstStyle/>
            <a:p>
              <a:endParaRPr lang="fr-FR" sz="2400"/>
            </a:p>
          </p:txBody>
        </p:sp>
        <p:sp>
          <p:nvSpPr>
            <p:cNvPr id="599" name="Freeform: Shape 598">
              <a:extLst>
                <a:ext uri="{FF2B5EF4-FFF2-40B4-BE49-F238E27FC236}">
                  <a16:creationId xmlns:a16="http://schemas.microsoft.com/office/drawing/2014/main" id="{B4AC98FD-7AEC-4F0D-AF95-560459FC7190}"/>
                </a:ext>
              </a:extLst>
            </p:cNvPr>
            <p:cNvSpPr/>
            <p:nvPr/>
          </p:nvSpPr>
          <p:spPr>
            <a:xfrm>
              <a:off x="1292466" y="445406"/>
              <a:ext cx="18738" cy="6246"/>
            </a:xfrm>
            <a:custGeom>
              <a:avLst/>
              <a:gdLst>
                <a:gd name="connsiteX0" fmla="*/ 8994 w 18738"/>
                <a:gd name="connsiteY0" fmla="*/ 0 h 6246"/>
                <a:gd name="connsiteX1" fmla="*/ 21112 w 18738"/>
                <a:gd name="connsiteY1" fmla="*/ 5059 h 6246"/>
                <a:gd name="connsiteX2" fmla="*/ 22985 w 18738"/>
                <a:gd name="connsiteY2" fmla="*/ 6746 h 6246"/>
                <a:gd name="connsiteX3" fmla="*/ 20800 w 18738"/>
                <a:gd name="connsiteY3" fmla="*/ 7683 h 6246"/>
                <a:gd name="connsiteX4" fmla="*/ 20800 w 18738"/>
                <a:gd name="connsiteY4" fmla="*/ 7683 h 6246"/>
                <a:gd name="connsiteX5" fmla="*/ 13304 w 18738"/>
                <a:gd name="connsiteY5" fmla="*/ 4809 h 6246"/>
                <a:gd name="connsiteX6" fmla="*/ 11181 w 18738"/>
                <a:gd name="connsiteY6" fmla="*/ 4809 h 6246"/>
                <a:gd name="connsiteX7" fmla="*/ 0 w 18738"/>
                <a:gd name="connsiteY7" fmla="*/ 1686 h 6246"/>
                <a:gd name="connsiteX8" fmla="*/ 6933 w 18738"/>
                <a:gd name="connsiteY8" fmla="*/ 0 h 6246"/>
                <a:gd name="connsiteX9" fmla="*/ 8994 w 18738"/>
                <a:gd name="connsiteY9"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738" h="6246">
                  <a:moveTo>
                    <a:pt x="8994" y="0"/>
                  </a:moveTo>
                  <a:cubicBezTo>
                    <a:pt x="12305" y="3123"/>
                    <a:pt x="17114" y="3248"/>
                    <a:pt x="21112" y="5059"/>
                  </a:cubicBezTo>
                  <a:cubicBezTo>
                    <a:pt x="21924" y="5434"/>
                    <a:pt x="23485" y="5497"/>
                    <a:pt x="22985" y="6746"/>
                  </a:cubicBezTo>
                  <a:cubicBezTo>
                    <a:pt x="22798" y="7245"/>
                    <a:pt x="21549" y="7370"/>
                    <a:pt x="20800" y="7683"/>
                  </a:cubicBezTo>
                  <a:lnTo>
                    <a:pt x="20800" y="7683"/>
                  </a:lnTo>
                  <a:cubicBezTo>
                    <a:pt x="18676" y="5934"/>
                    <a:pt x="15803" y="5809"/>
                    <a:pt x="13304" y="4809"/>
                  </a:cubicBezTo>
                  <a:cubicBezTo>
                    <a:pt x="12617" y="4809"/>
                    <a:pt x="11868" y="4809"/>
                    <a:pt x="11181" y="4809"/>
                  </a:cubicBezTo>
                  <a:cubicBezTo>
                    <a:pt x="8432" y="2311"/>
                    <a:pt x="4809" y="1811"/>
                    <a:pt x="0" y="1686"/>
                  </a:cubicBezTo>
                  <a:cubicBezTo>
                    <a:pt x="2811" y="-625"/>
                    <a:pt x="4997" y="250"/>
                    <a:pt x="6933" y="0"/>
                  </a:cubicBezTo>
                  <a:cubicBezTo>
                    <a:pt x="7558" y="0"/>
                    <a:pt x="8307" y="0"/>
                    <a:pt x="8994" y="0"/>
                  </a:cubicBezTo>
                  <a:close/>
                </a:path>
              </a:pathLst>
            </a:custGeom>
            <a:grpFill/>
            <a:ln w="6246" cap="flat">
              <a:noFill/>
              <a:prstDash val="solid"/>
              <a:miter/>
            </a:ln>
          </p:spPr>
          <p:txBody>
            <a:bodyPr rtlCol="0" anchor="ctr"/>
            <a:lstStyle/>
            <a:p>
              <a:endParaRPr lang="fr-FR" sz="2400"/>
            </a:p>
          </p:txBody>
        </p:sp>
        <p:sp>
          <p:nvSpPr>
            <p:cNvPr id="600" name="Freeform: Shape 599">
              <a:extLst>
                <a:ext uri="{FF2B5EF4-FFF2-40B4-BE49-F238E27FC236}">
                  <a16:creationId xmlns:a16="http://schemas.microsoft.com/office/drawing/2014/main" id="{EECD88FA-EC41-4792-86F9-F3786B7E8B10}"/>
                </a:ext>
              </a:extLst>
            </p:cNvPr>
            <p:cNvSpPr/>
            <p:nvPr/>
          </p:nvSpPr>
          <p:spPr>
            <a:xfrm>
              <a:off x="1237244" y="450215"/>
              <a:ext cx="18738" cy="6246"/>
            </a:xfrm>
            <a:custGeom>
              <a:avLst/>
              <a:gdLst>
                <a:gd name="connsiteX0" fmla="*/ 7 w 18738"/>
                <a:gd name="connsiteY0" fmla="*/ 10681 h 6246"/>
                <a:gd name="connsiteX1" fmla="*/ 2131 w 18738"/>
                <a:gd name="connsiteY1" fmla="*/ 7745 h 6246"/>
                <a:gd name="connsiteX2" fmla="*/ 19245 w 18738"/>
                <a:gd name="connsiteY2" fmla="*/ 0 h 6246"/>
                <a:gd name="connsiteX3" fmla="*/ 12687 w 18738"/>
                <a:gd name="connsiteY3" fmla="*/ 4997 h 6246"/>
                <a:gd name="connsiteX4" fmla="*/ 7 w 18738"/>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7" y="10681"/>
                  </a:moveTo>
                  <a:cubicBezTo>
                    <a:pt x="-118" y="9244"/>
                    <a:pt x="1444" y="8745"/>
                    <a:pt x="2131" y="7745"/>
                  </a:cubicBezTo>
                  <a:cubicBezTo>
                    <a:pt x="8002" y="5434"/>
                    <a:pt x="12999" y="1562"/>
                    <a:pt x="19245" y="0"/>
                  </a:cubicBezTo>
                  <a:cubicBezTo>
                    <a:pt x="18808" y="3560"/>
                    <a:pt x="15247" y="3748"/>
                    <a:pt x="12687" y="4997"/>
                  </a:cubicBezTo>
                  <a:cubicBezTo>
                    <a:pt x="8564" y="6996"/>
                    <a:pt x="4254" y="8807"/>
                    <a:pt x="7" y="10681"/>
                  </a:cubicBezTo>
                  <a:close/>
                </a:path>
              </a:pathLst>
            </a:custGeom>
            <a:grpFill/>
            <a:ln w="6246" cap="flat">
              <a:noFill/>
              <a:prstDash val="solid"/>
              <a:miter/>
            </a:ln>
          </p:spPr>
          <p:txBody>
            <a:bodyPr rtlCol="0" anchor="ctr"/>
            <a:lstStyle/>
            <a:p>
              <a:endParaRPr lang="fr-FR" sz="2400"/>
            </a:p>
          </p:txBody>
        </p:sp>
        <p:sp>
          <p:nvSpPr>
            <p:cNvPr id="601" name="Freeform: Shape 600">
              <a:extLst>
                <a:ext uri="{FF2B5EF4-FFF2-40B4-BE49-F238E27FC236}">
                  <a16:creationId xmlns:a16="http://schemas.microsoft.com/office/drawing/2014/main" id="{8083701E-F1AD-4816-859D-5F3675C89D61}"/>
                </a:ext>
              </a:extLst>
            </p:cNvPr>
            <p:cNvSpPr/>
            <p:nvPr/>
          </p:nvSpPr>
          <p:spPr>
            <a:xfrm>
              <a:off x="1268817" y="461833"/>
              <a:ext cx="12492" cy="12492"/>
            </a:xfrm>
            <a:custGeom>
              <a:avLst/>
              <a:gdLst>
                <a:gd name="connsiteX0" fmla="*/ 15529 w 12492"/>
                <a:gd name="connsiteY0" fmla="*/ 2936 h 12492"/>
                <a:gd name="connsiteX1" fmla="*/ 12343 w 12492"/>
                <a:gd name="connsiteY1" fmla="*/ 4872 h 12492"/>
                <a:gd name="connsiteX2" fmla="*/ 163 w 12492"/>
                <a:gd name="connsiteY2" fmla="*/ 12867 h 12492"/>
                <a:gd name="connsiteX3" fmla="*/ 1662 w 12492"/>
                <a:gd name="connsiteY3" fmla="*/ 9681 h 12492"/>
                <a:gd name="connsiteX4" fmla="*/ 16653 w 12492"/>
                <a:gd name="connsiteY4" fmla="*/ 0 h 12492"/>
                <a:gd name="connsiteX5" fmla="*/ 15529 w 12492"/>
                <a:gd name="connsiteY5" fmla="*/ 2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5529" y="2936"/>
                  </a:moveTo>
                  <a:cubicBezTo>
                    <a:pt x="14467" y="3560"/>
                    <a:pt x="13405" y="4247"/>
                    <a:pt x="12343" y="4872"/>
                  </a:cubicBezTo>
                  <a:cubicBezTo>
                    <a:pt x="8283" y="7495"/>
                    <a:pt x="4286" y="10181"/>
                    <a:pt x="163" y="12867"/>
                  </a:cubicBezTo>
                  <a:cubicBezTo>
                    <a:pt x="-586" y="11305"/>
                    <a:pt x="1475" y="10868"/>
                    <a:pt x="1662" y="9681"/>
                  </a:cubicBezTo>
                  <a:cubicBezTo>
                    <a:pt x="6285" y="5996"/>
                    <a:pt x="10782" y="2124"/>
                    <a:pt x="16653" y="0"/>
                  </a:cubicBezTo>
                  <a:cubicBezTo>
                    <a:pt x="17902" y="1499"/>
                    <a:pt x="15529" y="1874"/>
                    <a:pt x="15529" y="2936"/>
                  </a:cubicBezTo>
                  <a:close/>
                </a:path>
              </a:pathLst>
            </a:custGeom>
            <a:grpFill/>
            <a:ln w="6246" cap="flat">
              <a:noFill/>
              <a:prstDash val="solid"/>
              <a:miter/>
            </a:ln>
          </p:spPr>
          <p:txBody>
            <a:bodyPr rtlCol="0" anchor="ctr"/>
            <a:lstStyle/>
            <a:p>
              <a:endParaRPr lang="fr-FR" sz="2400"/>
            </a:p>
          </p:txBody>
        </p:sp>
        <p:sp>
          <p:nvSpPr>
            <p:cNvPr id="602" name="Freeform: Shape 601">
              <a:extLst>
                <a:ext uri="{FF2B5EF4-FFF2-40B4-BE49-F238E27FC236}">
                  <a16:creationId xmlns:a16="http://schemas.microsoft.com/office/drawing/2014/main" id="{0230F4FB-05EE-44A9-A8D3-DD3E9FAA2B64}"/>
                </a:ext>
              </a:extLst>
            </p:cNvPr>
            <p:cNvSpPr/>
            <p:nvPr/>
          </p:nvSpPr>
          <p:spPr>
            <a:xfrm>
              <a:off x="1276663" y="472074"/>
              <a:ext cx="12492" cy="12492"/>
            </a:xfrm>
            <a:custGeom>
              <a:avLst/>
              <a:gdLst>
                <a:gd name="connsiteX0" fmla="*/ 11992 w 12492"/>
                <a:gd name="connsiteY0" fmla="*/ 440 h 12492"/>
                <a:gd name="connsiteX1" fmla="*/ 12055 w 12492"/>
                <a:gd name="connsiteY1" fmla="*/ 3688 h 12492"/>
                <a:gd name="connsiteX2" fmla="*/ 0 w 12492"/>
                <a:gd name="connsiteY2" fmla="*/ 14306 h 12492"/>
                <a:gd name="connsiteX3" fmla="*/ 9869 w 12492"/>
                <a:gd name="connsiteY3" fmla="*/ 1440 h 12492"/>
                <a:gd name="connsiteX4" fmla="*/ 11992 w 12492"/>
                <a:gd name="connsiteY4" fmla="*/ 44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1992" y="440"/>
                  </a:moveTo>
                  <a:cubicBezTo>
                    <a:pt x="15615" y="1440"/>
                    <a:pt x="13179" y="2876"/>
                    <a:pt x="12055" y="3688"/>
                  </a:cubicBezTo>
                  <a:cubicBezTo>
                    <a:pt x="7495" y="6749"/>
                    <a:pt x="3373" y="10184"/>
                    <a:pt x="0" y="14306"/>
                  </a:cubicBezTo>
                  <a:cubicBezTo>
                    <a:pt x="1811" y="9060"/>
                    <a:pt x="6246" y="5499"/>
                    <a:pt x="9869" y="1440"/>
                  </a:cubicBezTo>
                  <a:cubicBezTo>
                    <a:pt x="9744" y="-372"/>
                    <a:pt x="10743" y="-184"/>
                    <a:pt x="11992" y="440"/>
                  </a:cubicBezTo>
                  <a:close/>
                </a:path>
              </a:pathLst>
            </a:custGeom>
            <a:grpFill/>
            <a:ln w="6246" cap="flat">
              <a:noFill/>
              <a:prstDash val="solid"/>
              <a:miter/>
            </a:ln>
          </p:spPr>
          <p:txBody>
            <a:bodyPr rtlCol="0" anchor="ctr"/>
            <a:lstStyle/>
            <a:p>
              <a:endParaRPr lang="fr-FR" sz="2400"/>
            </a:p>
          </p:txBody>
        </p:sp>
        <p:sp>
          <p:nvSpPr>
            <p:cNvPr id="603" name="Freeform: Shape 602">
              <a:extLst>
                <a:ext uri="{FF2B5EF4-FFF2-40B4-BE49-F238E27FC236}">
                  <a16:creationId xmlns:a16="http://schemas.microsoft.com/office/drawing/2014/main" id="{094D82AD-D901-4880-B481-AE813FA1D013}"/>
                </a:ext>
              </a:extLst>
            </p:cNvPr>
            <p:cNvSpPr/>
            <p:nvPr/>
          </p:nvSpPr>
          <p:spPr>
            <a:xfrm>
              <a:off x="1196152" y="571951"/>
              <a:ext cx="12492" cy="12492"/>
            </a:xfrm>
            <a:custGeom>
              <a:avLst/>
              <a:gdLst>
                <a:gd name="connsiteX0" fmla="*/ 16802 w 12492"/>
                <a:gd name="connsiteY0" fmla="*/ 16864 h 12492"/>
                <a:gd name="connsiteX1" fmla="*/ 0 w 12492"/>
                <a:gd name="connsiteY1" fmla="*/ 0 h 12492"/>
                <a:gd name="connsiteX2" fmla="*/ 16802 w 12492"/>
                <a:gd name="connsiteY2" fmla="*/ 16864 h 12492"/>
              </a:gdLst>
              <a:ahLst/>
              <a:cxnLst>
                <a:cxn ang="0">
                  <a:pos x="connsiteX0" y="connsiteY0"/>
                </a:cxn>
                <a:cxn ang="0">
                  <a:pos x="connsiteX1" y="connsiteY1"/>
                </a:cxn>
                <a:cxn ang="0">
                  <a:pos x="connsiteX2" y="connsiteY2"/>
                </a:cxn>
              </a:cxnLst>
              <a:rect l="l" t="t" r="r" b="b"/>
              <a:pathLst>
                <a:path w="12492" h="12492">
                  <a:moveTo>
                    <a:pt x="16802" y="16864"/>
                  </a:moveTo>
                  <a:cubicBezTo>
                    <a:pt x="8307" y="13492"/>
                    <a:pt x="4185" y="6746"/>
                    <a:pt x="0" y="0"/>
                  </a:cubicBezTo>
                  <a:cubicBezTo>
                    <a:pt x="5184" y="5934"/>
                    <a:pt x="10181" y="12055"/>
                    <a:pt x="16802" y="16864"/>
                  </a:cubicBezTo>
                  <a:close/>
                </a:path>
              </a:pathLst>
            </a:custGeom>
            <a:grpFill/>
            <a:ln w="6246" cap="flat">
              <a:noFill/>
              <a:prstDash val="solid"/>
              <a:miter/>
            </a:ln>
          </p:spPr>
          <p:txBody>
            <a:bodyPr rtlCol="0" anchor="ctr"/>
            <a:lstStyle/>
            <a:p>
              <a:endParaRPr lang="fr-FR" sz="2400"/>
            </a:p>
          </p:txBody>
        </p:sp>
        <p:sp>
          <p:nvSpPr>
            <p:cNvPr id="604" name="Freeform: Shape 603">
              <a:extLst>
                <a:ext uri="{FF2B5EF4-FFF2-40B4-BE49-F238E27FC236}">
                  <a16:creationId xmlns:a16="http://schemas.microsoft.com/office/drawing/2014/main" id="{2C4341D4-C1B3-453A-A5CF-72AE9B259194}"/>
                </a:ext>
              </a:extLst>
            </p:cNvPr>
            <p:cNvSpPr/>
            <p:nvPr/>
          </p:nvSpPr>
          <p:spPr>
            <a:xfrm>
              <a:off x="1208741" y="499991"/>
              <a:ext cx="6246" cy="12492"/>
            </a:xfrm>
            <a:custGeom>
              <a:avLst/>
              <a:gdLst>
                <a:gd name="connsiteX0" fmla="*/ 10334 w 6246"/>
                <a:gd name="connsiteY0" fmla="*/ 568 h 12492"/>
                <a:gd name="connsiteX1" fmla="*/ 1777 w 6246"/>
                <a:gd name="connsiteY1" fmla="*/ 14122 h 12492"/>
                <a:gd name="connsiteX2" fmla="*/ 90 w 6246"/>
                <a:gd name="connsiteY2" fmla="*/ 12748 h 12492"/>
                <a:gd name="connsiteX3" fmla="*/ 9522 w 6246"/>
                <a:gd name="connsiteY3" fmla="*/ 6 h 12492"/>
                <a:gd name="connsiteX4" fmla="*/ 10334 w 6246"/>
                <a:gd name="connsiteY4" fmla="*/ 56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0334" y="568"/>
                  </a:moveTo>
                  <a:cubicBezTo>
                    <a:pt x="7461" y="5065"/>
                    <a:pt x="4650" y="9563"/>
                    <a:pt x="1777" y="14122"/>
                  </a:cubicBezTo>
                  <a:cubicBezTo>
                    <a:pt x="902" y="13935"/>
                    <a:pt x="-347" y="13747"/>
                    <a:pt x="90" y="12748"/>
                  </a:cubicBezTo>
                  <a:cubicBezTo>
                    <a:pt x="2276" y="7939"/>
                    <a:pt x="4525" y="3129"/>
                    <a:pt x="9522" y="6"/>
                  </a:cubicBezTo>
                  <a:cubicBezTo>
                    <a:pt x="9647" y="-56"/>
                    <a:pt x="10084" y="381"/>
                    <a:pt x="10334" y="568"/>
                  </a:cubicBezTo>
                  <a:close/>
                </a:path>
              </a:pathLst>
            </a:custGeom>
            <a:grpFill/>
            <a:ln w="6246" cap="flat">
              <a:noFill/>
              <a:prstDash val="solid"/>
              <a:miter/>
            </a:ln>
          </p:spPr>
          <p:txBody>
            <a:bodyPr rtlCol="0" anchor="ctr"/>
            <a:lstStyle/>
            <a:p>
              <a:endParaRPr lang="fr-FR" sz="2400"/>
            </a:p>
          </p:txBody>
        </p:sp>
        <p:sp>
          <p:nvSpPr>
            <p:cNvPr id="605" name="Freeform: Shape 604">
              <a:extLst>
                <a:ext uri="{FF2B5EF4-FFF2-40B4-BE49-F238E27FC236}">
                  <a16:creationId xmlns:a16="http://schemas.microsoft.com/office/drawing/2014/main" id="{30526D96-EB9C-4E5F-9E76-97651A05EA71}"/>
                </a:ext>
              </a:extLst>
            </p:cNvPr>
            <p:cNvSpPr/>
            <p:nvPr/>
          </p:nvSpPr>
          <p:spPr>
            <a:xfrm>
              <a:off x="1209018" y="595020"/>
              <a:ext cx="12492" cy="6246"/>
            </a:xfrm>
            <a:custGeom>
              <a:avLst/>
              <a:gdLst>
                <a:gd name="connsiteX0" fmla="*/ 15428 w 12492"/>
                <a:gd name="connsiteY0" fmla="*/ 9911 h 6246"/>
                <a:gd name="connsiteX1" fmla="*/ 14366 w 12492"/>
                <a:gd name="connsiteY1" fmla="*/ 10910 h 6246"/>
                <a:gd name="connsiteX2" fmla="*/ 7370 w 12492"/>
                <a:gd name="connsiteY2" fmla="*/ 8287 h 6246"/>
                <a:gd name="connsiteX3" fmla="*/ 0 w 12492"/>
                <a:gd name="connsiteY3" fmla="*/ 104 h 6246"/>
                <a:gd name="connsiteX4" fmla="*/ 4747 w 12492"/>
                <a:gd name="connsiteY4" fmla="*/ 2165 h 6246"/>
                <a:gd name="connsiteX5" fmla="*/ 5809 w 12492"/>
                <a:gd name="connsiteY5" fmla="*/ 3102 h 6246"/>
                <a:gd name="connsiteX6" fmla="*/ 10119 w 12492"/>
                <a:gd name="connsiteY6" fmla="*/ 5976 h 6246"/>
                <a:gd name="connsiteX7" fmla="*/ 15428 w 12492"/>
                <a:gd name="connsiteY7" fmla="*/ 99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5428" y="9911"/>
                  </a:moveTo>
                  <a:cubicBezTo>
                    <a:pt x="15053" y="10223"/>
                    <a:pt x="14741" y="10535"/>
                    <a:pt x="14366" y="10910"/>
                  </a:cubicBezTo>
                  <a:cubicBezTo>
                    <a:pt x="11930" y="10098"/>
                    <a:pt x="7745" y="9661"/>
                    <a:pt x="7370" y="8287"/>
                  </a:cubicBezTo>
                  <a:cubicBezTo>
                    <a:pt x="6246" y="4414"/>
                    <a:pt x="812" y="4039"/>
                    <a:pt x="0" y="104"/>
                  </a:cubicBezTo>
                  <a:cubicBezTo>
                    <a:pt x="2561" y="-520"/>
                    <a:pt x="3061" y="1853"/>
                    <a:pt x="4747" y="2165"/>
                  </a:cubicBezTo>
                  <a:cubicBezTo>
                    <a:pt x="5122" y="2478"/>
                    <a:pt x="5434" y="2790"/>
                    <a:pt x="5809" y="3102"/>
                  </a:cubicBezTo>
                  <a:cubicBezTo>
                    <a:pt x="7308" y="3977"/>
                    <a:pt x="8557" y="5164"/>
                    <a:pt x="10119" y="5976"/>
                  </a:cubicBezTo>
                  <a:cubicBezTo>
                    <a:pt x="11056" y="8287"/>
                    <a:pt x="14054" y="8162"/>
                    <a:pt x="15428" y="9911"/>
                  </a:cubicBezTo>
                  <a:close/>
                </a:path>
              </a:pathLst>
            </a:custGeom>
            <a:grpFill/>
            <a:ln w="6246" cap="flat">
              <a:noFill/>
              <a:prstDash val="solid"/>
              <a:miter/>
            </a:ln>
          </p:spPr>
          <p:txBody>
            <a:bodyPr rtlCol="0" anchor="ctr"/>
            <a:lstStyle/>
            <a:p>
              <a:endParaRPr lang="fr-FR" sz="2400"/>
            </a:p>
          </p:txBody>
        </p:sp>
        <p:sp>
          <p:nvSpPr>
            <p:cNvPr id="606" name="Freeform: Shape 605">
              <a:extLst>
                <a:ext uri="{FF2B5EF4-FFF2-40B4-BE49-F238E27FC236}">
                  <a16:creationId xmlns:a16="http://schemas.microsoft.com/office/drawing/2014/main" id="{063DA34B-FB57-472C-B754-5B76D2F59EB6}"/>
                </a:ext>
              </a:extLst>
            </p:cNvPr>
            <p:cNvSpPr/>
            <p:nvPr/>
          </p:nvSpPr>
          <p:spPr>
            <a:xfrm>
              <a:off x="1208394" y="479260"/>
              <a:ext cx="12492" cy="12492"/>
            </a:xfrm>
            <a:custGeom>
              <a:avLst/>
              <a:gdLst>
                <a:gd name="connsiteX0" fmla="*/ 18176 w 12492"/>
                <a:gd name="connsiteY0" fmla="*/ 0 h 12492"/>
                <a:gd name="connsiteX1" fmla="*/ 3185 w 12492"/>
                <a:gd name="connsiteY1" fmla="*/ 15490 h 12492"/>
                <a:gd name="connsiteX2" fmla="*/ 0 w 12492"/>
                <a:gd name="connsiteY2" fmla="*/ 17426 h 12492"/>
                <a:gd name="connsiteX3" fmla="*/ 0 w 12492"/>
                <a:gd name="connsiteY3" fmla="*/ 17426 h 12492"/>
                <a:gd name="connsiteX4" fmla="*/ 18176 w 12492"/>
                <a:gd name="connsiteY4" fmla="*/ 0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12492">
                  <a:moveTo>
                    <a:pt x="18176" y="0"/>
                  </a:moveTo>
                  <a:cubicBezTo>
                    <a:pt x="13367" y="5309"/>
                    <a:pt x="7433" y="9681"/>
                    <a:pt x="3185" y="15490"/>
                  </a:cubicBezTo>
                  <a:cubicBezTo>
                    <a:pt x="2124" y="16115"/>
                    <a:pt x="1062" y="16802"/>
                    <a:pt x="0" y="17426"/>
                  </a:cubicBezTo>
                  <a:lnTo>
                    <a:pt x="0" y="17426"/>
                  </a:lnTo>
                  <a:cubicBezTo>
                    <a:pt x="4310" y="10119"/>
                    <a:pt x="10493" y="4435"/>
                    <a:pt x="18176" y="0"/>
                  </a:cubicBezTo>
                  <a:close/>
                </a:path>
              </a:pathLst>
            </a:custGeom>
            <a:grpFill/>
            <a:ln w="6246" cap="flat">
              <a:noFill/>
              <a:prstDash val="solid"/>
              <a:miter/>
            </a:ln>
          </p:spPr>
          <p:txBody>
            <a:bodyPr rtlCol="0" anchor="ctr"/>
            <a:lstStyle/>
            <a:p>
              <a:endParaRPr lang="fr-FR" sz="2400"/>
            </a:p>
          </p:txBody>
        </p:sp>
        <p:sp>
          <p:nvSpPr>
            <p:cNvPr id="607" name="Freeform: Shape 606">
              <a:extLst>
                <a:ext uri="{FF2B5EF4-FFF2-40B4-BE49-F238E27FC236}">
                  <a16:creationId xmlns:a16="http://schemas.microsoft.com/office/drawing/2014/main" id="{5F25DD80-034C-4FC2-A05C-5481BF79651F}"/>
                </a:ext>
              </a:extLst>
            </p:cNvPr>
            <p:cNvSpPr/>
            <p:nvPr/>
          </p:nvSpPr>
          <p:spPr>
            <a:xfrm>
              <a:off x="1233003" y="569939"/>
              <a:ext cx="12492" cy="6246"/>
            </a:xfrm>
            <a:custGeom>
              <a:avLst/>
              <a:gdLst>
                <a:gd name="connsiteX0" fmla="*/ 12804 w 12492"/>
                <a:gd name="connsiteY0" fmla="*/ 7946 h 6246"/>
                <a:gd name="connsiteX1" fmla="*/ 2124 w 12492"/>
                <a:gd name="connsiteY1" fmla="*/ 4073 h 6246"/>
                <a:gd name="connsiteX2" fmla="*/ 0 w 12492"/>
                <a:gd name="connsiteY2" fmla="*/ 1200 h 6246"/>
                <a:gd name="connsiteX3" fmla="*/ 2186 w 12492"/>
                <a:gd name="connsiteY3" fmla="*/ 200 h 6246"/>
                <a:gd name="connsiteX4" fmla="*/ 5996 w 12492"/>
                <a:gd name="connsiteY4" fmla="*/ 1387 h 6246"/>
                <a:gd name="connsiteX5" fmla="*/ 10306 w 12492"/>
                <a:gd name="connsiteY5" fmla="*/ 3261 h 6246"/>
                <a:gd name="connsiteX6" fmla="*/ 12804 w 12492"/>
                <a:gd name="connsiteY6" fmla="*/ 794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12804" y="7946"/>
                  </a:moveTo>
                  <a:cubicBezTo>
                    <a:pt x="8932" y="7383"/>
                    <a:pt x="5559" y="5635"/>
                    <a:pt x="2124" y="4073"/>
                  </a:cubicBezTo>
                  <a:cubicBezTo>
                    <a:pt x="1437" y="3136"/>
                    <a:pt x="687" y="2137"/>
                    <a:pt x="0" y="1200"/>
                  </a:cubicBezTo>
                  <a:cubicBezTo>
                    <a:pt x="874" y="1137"/>
                    <a:pt x="1686" y="950"/>
                    <a:pt x="2186" y="200"/>
                  </a:cubicBezTo>
                  <a:cubicBezTo>
                    <a:pt x="3873" y="-487"/>
                    <a:pt x="4809" y="763"/>
                    <a:pt x="5996" y="1387"/>
                  </a:cubicBezTo>
                  <a:cubicBezTo>
                    <a:pt x="7121" y="2574"/>
                    <a:pt x="8744" y="2824"/>
                    <a:pt x="10306" y="3261"/>
                  </a:cubicBezTo>
                  <a:cubicBezTo>
                    <a:pt x="11555" y="4635"/>
                    <a:pt x="16115" y="4510"/>
                    <a:pt x="12804" y="7946"/>
                  </a:cubicBezTo>
                  <a:close/>
                </a:path>
              </a:pathLst>
            </a:custGeom>
            <a:grpFill/>
            <a:ln w="6246" cap="flat">
              <a:noFill/>
              <a:prstDash val="solid"/>
              <a:miter/>
            </a:ln>
          </p:spPr>
          <p:txBody>
            <a:bodyPr rtlCol="0" anchor="ctr"/>
            <a:lstStyle/>
            <a:p>
              <a:endParaRPr lang="fr-FR" sz="2400"/>
            </a:p>
          </p:txBody>
        </p:sp>
        <p:sp>
          <p:nvSpPr>
            <p:cNvPr id="608" name="Freeform: Shape 607">
              <a:extLst>
                <a:ext uri="{FF2B5EF4-FFF2-40B4-BE49-F238E27FC236}">
                  <a16:creationId xmlns:a16="http://schemas.microsoft.com/office/drawing/2014/main" id="{36D597F0-ECC1-4317-BFF0-6AE6A8FCBE45}"/>
                </a:ext>
              </a:extLst>
            </p:cNvPr>
            <p:cNvSpPr/>
            <p:nvPr/>
          </p:nvSpPr>
          <p:spPr>
            <a:xfrm>
              <a:off x="1208207" y="554400"/>
              <a:ext cx="6246" cy="12492"/>
            </a:xfrm>
            <a:custGeom>
              <a:avLst/>
              <a:gdLst>
                <a:gd name="connsiteX0" fmla="*/ 10244 w 6246"/>
                <a:gd name="connsiteY0" fmla="*/ 15553 h 12492"/>
                <a:gd name="connsiteX1" fmla="*/ 0 w 6246"/>
                <a:gd name="connsiteY1" fmla="*/ 0 h 12492"/>
                <a:gd name="connsiteX2" fmla="*/ 11493 w 6246"/>
                <a:gd name="connsiteY2" fmla="*/ 14866 h 12492"/>
                <a:gd name="connsiteX3" fmla="*/ 10244 w 6246"/>
                <a:gd name="connsiteY3" fmla="*/ 15553 h 12492"/>
              </a:gdLst>
              <a:ahLst/>
              <a:cxnLst>
                <a:cxn ang="0">
                  <a:pos x="connsiteX0" y="connsiteY0"/>
                </a:cxn>
                <a:cxn ang="0">
                  <a:pos x="connsiteX1" y="connsiteY1"/>
                </a:cxn>
                <a:cxn ang="0">
                  <a:pos x="connsiteX2" y="connsiteY2"/>
                </a:cxn>
                <a:cxn ang="0">
                  <a:pos x="connsiteX3" y="connsiteY3"/>
                </a:cxn>
              </a:cxnLst>
              <a:rect l="l" t="t" r="r" b="b"/>
              <a:pathLst>
                <a:path w="6246" h="12492">
                  <a:moveTo>
                    <a:pt x="10244" y="15553"/>
                  </a:moveTo>
                  <a:cubicBezTo>
                    <a:pt x="5809" y="10931"/>
                    <a:pt x="1686" y="6184"/>
                    <a:pt x="0" y="0"/>
                  </a:cubicBezTo>
                  <a:cubicBezTo>
                    <a:pt x="3810" y="4934"/>
                    <a:pt x="7683" y="9931"/>
                    <a:pt x="11493" y="14866"/>
                  </a:cubicBezTo>
                  <a:cubicBezTo>
                    <a:pt x="11055" y="15115"/>
                    <a:pt x="10618" y="15303"/>
                    <a:pt x="10244" y="15553"/>
                  </a:cubicBezTo>
                  <a:close/>
                </a:path>
              </a:pathLst>
            </a:custGeom>
            <a:grpFill/>
            <a:ln w="6246" cap="flat">
              <a:noFill/>
              <a:prstDash val="solid"/>
              <a:miter/>
            </a:ln>
          </p:spPr>
          <p:txBody>
            <a:bodyPr rtlCol="0" anchor="ctr"/>
            <a:lstStyle/>
            <a:p>
              <a:endParaRPr lang="fr-FR" sz="2400"/>
            </a:p>
          </p:txBody>
        </p:sp>
        <p:sp>
          <p:nvSpPr>
            <p:cNvPr id="609" name="Freeform: Shape 608">
              <a:extLst>
                <a:ext uri="{FF2B5EF4-FFF2-40B4-BE49-F238E27FC236}">
                  <a16:creationId xmlns:a16="http://schemas.microsoft.com/office/drawing/2014/main" id="{6E3D5256-9F5F-4DB1-AB63-8B73977CE8AF}"/>
                </a:ext>
              </a:extLst>
            </p:cNvPr>
            <p:cNvSpPr/>
            <p:nvPr/>
          </p:nvSpPr>
          <p:spPr>
            <a:xfrm>
              <a:off x="1278787" y="467642"/>
              <a:ext cx="12492" cy="6246"/>
            </a:xfrm>
            <a:custGeom>
              <a:avLst/>
              <a:gdLst>
                <a:gd name="connsiteX0" fmla="*/ 9869 w 12492"/>
                <a:gd name="connsiteY0" fmla="*/ 4872 h 6246"/>
                <a:gd name="connsiteX1" fmla="*/ 7745 w 12492"/>
                <a:gd name="connsiteY1" fmla="*/ 5809 h 6246"/>
                <a:gd name="connsiteX2" fmla="*/ 0 w 12492"/>
                <a:gd name="connsiteY2" fmla="*/ 8120 h 6246"/>
                <a:gd name="connsiteX3" fmla="*/ 14116 w 12492"/>
                <a:gd name="connsiteY3" fmla="*/ 0 h 6246"/>
                <a:gd name="connsiteX4" fmla="*/ 15178 w 12492"/>
                <a:gd name="connsiteY4" fmla="*/ 937 h 6246"/>
                <a:gd name="connsiteX5" fmla="*/ 9869 w 12492"/>
                <a:gd name="connsiteY5"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9869" y="4872"/>
                  </a:moveTo>
                  <a:cubicBezTo>
                    <a:pt x="8994" y="4934"/>
                    <a:pt x="8182" y="5122"/>
                    <a:pt x="7745" y="5809"/>
                  </a:cubicBezTo>
                  <a:cubicBezTo>
                    <a:pt x="4872" y="5684"/>
                    <a:pt x="3185" y="8620"/>
                    <a:pt x="0" y="8120"/>
                  </a:cubicBezTo>
                  <a:cubicBezTo>
                    <a:pt x="4435" y="4997"/>
                    <a:pt x="8932" y="1999"/>
                    <a:pt x="14116" y="0"/>
                  </a:cubicBezTo>
                  <a:cubicBezTo>
                    <a:pt x="14491" y="312"/>
                    <a:pt x="14803" y="625"/>
                    <a:pt x="15178" y="937"/>
                  </a:cubicBezTo>
                  <a:cubicBezTo>
                    <a:pt x="13429" y="2311"/>
                    <a:pt x="11055" y="2873"/>
                    <a:pt x="9869" y="4872"/>
                  </a:cubicBezTo>
                  <a:close/>
                </a:path>
              </a:pathLst>
            </a:custGeom>
            <a:grpFill/>
            <a:ln w="6246" cap="flat">
              <a:noFill/>
              <a:prstDash val="solid"/>
              <a:miter/>
            </a:ln>
          </p:spPr>
          <p:txBody>
            <a:bodyPr rtlCol="0" anchor="ctr"/>
            <a:lstStyle/>
            <a:p>
              <a:endParaRPr lang="fr-FR" sz="2400"/>
            </a:p>
          </p:txBody>
        </p:sp>
        <p:sp>
          <p:nvSpPr>
            <p:cNvPr id="610" name="Freeform: Shape 609">
              <a:extLst>
                <a:ext uri="{FF2B5EF4-FFF2-40B4-BE49-F238E27FC236}">
                  <a16:creationId xmlns:a16="http://schemas.microsoft.com/office/drawing/2014/main" id="{1EEF1640-7BBD-448E-A965-EA81894F7761}"/>
                </a:ext>
              </a:extLst>
            </p:cNvPr>
            <p:cNvSpPr/>
            <p:nvPr/>
          </p:nvSpPr>
          <p:spPr>
            <a:xfrm>
              <a:off x="1237438" y="593625"/>
              <a:ext cx="18738" cy="6246"/>
            </a:xfrm>
            <a:custGeom>
              <a:avLst/>
              <a:gdLst>
                <a:gd name="connsiteX0" fmla="*/ 0 w 18738"/>
                <a:gd name="connsiteY0" fmla="*/ 1062 h 0"/>
                <a:gd name="connsiteX1" fmla="*/ 21049 w 18738"/>
                <a:gd name="connsiteY1" fmla="*/ 0 h 0"/>
                <a:gd name="connsiteX2" fmla="*/ 0 w 18738"/>
                <a:gd name="connsiteY2" fmla="*/ 1062 h 0"/>
              </a:gdLst>
              <a:ahLst/>
              <a:cxnLst>
                <a:cxn ang="0">
                  <a:pos x="connsiteX0" y="connsiteY0"/>
                </a:cxn>
                <a:cxn ang="0">
                  <a:pos x="connsiteX1" y="connsiteY1"/>
                </a:cxn>
                <a:cxn ang="0">
                  <a:pos x="connsiteX2" y="connsiteY2"/>
                </a:cxn>
              </a:cxnLst>
              <a:rect l="l" t="t" r="r" b="b"/>
              <a:pathLst>
                <a:path w="18738">
                  <a:moveTo>
                    <a:pt x="0" y="1062"/>
                  </a:moveTo>
                  <a:cubicBezTo>
                    <a:pt x="7058" y="937"/>
                    <a:pt x="14116" y="1686"/>
                    <a:pt x="21049" y="0"/>
                  </a:cubicBezTo>
                  <a:cubicBezTo>
                    <a:pt x="14179" y="2561"/>
                    <a:pt x="7183" y="3748"/>
                    <a:pt x="0" y="1062"/>
                  </a:cubicBezTo>
                  <a:close/>
                </a:path>
              </a:pathLst>
            </a:custGeom>
            <a:grpFill/>
            <a:ln w="6246" cap="flat">
              <a:noFill/>
              <a:prstDash val="solid"/>
              <a:miter/>
            </a:ln>
          </p:spPr>
          <p:txBody>
            <a:bodyPr rtlCol="0" anchor="ctr"/>
            <a:lstStyle/>
            <a:p>
              <a:endParaRPr lang="fr-FR" sz="2400"/>
            </a:p>
          </p:txBody>
        </p:sp>
        <p:sp>
          <p:nvSpPr>
            <p:cNvPr id="611" name="Freeform: Shape 610">
              <a:extLst>
                <a:ext uri="{FF2B5EF4-FFF2-40B4-BE49-F238E27FC236}">
                  <a16:creationId xmlns:a16="http://schemas.microsoft.com/office/drawing/2014/main" id="{DF51226E-24B4-4D2C-9966-2B238BE8F63C}"/>
                </a:ext>
              </a:extLst>
            </p:cNvPr>
            <p:cNvSpPr/>
            <p:nvPr/>
          </p:nvSpPr>
          <p:spPr>
            <a:xfrm>
              <a:off x="1275789" y="593342"/>
              <a:ext cx="12492" cy="6246"/>
            </a:xfrm>
            <a:custGeom>
              <a:avLst/>
              <a:gdLst>
                <a:gd name="connsiteX0" fmla="*/ 5372 w 12492"/>
                <a:gd name="connsiteY0" fmla="*/ 4843 h 0"/>
                <a:gd name="connsiteX1" fmla="*/ 0 w 12492"/>
                <a:gd name="connsiteY1" fmla="*/ 3906 h 0"/>
                <a:gd name="connsiteX2" fmla="*/ 5372 w 12492"/>
                <a:gd name="connsiteY2" fmla="*/ 1033 h 0"/>
                <a:gd name="connsiteX3" fmla="*/ 16052 w 12492"/>
                <a:gd name="connsiteY3" fmla="*/ 96 h 0"/>
                <a:gd name="connsiteX4" fmla="*/ 9619 w 12492"/>
                <a:gd name="connsiteY4" fmla="*/ 2969 h 0"/>
                <a:gd name="connsiteX5" fmla="*/ 5372 w 12492"/>
                <a:gd name="connsiteY5" fmla="*/ 484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4843"/>
                  </a:moveTo>
                  <a:cubicBezTo>
                    <a:pt x="3873" y="3156"/>
                    <a:pt x="1499" y="5530"/>
                    <a:pt x="0" y="3906"/>
                  </a:cubicBezTo>
                  <a:cubicBezTo>
                    <a:pt x="1811" y="2969"/>
                    <a:pt x="3935" y="2532"/>
                    <a:pt x="5372" y="1033"/>
                  </a:cubicBezTo>
                  <a:cubicBezTo>
                    <a:pt x="8932" y="533"/>
                    <a:pt x="12430" y="-279"/>
                    <a:pt x="16052" y="96"/>
                  </a:cubicBezTo>
                  <a:cubicBezTo>
                    <a:pt x="15678" y="4218"/>
                    <a:pt x="11430" y="1407"/>
                    <a:pt x="9619" y="2969"/>
                  </a:cubicBezTo>
                  <a:cubicBezTo>
                    <a:pt x="8620" y="4343"/>
                    <a:pt x="5746" y="2344"/>
                    <a:pt x="5372" y="4843"/>
                  </a:cubicBezTo>
                  <a:close/>
                </a:path>
              </a:pathLst>
            </a:custGeom>
            <a:grpFill/>
            <a:ln w="6246" cap="flat">
              <a:noFill/>
              <a:prstDash val="solid"/>
              <a:miter/>
            </a:ln>
          </p:spPr>
          <p:txBody>
            <a:bodyPr rtlCol="0" anchor="ctr"/>
            <a:lstStyle/>
            <a:p>
              <a:endParaRPr lang="fr-FR" sz="2400"/>
            </a:p>
          </p:txBody>
        </p:sp>
        <p:sp>
          <p:nvSpPr>
            <p:cNvPr id="612" name="Freeform: Shape 611">
              <a:extLst>
                <a:ext uri="{FF2B5EF4-FFF2-40B4-BE49-F238E27FC236}">
                  <a16:creationId xmlns:a16="http://schemas.microsoft.com/office/drawing/2014/main" id="{2E88AF57-B9E5-483A-8DC4-DDFD816828C1}"/>
                </a:ext>
              </a:extLst>
            </p:cNvPr>
            <p:cNvSpPr/>
            <p:nvPr/>
          </p:nvSpPr>
          <p:spPr>
            <a:xfrm>
              <a:off x="1267232" y="581803"/>
              <a:ext cx="12492" cy="6246"/>
            </a:xfrm>
            <a:custGeom>
              <a:avLst/>
              <a:gdLst>
                <a:gd name="connsiteX0" fmla="*/ 5372 w 12492"/>
                <a:gd name="connsiteY0" fmla="*/ 3827 h 0"/>
                <a:gd name="connsiteX1" fmla="*/ 0 w 12492"/>
                <a:gd name="connsiteY1" fmla="*/ 954 h 0"/>
                <a:gd name="connsiteX2" fmla="*/ 3373 w 12492"/>
                <a:gd name="connsiteY2" fmla="*/ 17 h 0"/>
                <a:gd name="connsiteX3" fmla="*/ 18239 w 12492"/>
                <a:gd name="connsiteY3" fmla="*/ 2516 h 0"/>
                <a:gd name="connsiteX4" fmla="*/ 18239 w 12492"/>
                <a:gd name="connsiteY4" fmla="*/ 4764 h 0"/>
                <a:gd name="connsiteX5" fmla="*/ 5372 w 12492"/>
                <a:gd name="connsiteY5" fmla="*/ 382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5372" y="3827"/>
                  </a:moveTo>
                  <a:cubicBezTo>
                    <a:pt x="3935" y="2328"/>
                    <a:pt x="1249" y="2703"/>
                    <a:pt x="0" y="954"/>
                  </a:cubicBezTo>
                  <a:cubicBezTo>
                    <a:pt x="937" y="17"/>
                    <a:pt x="2124" y="-45"/>
                    <a:pt x="3373" y="17"/>
                  </a:cubicBezTo>
                  <a:cubicBezTo>
                    <a:pt x="8307" y="1017"/>
                    <a:pt x="13616" y="17"/>
                    <a:pt x="18239" y="2516"/>
                  </a:cubicBezTo>
                  <a:cubicBezTo>
                    <a:pt x="18801" y="3265"/>
                    <a:pt x="18863" y="4015"/>
                    <a:pt x="18239" y="4764"/>
                  </a:cubicBezTo>
                  <a:cubicBezTo>
                    <a:pt x="13866" y="5014"/>
                    <a:pt x="9744" y="3203"/>
                    <a:pt x="5372" y="3827"/>
                  </a:cubicBezTo>
                  <a:close/>
                </a:path>
              </a:pathLst>
            </a:custGeom>
            <a:grpFill/>
            <a:ln w="6246" cap="flat">
              <a:noFill/>
              <a:prstDash val="solid"/>
              <a:miter/>
            </a:ln>
          </p:spPr>
          <p:txBody>
            <a:bodyPr rtlCol="0" anchor="ctr"/>
            <a:lstStyle/>
            <a:p>
              <a:endParaRPr lang="fr-FR" sz="2400"/>
            </a:p>
          </p:txBody>
        </p:sp>
        <p:sp>
          <p:nvSpPr>
            <p:cNvPr id="613" name="Freeform: Shape 612">
              <a:extLst>
                <a:ext uri="{FF2B5EF4-FFF2-40B4-BE49-F238E27FC236}">
                  <a16:creationId xmlns:a16="http://schemas.microsoft.com/office/drawing/2014/main" id="{3F25414A-CC04-4A7B-8461-61EB1D39E324}"/>
                </a:ext>
              </a:extLst>
            </p:cNvPr>
            <p:cNvSpPr/>
            <p:nvPr/>
          </p:nvSpPr>
          <p:spPr>
            <a:xfrm>
              <a:off x="1219228" y="549840"/>
              <a:ext cx="6246" cy="6246"/>
            </a:xfrm>
            <a:custGeom>
              <a:avLst/>
              <a:gdLst>
                <a:gd name="connsiteX0" fmla="*/ 1971 w 0"/>
                <a:gd name="connsiteY0" fmla="*/ 0 h 6246"/>
                <a:gd name="connsiteX1" fmla="*/ 3033 w 0"/>
                <a:gd name="connsiteY1" fmla="*/ 9681 h 6246"/>
                <a:gd name="connsiteX2" fmla="*/ 1971 w 0"/>
                <a:gd name="connsiteY2" fmla="*/ 0 h 6246"/>
              </a:gdLst>
              <a:ahLst/>
              <a:cxnLst>
                <a:cxn ang="0">
                  <a:pos x="connsiteX0" y="connsiteY0"/>
                </a:cxn>
                <a:cxn ang="0">
                  <a:pos x="connsiteX1" y="connsiteY1"/>
                </a:cxn>
                <a:cxn ang="0">
                  <a:pos x="connsiteX2" y="connsiteY2"/>
                </a:cxn>
              </a:cxnLst>
              <a:rect l="l" t="t" r="r" b="b"/>
              <a:pathLst>
                <a:path h="6246">
                  <a:moveTo>
                    <a:pt x="1971" y="0"/>
                  </a:moveTo>
                  <a:cubicBezTo>
                    <a:pt x="5219" y="2936"/>
                    <a:pt x="5718" y="6184"/>
                    <a:pt x="3033" y="9681"/>
                  </a:cubicBezTo>
                  <a:cubicBezTo>
                    <a:pt x="2908" y="6433"/>
                    <a:pt x="-2964" y="3685"/>
                    <a:pt x="1971" y="0"/>
                  </a:cubicBezTo>
                  <a:close/>
                </a:path>
              </a:pathLst>
            </a:custGeom>
            <a:grpFill/>
            <a:ln w="6246" cap="flat">
              <a:noFill/>
              <a:prstDash val="solid"/>
              <a:miter/>
            </a:ln>
          </p:spPr>
          <p:txBody>
            <a:bodyPr rtlCol="0" anchor="ctr"/>
            <a:lstStyle/>
            <a:p>
              <a:endParaRPr lang="fr-FR" sz="2400"/>
            </a:p>
          </p:txBody>
        </p:sp>
        <p:sp>
          <p:nvSpPr>
            <p:cNvPr id="614" name="Freeform: Shape 613">
              <a:extLst>
                <a:ext uri="{FF2B5EF4-FFF2-40B4-BE49-F238E27FC236}">
                  <a16:creationId xmlns:a16="http://schemas.microsoft.com/office/drawing/2014/main" id="{F9360608-ED00-4F11-9DFB-0609C11FE99A}"/>
                </a:ext>
              </a:extLst>
            </p:cNvPr>
            <p:cNvSpPr/>
            <p:nvPr/>
          </p:nvSpPr>
          <p:spPr>
            <a:xfrm>
              <a:off x="1294921" y="452214"/>
              <a:ext cx="12492" cy="6246"/>
            </a:xfrm>
            <a:custGeom>
              <a:avLst/>
              <a:gdLst>
                <a:gd name="connsiteX0" fmla="*/ 8663 w 12492"/>
                <a:gd name="connsiteY0" fmla="*/ 0 h 0"/>
                <a:gd name="connsiteX1" fmla="*/ 14847 w 12492"/>
                <a:gd name="connsiteY1" fmla="*/ 3373 h 0"/>
                <a:gd name="connsiteX2" fmla="*/ 106 w 12492"/>
                <a:gd name="connsiteY2" fmla="*/ 3873 h 0"/>
                <a:gd name="connsiteX3" fmla="*/ 1543 w 12492"/>
                <a:gd name="connsiteY3" fmla="*/ 1936 h 0"/>
                <a:gd name="connsiteX4" fmla="*/ 8663 w 12492"/>
                <a:gd name="connsiteY4" fmla="*/ 0 h 0"/>
                <a:gd name="connsiteX5" fmla="*/ 8663 w 1249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8663" y="0"/>
                  </a:moveTo>
                  <a:cubicBezTo>
                    <a:pt x="11037" y="312"/>
                    <a:pt x="12536" y="1749"/>
                    <a:pt x="14847" y="3373"/>
                  </a:cubicBezTo>
                  <a:cubicBezTo>
                    <a:pt x="9475" y="4435"/>
                    <a:pt x="4791" y="4685"/>
                    <a:pt x="106" y="3873"/>
                  </a:cubicBezTo>
                  <a:cubicBezTo>
                    <a:pt x="-331" y="2686"/>
                    <a:pt x="668" y="2373"/>
                    <a:pt x="1543" y="1936"/>
                  </a:cubicBezTo>
                  <a:cubicBezTo>
                    <a:pt x="3854" y="937"/>
                    <a:pt x="6789" y="1999"/>
                    <a:pt x="8663" y="0"/>
                  </a:cubicBezTo>
                  <a:lnTo>
                    <a:pt x="8663" y="0"/>
                  </a:lnTo>
                  <a:close/>
                </a:path>
              </a:pathLst>
            </a:custGeom>
            <a:grpFill/>
            <a:ln w="6246" cap="flat">
              <a:noFill/>
              <a:prstDash val="solid"/>
              <a:miter/>
            </a:ln>
          </p:spPr>
          <p:txBody>
            <a:bodyPr rtlCol="0" anchor="ctr"/>
            <a:lstStyle/>
            <a:p>
              <a:endParaRPr lang="fr-FR" sz="2400"/>
            </a:p>
          </p:txBody>
        </p:sp>
        <p:sp>
          <p:nvSpPr>
            <p:cNvPr id="615" name="Freeform: Shape 614">
              <a:extLst>
                <a:ext uri="{FF2B5EF4-FFF2-40B4-BE49-F238E27FC236}">
                  <a16:creationId xmlns:a16="http://schemas.microsoft.com/office/drawing/2014/main" id="{935447F2-3DFB-40A6-A267-766429E89ED4}"/>
                </a:ext>
              </a:extLst>
            </p:cNvPr>
            <p:cNvSpPr/>
            <p:nvPr/>
          </p:nvSpPr>
          <p:spPr>
            <a:xfrm>
              <a:off x="1211979" y="487942"/>
              <a:ext cx="6246" cy="6246"/>
            </a:xfrm>
            <a:custGeom>
              <a:avLst/>
              <a:gdLst>
                <a:gd name="connsiteX0" fmla="*/ 9219 w 6246"/>
                <a:gd name="connsiteY0" fmla="*/ 0 h 6246"/>
                <a:gd name="connsiteX1" fmla="*/ 10281 w 6246"/>
                <a:gd name="connsiteY1" fmla="*/ 999 h 6246"/>
                <a:gd name="connsiteX2" fmla="*/ 1537 w 6246"/>
                <a:gd name="connsiteY2" fmla="*/ 10306 h 6246"/>
                <a:gd name="connsiteX3" fmla="*/ 38 w 6246"/>
                <a:gd name="connsiteY3" fmla="*/ 10431 h 6246"/>
                <a:gd name="connsiteX4" fmla="*/ 662 w 6246"/>
                <a:gd name="connsiteY4" fmla="*/ 8682 h 6246"/>
                <a:gd name="connsiteX5" fmla="*/ 9219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9219" y="0"/>
                  </a:moveTo>
                  <a:cubicBezTo>
                    <a:pt x="9594" y="312"/>
                    <a:pt x="9906" y="625"/>
                    <a:pt x="10281" y="999"/>
                  </a:cubicBezTo>
                  <a:cubicBezTo>
                    <a:pt x="8470" y="4934"/>
                    <a:pt x="4909" y="7558"/>
                    <a:pt x="1537" y="10306"/>
                  </a:cubicBezTo>
                  <a:cubicBezTo>
                    <a:pt x="1099" y="10681"/>
                    <a:pt x="475" y="11430"/>
                    <a:pt x="38" y="10431"/>
                  </a:cubicBezTo>
                  <a:cubicBezTo>
                    <a:pt x="-150" y="9994"/>
                    <a:pt x="412" y="9307"/>
                    <a:pt x="662" y="8682"/>
                  </a:cubicBezTo>
                  <a:cubicBezTo>
                    <a:pt x="3535" y="5809"/>
                    <a:pt x="6408" y="2936"/>
                    <a:pt x="9219" y="0"/>
                  </a:cubicBezTo>
                  <a:close/>
                </a:path>
              </a:pathLst>
            </a:custGeom>
            <a:grpFill/>
            <a:ln w="6246" cap="flat">
              <a:noFill/>
              <a:prstDash val="solid"/>
              <a:miter/>
            </a:ln>
          </p:spPr>
          <p:txBody>
            <a:bodyPr rtlCol="0" anchor="ctr"/>
            <a:lstStyle/>
            <a:p>
              <a:endParaRPr lang="fr-FR" sz="2400"/>
            </a:p>
          </p:txBody>
        </p:sp>
        <p:sp>
          <p:nvSpPr>
            <p:cNvPr id="616" name="Freeform: Shape 615">
              <a:extLst>
                <a:ext uri="{FF2B5EF4-FFF2-40B4-BE49-F238E27FC236}">
                  <a16:creationId xmlns:a16="http://schemas.microsoft.com/office/drawing/2014/main" id="{A8E02E2B-34D9-475B-9F0A-CC51932E293D}"/>
                </a:ext>
              </a:extLst>
            </p:cNvPr>
            <p:cNvSpPr/>
            <p:nvPr/>
          </p:nvSpPr>
          <p:spPr>
            <a:xfrm>
              <a:off x="1188656" y="578759"/>
              <a:ext cx="6246" cy="6246"/>
            </a:xfrm>
            <a:custGeom>
              <a:avLst/>
              <a:gdLst>
                <a:gd name="connsiteX0" fmla="*/ 0 w 6246"/>
                <a:gd name="connsiteY0" fmla="*/ 0 h 6246"/>
                <a:gd name="connsiteX1" fmla="*/ 9244 w 6246"/>
                <a:gd name="connsiteY1" fmla="*/ 11680 h 6246"/>
                <a:gd name="connsiteX2" fmla="*/ 0 w 6246"/>
                <a:gd name="connsiteY2" fmla="*/ 0 h 6246"/>
              </a:gdLst>
              <a:ahLst/>
              <a:cxnLst>
                <a:cxn ang="0">
                  <a:pos x="connsiteX0" y="connsiteY0"/>
                </a:cxn>
                <a:cxn ang="0">
                  <a:pos x="connsiteX1" y="connsiteY1"/>
                </a:cxn>
                <a:cxn ang="0">
                  <a:pos x="connsiteX2" y="connsiteY2"/>
                </a:cxn>
              </a:cxnLst>
              <a:rect l="l" t="t" r="r" b="b"/>
              <a:pathLst>
                <a:path w="6246" h="6246">
                  <a:moveTo>
                    <a:pt x="0" y="0"/>
                  </a:moveTo>
                  <a:cubicBezTo>
                    <a:pt x="3373" y="3623"/>
                    <a:pt x="7183" y="7058"/>
                    <a:pt x="9244" y="11680"/>
                  </a:cubicBezTo>
                  <a:cubicBezTo>
                    <a:pt x="4622" y="8869"/>
                    <a:pt x="1811" y="4809"/>
                    <a:pt x="0" y="0"/>
                  </a:cubicBezTo>
                  <a:close/>
                </a:path>
              </a:pathLst>
            </a:custGeom>
            <a:grpFill/>
            <a:ln w="6246" cap="flat">
              <a:noFill/>
              <a:prstDash val="solid"/>
              <a:miter/>
            </a:ln>
          </p:spPr>
          <p:txBody>
            <a:bodyPr rtlCol="0" anchor="ctr"/>
            <a:lstStyle/>
            <a:p>
              <a:endParaRPr lang="fr-FR" sz="2400"/>
            </a:p>
          </p:txBody>
        </p:sp>
        <p:sp>
          <p:nvSpPr>
            <p:cNvPr id="617" name="Freeform: Shape 616">
              <a:extLst>
                <a:ext uri="{FF2B5EF4-FFF2-40B4-BE49-F238E27FC236}">
                  <a16:creationId xmlns:a16="http://schemas.microsoft.com/office/drawing/2014/main" id="{FB6AFAAC-3966-4093-9371-08651CF47065}"/>
                </a:ext>
              </a:extLst>
            </p:cNvPr>
            <p:cNvSpPr/>
            <p:nvPr/>
          </p:nvSpPr>
          <p:spPr>
            <a:xfrm>
              <a:off x="1286157" y="451402"/>
              <a:ext cx="6246" cy="6246"/>
            </a:xfrm>
            <a:custGeom>
              <a:avLst/>
              <a:gdLst>
                <a:gd name="connsiteX0" fmla="*/ 11056 w 6246"/>
                <a:gd name="connsiteY0" fmla="*/ 3685 h 0"/>
                <a:gd name="connsiteX1" fmla="*/ 8932 w 6246"/>
                <a:gd name="connsiteY1" fmla="*/ 4685 h 0"/>
                <a:gd name="connsiteX2" fmla="*/ 5684 w 6246"/>
                <a:gd name="connsiteY2" fmla="*/ 5621 h 0"/>
                <a:gd name="connsiteX3" fmla="*/ 2498 w 6246"/>
                <a:gd name="connsiteY3" fmla="*/ 5621 h 0"/>
                <a:gd name="connsiteX4" fmla="*/ 0 w 6246"/>
                <a:gd name="connsiteY4" fmla="*/ 3498 h 0"/>
                <a:gd name="connsiteX5" fmla="*/ 437 w 6246"/>
                <a:gd name="connsiteY5" fmla="*/ 2311 h 0"/>
                <a:gd name="connsiteX6" fmla="*/ 2436 w 6246"/>
                <a:gd name="connsiteY6" fmla="*/ 1562 h 0"/>
                <a:gd name="connsiteX7" fmla="*/ 6871 w 6246"/>
                <a:gd name="connsiteY7" fmla="*/ 0 h 0"/>
                <a:gd name="connsiteX8" fmla="*/ 11056 w 6246"/>
                <a:gd name="connsiteY8" fmla="*/ 3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a:moveTo>
                    <a:pt x="11056" y="3685"/>
                  </a:moveTo>
                  <a:cubicBezTo>
                    <a:pt x="10181" y="3685"/>
                    <a:pt x="9432" y="3935"/>
                    <a:pt x="8932" y="4685"/>
                  </a:cubicBezTo>
                  <a:cubicBezTo>
                    <a:pt x="7745" y="4685"/>
                    <a:pt x="6496" y="4560"/>
                    <a:pt x="5684" y="5621"/>
                  </a:cubicBezTo>
                  <a:cubicBezTo>
                    <a:pt x="4622" y="5621"/>
                    <a:pt x="3560" y="5621"/>
                    <a:pt x="2498" y="5621"/>
                  </a:cubicBezTo>
                  <a:cubicBezTo>
                    <a:pt x="1624" y="4934"/>
                    <a:pt x="375" y="4685"/>
                    <a:pt x="0" y="3498"/>
                  </a:cubicBezTo>
                  <a:cubicBezTo>
                    <a:pt x="0" y="3061"/>
                    <a:pt x="125" y="2686"/>
                    <a:pt x="437" y="2311"/>
                  </a:cubicBezTo>
                  <a:cubicBezTo>
                    <a:pt x="999" y="1874"/>
                    <a:pt x="1686" y="1686"/>
                    <a:pt x="2436" y="1562"/>
                  </a:cubicBezTo>
                  <a:cubicBezTo>
                    <a:pt x="4185" y="1749"/>
                    <a:pt x="5434" y="625"/>
                    <a:pt x="6871" y="0"/>
                  </a:cubicBezTo>
                  <a:cubicBezTo>
                    <a:pt x="8994" y="500"/>
                    <a:pt x="12055" y="187"/>
                    <a:pt x="11056" y="3685"/>
                  </a:cubicBezTo>
                  <a:close/>
                </a:path>
              </a:pathLst>
            </a:custGeom>
            <a:grpFill/>
            <a:ln w="6246" cap="flat">
              <a:noFill/>
              <a:prstDash val="solid"/>
              <a:miter/>
            </a:ln>
          </p:spPr>
          <p:txBody>
            <a:bodyPr rtlCol="0" anchor="ctr"/>
            <a:lstStyle/>
            <a:p>
              <a:endParaRPr lang="fr-FR" sz="2400"/>
            </a:p>
          </p:txBody>
        </p:sp>
        <p:sp>
          <p:nvSpPr>
            <p:cNvPr id="618" name="Freeform: Shape 617">
              <a:extLst>
                <a:ext uri="{FF2B5EF4-FFF2-40B4-BE49-F238E27FC236}">
                  <a16:creationId xmlns:a16="http://schemas.microsoft.com/office/drawing/2014/main" id="{37788D71-35AD-4735-BFFD-3048621CAEEB}"/>
                </a:ext>
              </a:extLst>
            </p:cNvPr>
            <p:cNvSpPr/>
            <p:nvPr/>
          </p:nvSpPr>
          <p:spPr>
            <a:xfrm>
              <a:off x="1319386" y="464738"/>
              <a:ext cx="12492" cy="6246"/>
            </a:xfrm>
            <a:custGeom>
              <a:avLst/>
              <a:gdLst>
                <a:gd name="connsiteX0" fmla="*/ 10993 w 12492"/>
                <a:gd name="connsiteY0" fmla="*/ 4840 h 0"/>
                <a:gd name="connsiteX1" fmla="*/ 0 w 12492"/>
                <a:gd name="connsiteY1" fmla="*/ 343 h 0"/>
                <a:gd name="connsiteX2" fmla="*/ 12242 w 12492"/>
                <a:gd name="connsiteY2" fmla="*/ 2092 h 0"/>
                <a:gd name="connsiteX3" fmla="*/ 13679 w 12492"/>
                <a:gd name="connsiteY3" fmla="*/ 3903 h 0"/>
                <a:gd name="connsiteX4" fmla="*/ 10993 w 12492"/>
                <a:gd name="connsiteY4" fmla="*/ 4840 h 0"/>
                <a:gd name="connsiteX5" fmla="*/ 10993 w 12492"/>
                <a:gd name="connsiteY5" fmla="*/ 484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10993" y="4840"/>
                  </a:moveTo>
                  <a:cubicBezTo>
                    <a:pt x="8495" y="1405"/>
                    <a:pt x="3998" y="1780"/>
                    <a:pt x="0" y="343"/>
                  </a:cubicBezTo>
                  <a:cubicBezTo>
                    <a:pt x="4622" y="-531"/>
                    <a:pt x="8495" y="343"/>
                    <a:pt x="12242" y="2092"/>
                  </a:cubicBezTo>
                  <a:cubicBezTo>
                    <a:pt x="12992" y="2467"/>
                    <a:pt x="13929" y="2966"/>
                    <a:pt x="13679" y="3903"/>
                  </a:cubicBezTo>
                  <a:cubicBezTo>
                    <a:pt x="13304" y="5153"/>
                    <a:pt x="11993" y="4715"/>
                    <a:pt x="10993" y="4840"/>
                  </a:cubicBezTo>
                  <a:lnTo>
                    <a:pt x="10993" y="4840"/>
                  </a:lnTo>
                  <a:close/>
                </a:path>
              </a:pathLst>
            </a:custGeom>
            <a:grpFill/>
            <a:ln w="6246" cap="flat">
              <a:noFill/>
              <a:prstDash val="solid"/>
              <a:miter/>
            </a:ln>
          </p:spPr>
          <p:txBody>
            <a:bodyPr rtlCol="0" anchor="ctr"/>
            <a:lstStyle/>
            <a:p>
              <a:endParaRPr lang="fr-FR" sz="2400"/>
            </a:p>
          </p:txBody>
        </p:sp>
        <p:sp>
          <p:nvSpPr>
            <p:cNvPr id="619" name="Freeform: Shape 618">
              <a:extLst>
                <a:ext uri="{FF2B5EF4-FFF2-40B4-BE49-F238E27FC236}">
                  <a16:creationId xmlns:a16="http://schemas.microsoft.com/office/drawing/2014/main" id="{D41996EE-2561-4FEB-A240-56581E677E03}"/>
                </a:ext>
              </a:extLst>
            </p:cNvPr>
            <p:cNvSpPr/>
            <p:nvPr/>
          </p:nvSpPr>
          <p:spPr>
            <a:xfrm>
              <a:off x="1226529" y="626230"/>
              <a:ext cx="12492" cy="6246"/>
            </a:xfrm>
            <a:custGeom>
              <a:avLst/>
              <a:gdLst>
                <a:gd name="connsiteX0" fmla="*/ 2165 w 12492"/>
                <a:gd name="connsiteY0" fmla="*/ 0 h 0"/>
                <a:gd name="connsiteX1" fmla="*/ 18217 w 12492"/>
                <a:gd name="connsiteY1" fmla="*/ 0 h 0"/>
                <a:gd name="connsiteX2" fmla="*/ 15219 w 12492"/>
                <a:gd name="connsiteY2" fmla="*/ 2186 h 0"/>
                <a:gd name="connsiteX3" fmla="*/ 5413 w 12492"/>
                <a:gd name="connsiteY3" fmla="*/ 1936 h 0"/>
                <a:gd name="connsiteX4" fmla="*/ 791 w 12492"/>
                <a:gd name="connsiteY4" fmla="*/ 1249 h 0"/>
                <a:gd name="connsiteX5" fmla="*/ 229 w 12492"/>
                <a:gd name="connsiteY5" fmla="*/ 312 h 0"/>
                <a:gd name="connsiteX6" fmla="*/ 2165 w 12492"/>
                <a:gd name="connsiteY6"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2165" y="0"/>
                  </a:moveTo>
                  <a:cubicBezTo>
                    <a:pt x="7537" y="187"/>
                    <a:pt x="12846" y="2311"/>
                    <a:pt x="18217" y="0"/>
                  </a:cubicBezTo>
                  <a:cubicBezTo>
                    <a:pt x="18030" y="1624"/>
                    <a:pt x="17405" y="2436"/>
                    <a:pt x="15219" y="2186"/>
                  </a:cubicBezTo>
                  <a:cubicBezTo>
                    <a:pt x="11971" y="1874"/>
                    <a:pt x="8661" y="1999"/>
                    <a:pt x="5413" y="1936"/>
                  </a:cubicBezTo>
                  <a:cubicBezTo>
                    <a:pt x="3852" y="1936"/>
                    <a:pt x="2228" y="2061"/>
                    <a:pt x="791" y="1249"/>
                  </a:cubicBezTo>
                  <a:cubicBezTo>
                    <a:pt x="416" y="1062"/>
                    <a:pt x="-396" y="812"/>
                    <a:pt x="229" y="312"/>
                  </a:cubicBezTo>
                  <a:cubicBezTo>
                    <a:pt x="666" y="0"/>
                    <a:pt x="1540" y="62"/>
                    <a:pt x="2165" y="0"/>
                  </a:cubicBezTo>
                  <a:close/>
                </a:path>
              </a:pathLst>
            </a:custGeom>
            <a:grpFill/>
            <a:ln w="6246" cap="flat">
              <a:noFill/>
              <a:prstDash val="solid"/>
              <a:miter/>
            </a:ln>
          </p:spPr>
          <p:txBody>
            <a:bodyPr rtlCol="0" anchor="ctr"/>
            <a:lstStyle/>
            <a:p>
              <a:endParaRPr lang="fr-FR" sz="2400"/>
            </a:p>
          </p:txBody>
        </p:sp>
        <p:sp>
          <p:nvSpPr>
            <p:cNvPr id="620" name="Freeform: Shape 619">
              <a:extLst>
                <a:ext uri="{FF2B5EF4-FFF2-40B4-BE49-F238E27FC236}">
                  <a16:creationId xmlns:a16="http://schemas.microsoft.com/office/drawing/2014/main" id="{41C4F988-FE9A-420A-BA84-DFC3AEDD4518}"/>
                </a:ext>
              </a:extLst>
            </p:cNvPr>
            <p:cNvSpPr/>
            <p:nvPr/>
          </p:nvSpPr>
          <p:spPr>
            <a:xfrm>
              <a:off x="1196706" y="522857"/>
              <a:ext cx="6246" cy="6246"/>
            </a:xfrm>
            <a:custGeom>
              <a:avLst/>
              <a:gdLst>
                <a:gd name="connsiteX0" fmla="*/ 1757 w 0"/>
                <a:gd name="connsiteY0" fmla="*/ 0 h 6246"/>
                <a:gd name="connsiteX1" fmla="*/ 632 w 0"/>
                <a:gd name="connsiteY1" fmla="*/ 10431 h 6246"/>
                <a:gd name="connsiteX2" fmla="*/ 1757 w 0"/>
                <a:gd name="connsiteY2" fmla="*/ 0 h 6246"/>
              </a:gdLst>
              <a:ahLst/>
              <a:cxnLst>
                <a:cxn ang="0">
                  <a:pos x="connsiteX0" y="connsiteY0"/>
                </a:cxn>
                <a:cxn ang="0">
                  <a:pos x="connsiteX1" y="connsiteY1"/>
                </a:cxn>
                <a:cxn ang="0">
                  <a:pos x="connsiteX2" y="connsiteY2"/>
                </a:cxn>
              </a:cxnLst>
              <a:rect l="l" t="t" r="r" b="b"/>
              <a:pathLst>
                <a:path h="6246">
                  <a:moveTo>
                    <a:pt x="1757" y="0"/>
                  </a:moveTo>
                  <a:cubicBezTo>
                    <a:pt x="2069" y="4185"/>
                    <a:pt x="2631" y="7370"/>
                    <a:pt x="632" y="10431"/>
                  </a:cubicBezTo>
                  <a:cubicBezTo>
                    <a:pt x="195" y="7308"/>
                    <a:pt x="-991" y="4122"/>
                    <a:pt x="1757" y="0"/>
                  </a:cubicBezTo>
                  <a:close/>
                </a:path>
              </a:pathLst>
            </a:custGeom>
            <a:grpFill/>
            <a:ln w="6246" cap="flat">
              <a:noFill/>
              <a:prstDash val="solid"/>
              <a:miter/>
            </a:ln>
          </p:spPr>
          <p:txBody>
            <a:bodyPr rtlCol="0" anchor="ctr"/>
            <a:lstStyle/>
            <a:p>
              <a:endParaRPr lang="fr-FR" sz="2400"/>
            </a:p>
          </p:txBody>
        </p:sp>
        <p:sp>
          <p:nvSpPr>
            <p:cNvPr id="621" name="Freeform: Shape 620">
              <a:extLst>
                <a:ext uri="{FF2B5EF4-FFF2-40B4-BE49-F238E27FC236}">
                  <a16:creationId xmlns:a16="http://schemas.microsoft.com/office/drawing/2014/main" id="{DDD5105F-1ECD-4250-8F69-9510DB11E0EF}"/>
                </a:ext>
              </a:extLst>
            </p:cNvPr>
            <p:cNvSpPr/>
            <p:nvPr/>
          </p:nvSpPr>
          <p:spPr>
            <a:xfrm>
              <a:off x="1216951" y="505056"/>
              <a:ext cx="6246" cy="6246"/>
            </a:xfrm>
            <a:custGeom>
              <a:avLst/>
              <a:gdLst>
                <a:gd name="connsiteX0" fmla="*/ 0 w 0"/>
                <a:gd name="connsiteY0" fmla="*/ 10931 h 6246"/>
                <a:gd name="connsiteX1" fmla="*/ 5559 w 0"/>
                <a:gd name="connsiteY1" fmla="*/ 0 h 6246"/>
                <a:gd name="connsiteX2" fmla="*/ 2124 w 0"/>
                <a:gd name="connsiteY2" fmla="*/ 8994 h 6246"/>
                <a:gd name="connsiteX3" fmla="*/ 0 w 0"/>
                <a:gd name="connsiteY3" fmla="*/ 10931 h 6246"/>
              </a:gdLst>
              <a:ahLst/>
              <a:cxnLst>
                <a:cxn ang="0">
                  <a:pos x="connsiteX0" y="connsiteY0"/>
                </a:cxn>
                <a:cxn ang="0">
                  <a:pos x="connsiteX1" y="connsiteY1"/>
                </a:cxn>
                <a:cxn ang="0">
                  <a:pos x="connsiteX2" y="connsiteY2"/>
                </a:cxn>
                <a:cxn ang="0">
                  <a:pos x="connsiteX3" y="connsiteY3"/>
                </a:cxn>
              </a:cxnLst>
              <a:rect l="l" t="t" r="r" b="b"/>
              <a:pathLst>
                <a:path h="6246">
                  <a:moveTo>
                    <a:pt x="0" y="10931"/>
                  </a:moveTo>
                  <a:cubicBezTo>
                    <a:pt x="437" y="6683"/>
                    <a:pt x="2311" y="3061"/>
                    <a:pt x="5559" y="0"/>
                  </a:cubicBezTo>
                  <a:cubicBezTo>
                    <a:pt x="5247" y="3248"/>
                    <a:pt x="2374" y="5684"/>
                    <a:pt x="2124" y="8994"/>
                  </a:cubicBezTo>
                  <a:cubicBezTo>
                    <a:pt x="1437" y="9681"/>
                    <a:pt x="687" y="10306"/>
                    <a:pt x="0" y="10931"/>
                  </a:cubicBezTo>
                  <a:close/>
                </a:path>
              </a:pathLst>
            </a:custGeom>
            <a:grpFill/>
            <a:ln w="6246" cap="flat">
              <a:noFill/>
              <a:prstDash val="solid"/>
              <a:miter/>
            </a:ln>
          </p:spPr>
          <p:txBody>
            <a:bodyPr rtlCol="0" anchor="ctr"/>
            <a:lstStyle/>
            <a:p>
              <a:endParaRPr lang="fr-FR" sz="2400"/>
            </a:p>
          </p:txBody>
        </p:sp>
        <p:sp>
          <p:nvSpPr>
            <p:cNvPr id="622" name="Freeform: Shape 621">
              <a:extLst>
                <a:ext uri="{FF2B5EF4-FFF2-40B4-BE49-F238E27FC236}">
                  <a16:creationId xmlns:a16="http://schemas.microsoft.com/office/drawing/2014/main" id="{3DFD4D3B-873C-4F69-BF67-03EEFDCDB5DB}"/>
                </a:ext>
              </a:extLst>
            </p:cNvPr>
            <p:cNvSpPr/>
            <p:nvPr/>
          </p:nvSpPr>
          <p:spPr>
            <a:xfrm>
              <a:off x="1221198" y="470578"/>
              <a:ext cx="6246" cy="6246"/>
            </a:xfrm>
            <a:custGeom>
              <a:avLst/>
              <a:gdLst>
                <a:gd name="connsiteX0" fmla="*/ 6433 w 6246"/>
                <a:gd name="connsiteY0" fmla="*/ 0 h 6246"/>
                <a:gd name="connsiteX1" fmla="*/ 7495 w 6246"/>
                <a:gd name="connsiteY1" fmla="*/ 999 h 6246"/>
                <a:gd name="connsiteX2" fmla="*/ 0 w 6246"/>
                <a:gd name="connsiteY2" fmla="*/ 6808 h 6246"/>
                <a:gd name="connsiteX3" fmla="*/ 6433 w 6246"/>
                <a:gd name="connsiteY3" fmla="*/ 0 h 6246"/>
              </a:gdLst>
              <a:ahLst/>
              <a:cxnLst>
                <a:cxn ang="0">
                  <a:pos x="connsiteX0" y="connsiteY0"/>
                </a:cxn>
                <a:cxn ang="0">
                  <a:pos x="connsiteX1" y="connsiteY1"/>
                </a:cxn>
                <a:cxn ang="0">
                  <a:pos x="connsiteX2" y="connsiteY2"/>
                </a:cxn>
                <a:cxn ang="0">
                  <a:pos x="connsiteX3" y="connsiteY3"/>
                </a:cxn>
              </a:cxnLst>
              <a:rect l="l" t="t" r="r" b="b"/>
              <a:pathLst>
                <a:path w="6246" h="6246">
                  <a:moveTo>
                    <a:pt x="6433" y="0"/>
                  </a:moveTo>
                  <a:cubicBezTo>
                    <a:pt x="6808" y="312"/>
                    <a:pt x="7121" y="625"/>
                    <a:pt x="7495" y="999"/>
                  </a:cubicBezTo>
                  <a:cubicBezTo>
                    <a:pt x="5809" y="3748"/>
                    <a:pt x="2373" y="4747"/>
                    <a:pt x="0" y="6808"/>
                  </a:cubicBezTo>
                  <a:cubicBezTo>
                    <a:pt x="625" y="3310"/>
                    <a:pt x="3997" y="1999"/>
                    <a:pt x="6433" y="0"/>
                  </a:cubicBezTo>
                  <a:close/>
                </a:path>
              </a:pathLst>
            </a:custGeom>
            <a:grpFill/>
            <a:ln w="6246" cap="flat">
              <a:noFill/>
              <a:prstDash val="solid"/>
              <a:miter/>
            </a:ln>
          </p:spPr>
          <p:txBody>
            <a:bodyPr rtlCol="0" anchor="ctr"/>
            <a:lstStyle/>
            <a:p>
              <a:endParaRPr lang="fr-FR" sz="2400"/>
            </a:p>
          </p:txBody>
        </p:sp>
        <p:sp>
          <p:nvSpPr>
            <p:cNvPr id="623" name="Freeform: Shape 622">
              <a:extLst>
                <a:ext uri="{FF2B5EF4-FFF2-40B4-BE49-F238E27FC236}">
                  <a16:creationId xmlns:a16="http://schemas.microsoft.com/office/drawing/2014/main" id="{0151E36A-EC46-4557-AE9B-80355A66A7AF}"/>
                </a:ext>
              </a:extLst>
            </p:cNvPr>
            <p:cNvSpPr/>
            <p:nvPr/>
          </p:nvSpPr>
          <p:spPr>
            <a:xfrm>
              <a:off x="1322884" y="447692"/>
              <a:ext cx="6246" cy="6246"/>
            </a:xfrm>
            <a:custGeom>
              <a:avLst/>
              <a:gdLst>
                <a:gd name="connsiteX0" fmla="*/ 0 w 6246"/>
                <a:gd name="connsiteY0" fmla="*/ 649 h 0"/>
                <a:gd name="connsiteX1" fmla="*/ 7495 w 6246"/>
                <a:gd name="connsiteY1" fmla="*/ 3523 h 0"/>
                <a:gd name="connsiteX2" fmla="*/ 0 w 6246"/>
                <a:gd name="connsiteY2" fmla="*/ 649 h 0"/>
              </a:gdLst>
              <a:ahLst/>
              <a:cxnLst>
                <a:cxn ang="0">
                  <a:pos x="connsiteX0" y="connsiteY0"/>
                </a:cxn>
                <a:cxn ang="0">
                  <a:pos x="connsiteX1" y="connsiteY1"/>
                </a:cxn>
                <a:cxn ang="0">
                  <a:pos x="connsiteX2" y="connsiteY2"/>
                </a:cxn>
              </a:cxnLst>
              <a:rect l="l" t="t" r="r" b="b"/>
              <a:pathLst>
                <a:path w="6246">
                  <a:moveTo>
                    <a:pt x="0" y="649"/>
                  </a:moveTo>
                  <a:cubicBezTo>
                    <a:pt x="3873" y="-1224"/>
                    <a:pt x="5559" y="1336"/>
                    <a:pt x="7495" y="3523"/>
                  </a:cubicBezTo>
                  <a:cubicBezTo>
                    <a:pt x="4872" y="2836"/>
                    <a:pt x="1999" y="2586"/>
                    <a:pt x="0" y="649"/>
                  </a:cubicBezTo>
                  <a:close/>
                </a:path>
              </a:pathLst>
            </a:custGeom>
            <a:grpFill/>
            <a:ln w="6246" cap="flat">
              <a:noFill/>
              <a:prstDash val="solid"/>
              <a:miter/>
            </a:ln>
          </p:spPr>
          <p:txBody>
            <a:bodyPr rtlCol="0" anchor="ctr"/>
            <a:lstStyle/>
            <a:p>
              <a:endParaRPr lang="fr-FR" sz="2400"/>
            </a:p>
          </p:txBody>
        </p:sp>
        <p:sp>
          <p:nvSpPr>
            <p:cNvPr id="624" name="Freeform: Shape 623">
              <a:extLst>
                <a:ext uri="{FF2B5EF4-FFF2-40B4-BE49-F238E27FC236}">
                  <a16:creationId xmlns:a16="http://schemas.microsoft.com/office/drawing/2014/main" id="{23E84509-F48B-489D-9555-0F17C87650E5}"/>
                </a:ext>
              </a:extLst>
            </p:cNvPr>
            <p:cNvSpPr/>
            <p:nvPr/>
          </p:nvSpPr>
          <p:spPr>
            <a:xfrm>
              <a:off x="1281161" y="608298"/>
              <a:ext cx="6246" cy="6246"/>
            </a:xfrm>
            <a:custGeom>
              <a:avLst/>
              <a:gdLst>
                <a:gd name="connsiteX0" fmla="*/ 0 w 6246"/>
                <a:gd name="connsiteY0" fmla="*/ 2441 h 0"/>
                <a:gd name="connsiteX1" fmla="*/ 9432 w 6246"/>
                <a:gd name="connsiteY1" fmla="*/ 5 h 0"/>
                <a:gd name="connsiteX2" fmla="*/ 0 w 6246"/>
                <a:gd name="connsiteY2" fmla="*/ 3378 h 0"/>
                <a:gd name="connsiteX3" fmla="*/ 0 w 6246"/>
                <a:gd name="connsiteY3" fmla="*/ 2441 h 0"/>
              </a:gdLst>
              <a:ahLst/>
              <a:cxnLst>
                <a:cxn ang="0">
                  <a:pos x="connsiteX0" y="connsiteY0"/>
                </a:cxn>
                <a:cxn ang="0">
                  <a:pos x="connsiteX1" y="connsiteY1"/>
                </a:cxn>
                <a:cxn ang="0">
                  <a:pos x="connsiteX2" y="connsiteY2"/>
                </a:cxn>
                <a:cxn ang="0">
                  <a:pos x="connsiteX3" y="connsiteY3"/>
                </a:cxn>
              </a:cxnLst>
              <a:rect l="l" t="t" r="r" b="b"/>
              <a:pathLst>
                <a:path w="6246">
                  <a:moveTo>
                    <a:pt x="0" y="2441"/>
                  </a:moveTo>
                  <a:cubicBezTo>
                    <a:pt x="3061" y="2066"/>
                    <a:pt x="5497" y="-120"/>
                    <a:pt x="9432" y="5"/>
                  </a:cubicBezTo>
                  <a:cubicBezTo>
                    <a:pt x="6371" y="2379"/>
                    <a:pt x="3248" y="3066"/>
                    <a:pt x="0" y="3378"/>
                  </a:cubicBezTo>
                  <a:cubicBezTo>
                    <a:pt x="0" y="3128"/>
                    <a:pt x="0" y="2753"/>
                    <a:pt x="0" y="2441"/>
                  </a:cubicBezTo>
                  <a:close/>
                </a:path>
              </a:pathLst>
            </a:custGeom>
            <a:grpFill/>
            <a:ln w="6246" cap="flat">
              <a:noFill/>
              <a:prstDash val="solid"/>
              <a:miter/>
            </a:ln>
          </p:spPr>
          <p:txBody>
            <a:bodyPr rtlCol="0" anchor="ctr"/>
            <a:lstStyle/>
            <a:p>
              <a:endParaRPr lang="fr-FR" sz="2400"/>
            </a:p>
          </p:txBody>
        </p:sp>
        <p:sp>
          <p:nvSpPr>
            <p:cNvPr id="625" name="Freeform: Shape 624">
              <a:extLst>
                <a:ext uri="{FF2B5EF4-FFF2-40B4-BE49-F238E27FC236}">
                  <a16:creationId xmlns:a16="http://schemas.microsoft.com/office/drawing/2014/main" id="{29C72A3E-07FE-4AAF-8615-F3F82071EC12}"/>
                </a:ext>
              </a:extLst>
            </p:cNvPr>
            <p:cNvSpPr/>
            <p:nvPr/>
          </p:nvSpPr>
          <p:spPr>
            <a:xfrm>
              <a:off x="1251242" y="616439"/>
              <a:ext cx="12492" cy="6246"/>
            </a:xfrm>
            <a:custGeom>
              <a:avLst/>
              <a:gdLst>
                <a:gd name="connsiteX0" fmla="*/ 13866 w 12492"/>
                <a:gd name="connsiteY0" fmla="*/ 1108 h 0"/>
                <a:gd name="connsiteX1" fmla="*/ 10681 w 12492"/>
                <a:gd name="connsiteY1" fmla="*/ 1108 h 0"/>
                <a:gd name="connsiteX2" fmla="*/ 0 w 12492"/>
                <a:gd name="connsiteY2" fmla="*/ 109 h 0"/>
                <a:gd name="connsiteX3" fmla="*/ 13866 w 12492"/>
                <a:gd name="connsiteY3" fmla="*/ 1108 h 0"/>
              </a:gdLst>
              <a:ahLst/>
              <a:cxnLst>
                <a:cxn ang="0">
                  <a:pos x="connsiteX0" y="connsiteY0"/>
                </a:cxn>
                <a:cxn ang="0">
                  <a:pos x="connsiteX1" y="connsiteY1"/>
                </a:cxn>
                <a:cxn ang="0">
                  <a:pos x="connsiteX2" y="connsiteY2"/>
                </a:cxn>
                <a:cxn ang="0">
                  <a:pos x="connsiteX3" y="connsiteY3"/>
                </a:cxn>
              </a:cxnLst>
              <a:rect l="l" t="t" r="r" b="b"/>
              <a:pathLst>
                <a:path w="12492">
                  <a:moveTo>
                    <a:pt x="13866" y="1108"/>
                  </a:moveTo>
                  <a:cubicBezTo>
                    <a:pt x="12804" y="1108"/>
                    <a:pt x="11743" y="1108"/>
                    <a:pt x="10681" y="1108"/>
                  </a:cubicBezTo>
                  <a:cubicBezTo>
                    <a:pt x="7121" y="671"/>
                    <a:pt x="3373" y="2108"/>
                    <a:pt x="0" y="109"/>
                  </a:cubicBezTo>
                  <a:cubicBezTo>
                    <a:pt x="4560" y="671"/>
                    <a:pt x="9369" y="-1015"/>
                    <a:pt x="13866" y="1108"/>
                  </a:cubicBezTo>
                  <a:close/>
                </a:path>
              </a:pathLst>
            </a:custGeom>
            <a:grpFill/>
            <a:ln w="6246" cap="flat">
              <a:noFill/>
              <a:prstDash val="solid"/>
              <a:miter/>
            </a:ln>
          </p:spPr>
          <p:txBody>
            <a:bodyPr rtlCol="0" anchor="ctr"/>
            <a:lstStyle/>
            <a:p>
              <a:endParaRPr lang="fr-FR" sz="2400"/>
            </a:p>
          </p:txBody>
        </p:sp>
        <p:sp>
          <p:nvSpPr>
            <p:cNvPr id="626" name="Freeform: Shape 625">
              <a:extLst>
                <a:ext uri="{FF2B5EF4-FFF2-40B4-BE49-F238E27FC236}">
                  <a16:creationId xmlns:a16="http://schemas.microsoft.com/office/drawing/2014/main" id="{D12E1707-CF17-4826-AEC0-2B4D0EF78589}"/>
                </a:ext>
              </a:extLst>
            </p:cNvPr>
            <p:cNvSpPr/>
            <p:nvPr/>
          </p:nvSpPr>
          <p:spPr>
            <a:xfrm>
              <a:off x="1305770" y="450272"/>
              <a:ext cx="6246" cy="6246"/>
            </a:xfrm>
            <a:custGeom>
              <a:avLst/>
              <a:gdLst>
                <a:gd name="connsiteX0" fmla="*/ 0 w 6246"/>
                <a:gd name="connsiteY0" fmla="*/ 6 h 0"/>
                <a:gd name="connsiteX1" fmla="*/ 7495 w 6246"/>
                <a:gd name="connsiteY1" fmla="*/ 2879 h 0"/>
                <a:gd name="connsiteX2" fmla="*/ 0 w 6246"/>
                <a:gd name="connsiteY2" fmla="*/ 6 h 0"/>
              </a:gdLst>
              <a:ahLst/>
              <a:cxnLst>
                <a:cxn ang="0">
                  <a:pos x="connsiteX0" y="connsiteY0"/>
                </a:cxn>
                <a:cxn ang="0">
                  <a:pos x="connsiteX1" y="connsiteY1"/>
                </a:cxn>
                <a:cxn ang="0">
                  <a:pos x="connsiteX2" y="connsiteY2"/>
                </a:cxn>
              </a:cxnLst>
              <a:rect l="l" t="t" r="r" b="b"/>
              <a:pathLst>
                <a:path w="6246">
                  <a:moveTo>
                    <a:pt x="0" y="6"/>
                  </a:moveTo>
                  <a:cubicBezTo>
                    <a:pt x="2998" y="-56"/>
                    <a:pt x="5746" y="318"/>
                    <a:pt x="7495" y="2879"/>
                  </a:cubicBezTo>
                  <a:cubicBezTo>
                    <a:pt x="4809" y="2192"/>
                    <a:pt x="1999" y="1942"/>
                    <a:pt x="0" y="6"/>
                  </a:cubicBezTo>
                  <a:close/>
                </a:path>
              </a:pathLst>
            </a:custGeom>
            <a:grpFill/>
            <a:ln w="6246" cap="flat">
              <a:noFill/>
              <a:prstDash val="solid"/>
              <a:miter/>
            </a:ln>
          </p:spPr>
          <p:txBody>
            <a:bodyPr rtlCol="0" anchor="ctr"/>
            <a:lstStyle/>
            <a:p>
              <a:endParaRPr lang="fr-FR" sz="2400"/>
            </a:p>
          </p:txBody>
        </p:sp>
        <p:sp>
          <p:nvSpPr>
            <p:cNvPr id="627" name="Freeform: Shape 626">
              <a:extLst>
                <a:ext uri="{FF2B5EF4-FFF2-40B4-BE49-F238E27FC236}">
                  <a16:creationId xmlns:a16="http://schemas.microsoft.com/office/drawing/2014/main" id="{D055FEE4-1B6C-4CD8-8908-F7C22BC92E01}"/>
                </a:ext>
              </a:extLst>
            </p:cNvPr>
            <p:cNvSpPr/>
            <p:nvPr/>
          </p:nvSpPr>
          <p:spPr>
            <a:xfrm>
              <a:off x="1231942" y="504431"/>
              <a:ext cx="6246" cy="6246"/>
            </a:xfrm>
            <a:custGeom>
              <a:avLst/>
              <a:gdLst>
                <a:gd name="connsiteX0" fmla="*/ 5309 w 0"/>
                <a:gd name="connsiteY0" fmla="*/ 0 h 0"/>
                <a:gd name="connsiteX1" fmla="*/ 4247 w 0"/>
                <a:gd name="connsiteY1" fmla="*/ 1936 h 0"/>
                <a:gd name="connsiteX2" fmla="*/ 0 w 0"/>
                <a:gd name="connsiteY2" fmla="*/ 4872 h 0"/>
                <a:gd name="connsiteX3" fmla="*/ 530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309" y="0"/>
                  </a:moveTo>
                  <a:cubicBezTo>
                    <a:pt x="4934" y="625"/>
                    <a:pt x="4560" y="1312"/>
                    <a:pt x="4247" y="1936"/>
                  </a:cubicBezTo>
                  <a:cubicBezTo>
                    <a:pt x="2811" y="2936"/>
                    <a:pt x="1374" y="3873"/>
                    <a:pt x="0" y="4872"/>
                  </a:cubicBezTo>
                  <a:cubicBezTo>
                    <a:pt x="874" y="2373"/>
                    <a:pt x="1936" y="125"/>
                    <a:pt x="5309" y="0"/>
                  </a:cubicBezTo>
                  <a:close/>
                </a:path>
              </a:pathLst>
            </a:custGeom>
            <a:grpFill/>
            <a:ln w="6246" cap="flat">
              <a:noFill/>
              <a:prstDash val="solid"/>
              <a:miter/>
            </a:ln>
          </p:spPr>
          <p:txBody>
            <a:bodyPr rtlCol="0" anchor="ctr"/>
            <a:lstStyle/>
            <a:p>
              <a:endParaRPr lang="fr-FR" sz="2400"/>
            </a:p>
          </p:txBody>
        </p:sp>
        <p:sp>
          <p:nvSpPr>
            <p:cNvPr id="628" name="Freeform: Shape 627">
              <a:extLst>
                <a:ext uri="{FF2B5EF4-FFF2-40B4-BE49-F238E27FC236}">
                  <a16:creationId xmlns:a16="http://schemas.microsoft.com/office/drawing/2014/main" id="{0D52DD1B-FE40-4572-B44F-7C6E1DE6A3CB}"/>
                </a:ext>
              </a:extLst>
            </p:cNvPr>
            <p:cNvSpPr/>
            <p:nvPr/>
          </p:nvSpPr>
          <p:spPr>
            <a:xfrm>
              <a:off x="1332503" y="451277"/>
              <a:ext cx="6246" cy="6246"/>
            </a:xfrm>
            <a:custGeom>
              <a:avLst/>
              <a:gdLst>
                <a:gd name="connsiteX0" fmla="*/ 5372 w 0"/>
                <a:gd name="connsiteY0" fmla="*/ 2873 h 0"/>
                <a:gd name="connsiteX1" fmla="*/ 0 w 0"/>
                <a:gd name="connsiteY1" fmla="*/ 937 h 0"/>
                <a:gd name="connsiteX2" fmla="*/ 1062 w 0"/>
                <a:gd name="connsiteY2" fmla="*/ 0 h 0"/>
                <a:gd name="connsiteX3" fmla="*/ 5372 w 0"/>
                <a:gd name="connsiteY3" fmla="*/ 2873 h 0"/>
              </a:gdLst>
              <a:ahLst/>
              <a:cxnLst>
                <a:cxn ang="0">
                  <a:pos x="connsiteX0" y="connsiteY0"/>
                </a:cxn>
                <a:cxn ang="0">
                  <a:pos x="connsiteX1" y="connsiteY1"/>
                </a:cxn>
                <a:cxn ang="0">
                  <a:pos x="connsiteX2" y="connsiteY2"/>
                </a:cxn>
                <a:cxn ang="0">
                  <a:pos x="connsiteX3" y="connsiteY3"/>
                </a:cxn>
              </a:cxnLst>
              <a:rect l="l" t="t" r="r" b="b"/>
              <a:pathLst>
                <a:path>
                  <a:moveTo>
                    <a:pt x="5372" y="2873"/>
                  </a:moveTo>
                  <a:cubicBezTo>
                    <a:pt x="3123" y="3248"/>
                    <a:pt x="1686" y="1811"/>
                    <a:pt x="0" y="937"/>
                  </a:cubicBezTo>
                  <a:cubicBezTo>
                    <a:pt x="375" y="625"/>
                    <a:pt x="687" y="312"/>
                    <a:pt x="1062" y="0"/>
                  </a:cubicBezTo>
                  <a:cubicBezTo>
                    <a:pt x="2623" y="750"/>
                    <a:pt x="4560" y="1124"/>
                    <a:pt x="5372" y="2873"/>
                  </a:cubicBezTo>
                  <a:close/>
                </a:path>
              </a:pathLst>
            </a:custGeom>
            <a:grpFill/>
            <a:ln w="6246" cap="flat">
              <a:noFill/>
              <a:prstDash val="solid"/>
              <a:miter/>
            </a:ln>
          </p:spPr>
          <p:txBody>
            <a:bodyPr rtlCol="0" anchor="ctr"/>
            <a:lstStyle/>
            <a:p>
              <a:endParaRPr lang="fr-FR" sz="2400"/>
            </a:p>
          </p:txBody>
        </p:sp>
        <p:sp>
          <p:nvSpPr>
            <p:cNvPr id="629" name="Freeform: Shape 628">
              <a:extLst>
                <a:ext uri="{FF2B5EF4-FFF2-40B4-BE49-F238E27FC236}">
                  <a16:creationId xmlns:a16="http://schemas.microsoft.com/office/drawing/2014/main" id="{F4F1C261-78E3-41C0-99D1-E5FDDF7796C9}"/>
                </a:ext>
              </a:extLst>
            </p:cNvPr>
            <p:cNvSpPr/>
            <p:nvPr/>
          </p:nvSpPr>
          <p:spPr>
            <a:xfrm>
              <a:off x="1231005" y="470578"/>
              <a:ext cx="6246" cy="6246"/>
            </a:xfrm>
            <a:custGeom>
              <a:avLst/>
              <a:gdLst>
                <a:gd name="connsiteX0" fmla="*/ 5184 w 0"/>
                <a:gd name="connsiteY0" fmla="*/ 0 h 0"/>
                <a:gd name="connsiteX1" fmla="*/ 0 w 0"/>
                <a:gd name="connsiteY1" fmla="*/ 2873 h 0"/>
                <a:gd name="connsiteX2" fmla="*/ 5184 w 0"/>
                <a:gd name="connsiteY2" fmla="*/ 0 h 0"/>
                <a:gd name="connsiteX3" fmla="*/ 5184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5184" y="0"/>
                  </a:moveTo>
                  <a:cubicBezTo>
                    <a:pt x="4310" y="1686"/>
                    <a:pt x="2686" y="2249"/>
                    <a:pt x="0" y="2873"/>
                  </a:cubicBezTo>
                  <a:cubicBezTo>
                    <a:pt x="1686" y="750"/>
                    <a:pt x="3373" y="250"/>
                    <a:pt x="5184" y="0"/>
                  </a:cubicBezTo>
                  <a:lnTo>
                    <a:pt x="5184" y="0"/>
                  </a:lnTo>
                  <a:close/>
                </a:path>
              </a:pathLst>
            </a:custGeom>
            <a:grpFill/>
            <a:ln w="6246" cap="flat">
              <a:noFill/>
              <a:prstDash val="solid"/>
              <a:miter/>
            </a:ln>
          </p:spPr>
          <p:txBody>
            <a:bodyPr rtlCol="0" anchor="ctr"/>
            <a:lstStyle/>
            <a:p>
              <a:endParaRPr lang="fr-FR" sz="2400"/>
            </a:p>
          </p:txBody>
        </p:sp>
        <p:sp>
          <p:nvSpPr>
            <p:cNvPr id="630" name="Freeform: Shape 629">
              <a:extLst>
                <a:ext uri="{FF2B5EF4-FFF2-40B4-BE49-F238E27FC236}">
                  <a16:creationId xmlns:a16="http://schemas.microsoft.com/office/drawing/2014/main" id="{ACB785AE-54A9-4323-8963-6A48681CAC3C}"/>
                </a:ext>
              </a:extLst>
            </p:cNvPr>
            <p:cNvSpPr/>
            <p:nvPr/>
          </p:nvSpPr>
          <p:spPr>
            <a:xfrm>
              <a:off x="1205271" y="496686"/>
              <a:ext cx="6246" cy="6246"/>
            </a:xfrm>
            <a:custGeom>
              <a:avLst/>
              <a:gdLst>
                <a:gd name="connsiteX0" fmla="*/ 3123 w 0"/>
                <a:gd name="connsiteY0" fmla="*/ 0 h 0"/>
                <a:gd name="connsiteX1" fmla="*/ 0 w 0"/>
                <a:gd name="connsiteY1" fmla="*/ 4685 h 0"/>
                <a:gd name="connsiteX2" fmla="*/ 3123 w 0"/>
                <a:gd name="connsiteY2" fmla="*/ 0 h 0"/>
                <a:gd name="connsiteX3" fmla="*/ 3123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123" y="0"/>
                  </a:moveTo>
                  <a:cubicBezTo>
                    <a:pt x="2811" y="1624"/>
                    <a:pt x="2311" y="3123"/>
                    <a:pt x="0" y="4685"/>
                  </a:cubicBezTo>
                  <a:cubicBezTo>
                    <a:pt x="625" y="2249"/>
                    <a:pt x="1249" y="812"/>
                    <a:pt x="3123" y="0"/>
                  </a:cubicBezTo>
                  <a:lnTo>
                    <a:pt x="3123" y="0"/>
                  </a:lnTo>
                  <a:close/>
                </a:path>
              </a:pathLst>
            </a:custGeom>
            <a:grpFill/>
            <a:ln w="6246" cap="flat">
              <a:noFill/>
              <a:prstDash val="solid"/>
              <a:miter/>
            </a:ln>
          </p:spPr>
          <p:txBody>
            <a:bodyPr rtlCol="0" anchor="ctr"/>
            <a:lstStyle/>
            <a:p>
              <a:endParaRPr lang="fr-FR" sz="2400"/>
            </a:p>
          </p:txBody>
        </p:sp>
        <p:sp>
          <p:nvSpPr>
            <p:cNvPr id="631" name="Freeform: Shape 630">
              <a:extLst>
                <a:ext uri="{FF2B5EF4-FFF2-40B4-BE49-F238E27FC236}">
                  <a16:creationId xmlns:a16="http://schemas.microsoft.com/office/drawing/2014/main" id="{FC409F7F-FF6E-4F03-87E3-2CD5FFC6A49E}"/>
                </a:ext>
              </a:extLst>
            </p:cNvPr>
            <p:cNvSpPr/>
            <p:nvPr/>
          </p:nvSpPr>
          <p:spPr>
            <a:xfrm>
              <a:off x="1283284" y="493815"/>
              <a:ext cx="6246" cy="6246"/>
            </a:xfrm>
            <a:custGeom>
              <a:avLst/>
              <a:gdLst>
                <a:gd name="connsiteX0" fmla="*/ 0 w 0"/>
                <a:gd name="connsiteY0" fmla="*/ 1871 h 0"/>
                <a:gd name="connsiteX1" fmla="*/ 3061 w 0"/>
                <a:gd name="connsiteY1" fmla="*/ 622 h 0"/>
                <a:gd name="connsiteX2" fmla="*/ 2061 w 0"/>
                <a:gd name="connsiteY2" fmla="*/ 1871 h 0"/>
                <a:gd name="connsiteX3" fmla="*/ 0 w 0"/>
                <a:gd name="connsiteY3" fmla="*/ 1871 h 0"/>
              </a:gdLst>
              <a:ahLst/>
              <a:cxnLst>
                <a:cxn ang="0">
                  <a:pos x="connsiteX0" y="connsiteY0"/>
                </a:cxn>
                <a:cxn ang="0">
                  <a:pos x="connsiteX1" y="connsiteY1"/>
                </a:cxn>
                <a:cxn ang="0">
                  <a:pos x="connsiteX2" y="connsiteY2"/>
                </a:cxn>
                <a:cxn ang="0">
                  <a:pos x="connsiteX3" y="connsiteY3"/>
                </a:cxn>
              </a:cxnLst>
              <a:rect l="l" t="t" r="r" b="b"/>
              <a:pathLst>
                <a:path>
                  <a:moveTo>
                    <a:pt x="0" y="1871"/>
                  </a:moveTo>
                  <a:cubicBezTo>
                    <a:pt x="312" y="-2"/>
                    <a:pt x="1562" y="-565"/>
                    <a:pt x="3061" y="622"/>
                  </a:cubicBezTo>
                  <a:cubicBezTo>
                    <a:pt x="4122" y="1497"/>
                    <a:pt x="2873" y="1747"/>
                    <a:pt x="2061" y="1871"/>
                  </a:cubicBezTo>
                  <a:cubicBezTo>
                    <a:pt x="1437" y="1871"/>
                    <a:pt x="687" y="1871"/>
                    <a:pt x="0" y="1871"/>
                  </a:cubicBezTo>
                  <a:close/>
                </a:path>
              </a:pathLst>
            </a:custGeom>
            <a:grpFill/>
            <a:ln w="6246" cap="flat">
              <a:noFill/>
              <a:prstDash val="solid"/>
              <a:miter/>
            </a:ln>
          </p:spPr>
          <p:txBody>
            <a:bodyPr rtlCol="0" anchor="ctr"/>
            <a:lstStyle/>
            <a:p>
              <a:endParaRPr lang="fr-FR" sz="2400"/>
            </a:p>
          </p:txBody>
        </p:sp>
        <p:sp>
          <p:nvSpPr>
            <p:cNvPr id="632" name="Freeform: Shape 631">
              <a:extLst>
                <a:ext uri="{FF2B5EF4-FFF2-40B4-BE49-F238E27FC236}">
                  <a16:creationId xmlns:a16="http://schemas.microsoft.com/office/drawing/2014/main" id="{9F398762-DC19-4597-9687-5216B00325D8}"/>
                </a:ext>
              </a:extLst>
            </p:cNvPr>
            <p:cNvSpPr/>
            <p:nvPr/>
          </p:nvSpPr>
          <p:spPr>
            <a:xfrm>
              <a:off x="1223384" y="561458"/>
              <a:ext cx="6246" cy="6246"/>
            </a:xfrm>
            <a:custGeom>
              <a:avLst/>
              <a:gdLst>
                <a:gd name="connsiteX0" fmla="*/ 0 w 0"/>
                <a:gd name="connsiteY0" fmla="*/ 0 h 0"/>
                <a:gd name="connsiteX1" fmla="*/ 3186 w 0"/>
                <a:gd name="connsiteY1" fmla="*/ 3873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cubicBezTo>
                    <a:pt x="1686" y="874"/>
                    <a:pt x="3123" y="1936"/>
                    <a:pt x="3186" y="3873"/>
                  </a:cubicBezTo>
                  <a:cubicBezTo>
                    <a:pt x="1499" y="2998"/>
                    <a:pt x="63" y="1936"/>
                    <a:pt x="0" y="0"/>
                  </a:cubicBezTo>
                  <a:close/>
                </a:path>
              </a:pathLst>
            </a:custGeom>
            <a:grpFill/>
            <a:ln w="6246" cap="flat">
              <a:noFill/>
              <a:prstDash val="solid"/>
              <a:miter/>
            </a:ln>
          </p:spPr>
          <p:txBody>
            <a:bodyPr rtlCol="0" anchor="ctr"/>
            <a:lstStyle/>
            <a:p>
              <a:endParaRPr lang="fr-FR" sz="2400"/>
            </a:p>
          </p:txBody>
        </p:sp>
        <p:sp>
          <p:nvSpPr>
            <p:cNvPr id="633" name="Freeform: Shape 632">
              <a:extLst>
                <a:ext uri="{FF2B5EF4-FFF2-40B4-BE49-F238E27FC236}">
                  <a16:creationId xmlns:a16="http://schemas.microsoft.com/office/drawing/2014/main" id="{73B7A11A-6C69-402A-BA3B-AE6AC1AC4192}"/>
                </a:ext>
              </a:extLst>
            </p:cNvPr>
            <p:cNvSpPr/>
            <p:nvPr/>
          </p:nvSpPr>
          <p:spPr>
            <a:xfrm>
              <a:off x="1208700" y="478323"/>
              <a:ext cx="6246" cy="6246"/>
            </a:xfrm>
            <a:custGeom>
              <a:avLst/>
              <a:gdLst>
                <a:gd name="connsiteX0" fmla="*/ 1818 w 0"/>
                <a:gd name="connsiteY0" fmla="*/ 0 h 0"/>
                <a:gd name="connsiteX1" fmla="*/ 2879 w 0"/>
                <a:gd name="connsiteY1" fmla="*/ 0 h 0"/>
                <a:gd name="connsiteX2" fmla="*/ 131 w 0"/>
                <a:gd name="connsiteY2" fmla="*/ 1811 h 0"/>
                <a:gd name="connsiteX3" fmla="*/ 181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818" y="0"/>
                  </a:moveTo>
                  <a:cubicBezTo>
                    <a:pt x="2192" y="0"/>
                    <a:pt x="2505" y="0"/>
                    <a:pt x="2879" y="0"/>
                  </a:cubicBezTo>
                  <a:cubicBezTo>
                    <a:pt x="2130" y="874"/>
                    <a:pt x="1630" y="2561"/>
                    <a:pt x="131" y="1811"/>
                  </a:cubicBezTo>
                  <a:cubicBezTo>
                    <a:pt x="-431" y="1499"/>
                    <a:pt x="943" y="437"/>
                    <a:pt x="1818" y="0"/>
                  </a:cubicBezTo>
                  <a:close/>
                </a:path>
              </a:pathLst>
            </a:custGeom>
            <a:grpFill/>
            <a:ln w="6246" cap="flat">
              <a:noFill/>
              <a:prstDash val="solid"/>
              <a:miter/>
            </a:ln>
          </p:spPr>
          <p:txBody>
            <a:bodyPr rtlCol="0" anchor="ctr"/>
            <a:lstStyle/>
            <a:p>
              <a:endParaRPr lang="fr-FR" sz="2400"/>
            </a:p>
          </p:txBody>
        </p:sp>
        <p:sp>
          <p:nvSpPr>
            <p:cNvPr id="634" name="Freeform: Shape 633">
              <a:extLst>
                <a:ext uri="{FF2B5EF4-FFF2-40B4-BE49-F238E27FC236}">
                  <a16:creationId xmlns:a16="http://schemas.microsoft.com/office/drawing/2014/main" id="{3D2639DA-090E-4918-883A-3E7BA8983479}"/>
                </a:ext>
              </a:extLst>
            </p:cNvPr>
            <p:cNvSpPr/>
            <p:nvPr/>
          </p:nvSpPr>
          <p:spPr>
            <a:xfrm>
              <a:off x="1250305" y="638972"/>
              <a:ext cx="37476" cy="6246"/>
            </a:xfrm>
            <a:custGeom>
              <a:avLst/>
              <a:gdLst>
                <a:gd name="connsiteX0" fmla="*/ 12617 w 37476"/>
                <a:gd name="connsiteY0" fmla="*/ 5621 h 6246"/>
                <a:gd name="connsiteX1" fmla="*/ 23298 w 37476"/>
                <a:gd name="connsiteY1" fmla="*/ 2748 h 6246"/>
                <a:gd name="connsiteX2" fmla="*/ 35040 w 37476"/>
                <a:gd name="connsiteY2" fmla="*/ 812 h 6246"/>
                <a:gd name="connsiteX3" fmla="*/ 40724 w 37476"/>
                <a:gd name="connsiteY3" fmla="*/ 0 h 6246"/>
                <a:gd name="connsiteX4" fmla="*/ 35040 w 37476"/>
                <a:gd name="connsiteY4" fmla="*/ 3685 h 6246"/>
                <a:gd name="connsiteX5" fmla="*/ 9369 w 37476"/>
                <a:gd name="connsiteY5" fmla="*/ 9494 h 6246"/>
                <a:gd name="connsiteX6" fmla="*/ 4060 w 37476"/>
                <a:gd name="connsiteY6" fmla="*/ 9494 h 6246"/>
                <a:gd name="connsiteX7" fmla="*/ 0 w 37476"/>
                <a:gd name="connsiteY7" fmla="*/ 9494 h 6246"/>
                <a:gd name="connsiteX8" fmla="*/ 12617 w 37476"/>
                <a:gd name="connsiteY8" fmla="*/ 562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76" h="6246">
                  <a:moveTo>
                    <a:pt x="12617" y="5621"/>
                  </a:moveTo>
                  <a:cubicBezTo>
                    <a:pt x="16177" y="4560"/>
                    <a:pt x="20050" y="4497"/>
                    <a:pt x="23298" y="2748"/>
                  </a:cubicBezTo>
                  <a:cubicBezTo>
                    <a:pt x="27170" y="1874"/>
                    <a:pt x="30606" y="-1062"/>
                    <a:pt x="35040" y="812"/>
                  </a:cubicBezTo>
                  <a:cubicBezTo>
                    <a:pt x="36852" y="562"/>
                    <a:pt x="38663" y="312"/>
                    <a:pt x="40724" y="0"/>
                  </a:cubicBezTo>
                  <a:cubicBezTo>
                    <a:pt x="39725" y="2811"/>
                    <a:pt x="36415" y="1999"/>
                    <a:pt x="35040" y="3685"/>
                  </a:cubicBezTo>
                  <a:cubicBezTo>
                    <a:pt x="26671" y="6308"/>
                    <a:pt x="17926" y="7495"/>
                    <a:pt x="9369" y="9494"/>
                  </a:cubicBezTo>
                  <a:cubicBezTo>
                    <a:pt x="7620" y="10743"/>
                    <a:pt x="5809" y="10743"/>
                    <a:pt x="4060" y="9494"/>
                  </a:cubicBezTo>
                  <a:cubicBezTo>
                    <a:pt x="2686" y="9494"/>
                    <a:pt x="1312" y="9494"/>
                    <a:pt x="0" y="9494"/>
                  </a:cubicBezTo>
                  <a:cubicBezTo>
                    <a:pt x="4372" y="8370"/>
                    <a:pt x="8620" y="7245"/>
                    <a:pt x="12617" y="5621"/>
                  </a:cubicBezTo>
                  <a:close/>
                </a:path>
              </a:pathLst>
            </a:custGeom>
            <a:grpFill/>
            <a:ln w="6246" cap="flat">
              <a:noFill/>
              <a:prstDash val="solid"/>
              <a:miter/>
            </a:ln>
          </p:spPr>
          <p:txBody>
            <a:bodyPr rtlCol="0" anchor="ctr"/>
            <a:lstStyle/>
            <a:p>
              <a:endParaRPr lang="fr-FR" sz="2400"/>
            </a:p>
          </p:txBody>
        </p:sp>
        <p:sp>
          <p:nvSpPr>
            <p:cNvPr id="635" name="Freeform: Shape 634">
              <a:extLst>
                <a:ext uri="{FF2B5EF4-FFF2-40B4-BE49-F238E27FC236}">
                  <a16:creationId xmlns:a16="http://schemas.microsoft.com/office/drawing/2014/main" id="{A8612E2D-EF0D-48F8-A700-84C6DF43F585}"/>
                </a:ext>
              </a:extLst>
            </p:cNvPr>
            <p:cNvSpPr/>
            <p:nvPr/>
          </p:nvSpPr>
          <p:spPr>
            <a:xfrm>
              <a:off x="1296089" y="624155"/>
              <a:ext cx="18738" cy="6246"/>
            </a:xfrm>
            <a:custGeom>
              <a:avLst/>
              <a:gdLst>
                <a:gd name="connsiteX0" fmla="*/ 20362 w 18738"/>
                <a:gd name="connsiteY0" fmla="*/ 1075 h 6246"/>
                <a:gd name="connsiteX1" fmla="*/ 23548 w 18738"/>
                <a:gd name="connsiteY1" fmla="*/ 76 h 6246"/>
                <a:gd name="connsiteX2" fmla="*/ 24610 w 18738"/>
                <a:gd name="connsiteY2" fmla="*/ 1075 h 6246"/>
                <a:gd name="connsiteX3" fmla="*/ 0 w 18738"/>
                <a:gd name="connsiteY3" fmla="*/ 11694 h 6246"/>
                <a:gd name="connsiteX4" fmla="*/ 7995 w 18738"/>
                <a:gd name="connsiteY4" fmla="*/ 4823 h 6246"/>
                <a:gd name="connsiteX5" fmla="*/ 20362 w 18738"/>
                <a:gd name="connsiteY5" fmla="*/ 107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38" h="6246">
                  <a:moveTo>
                    <a:pt x="20362" y="1075"/>
                  </a:moveTo>
                  <a:cubicBezTo>
                    <a:pt x="21424" y="763"/>
                    <a:pt x="22486" y="451"/>
                    <a:pt x="23548" y="76"/>
                  </a:cubicBezTo>
                  <a:cubicBezTo>
                    <a:pt x="24547" y="-174"/>
                    <a:pt x="24859" y="201"/>
                    <a:pt x="24610" y="1075"/>
                  </a:cubicBezTo>
                  <a:cubicBezTo>
                    <a:pt x="17364" y="6384"/>
                    <a:pt x="8994" y="9632"/>
                    <a:pt x="0" y="11694"/>
                  </a:cubicBezTo>
                  <a:cubicBezTo>
                    <a:pt x="0" y="6822"/>
                    <a:pt x="4560" y="6384"/>
                    <a:pt x="7995" y="4823"/>
                  </a:cubicBezTo>
                  <a:cubicBezTo>
                    <a:pt x="12180" y="3761"/>
                    <a:pt x="16427" y="2887"/>
                    <a:pt x="20362" y="1075"/>
                  </a:cubicBezTo>
                  <a:close/>
                </a:path>
              </a:pathLst>
            </a:custGeom>
            <a:grpFill/>
            <a:ln w="6246" cap="flat">
              <a:noFill/>
              <a:prstDash val="solid"/>
              <a:miter/>
            </a:ln>
          </p:spPr>
          <p:txBody>
            <a:bodyPr rtlCol="0" anchor="ctr"/>
            <a:lstStyle/>
            <a:p>
              <a:endParaRPr lang="fr-FR" sz="2400"/>
            </a:p>
          </p:txBody>
        </p:sp>
        <p:sp>
          <p:nvSpPr>
            <p:cNvPr id="636" name="Freeform: Shape 635">
              <a:extLst>
                <a:ext uri="{FF2B5EF4-FFF2-40B4-BE49-F238E27FC236}">
                  <a16:creationId xmlns:a16="http://schemas.microsoft.com/office/drawing/2014/main" id="{24EB676A-0710-417A-AF11-959A7FEB1EA8}"/>
                </a:ext>
              </a:extLst>
            </p:cNvPr>
            <p:cNvSpPr/>
            <p:nvPr/>
          </p:nvSpPr>
          <p:spPr>
            <a:xfrm>
              <a:off x="1271635" y="634912"/>
              <a:ext cx="18738" cy="6246"/>
            </a:xfrm>
            <a:custGeom>
              <a:avLst/>
              <a:gdLst>
                <a:gd name="connsiteX0" fmla="*/ 13773 w 18738"/>
                <a:gd name="connsiteY0" fmla="*/ 4872 h 6246"/>
                <a:gd name="connsiteX1" fmla="*/ 2030 w 18738"/>
                <a:gd name="connsiteY1" fmla="*/ 6808 h 6246"/>
                <a:gd name="connsiteX2" fmla="*/ 531 w 18738"/>
                <a:gd name="connsiteY2" fmla="*/ 6683 h 6246"/>
                <a:gd name="connsiteX3" fmla="*/ 1406 w 18738"/>
                <a:gd name="connsiteY3" fmla="*/ 5621 h 6246"/>
                <a:gd name="connsiteX4" fmla="*/ 19145 w 18738"/>
                <a:gd name="connsiteY4" fmla="*/ 0 h 6246"/>
                <a:gd name="connsiteX5" fmla="*/ 19707 w 18738"/>
                <a:gd name="connsiteY5" fmla="*/ 1062 h 6246"/>
                <a:gd name="connsiteX6" fmla="*/ 18083 w 18738"/>
                <a:gd name="connsiteY6" fmla="*/ 2873 h 6246"/>
                <a:gd name="connsiteX7" fmla="*/ 13773 w 18738"/>
                <a:gd name="connsiteY7" fmla="*/ 487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38" h="6246">
                  <a:moveTo>
                    <a:pt x="13773" y="4872"/>
                  </a:moveTo>
                  <a:cubicBezTo>
                    <a:pt x="9775" y="4997"/>
                    <a:pt x="6090" y="6996"/>
                    <a:pt x="2030" y="6808"/>
                  </a:cubicBezTo>
                  <a:cubicBezTo>
                    <a:pt x="1531" y="6746"/>
                    <a:pt x="781" y="6933"/>
                    <a:pt x="531" y="6683"/>
                  </a:cubicBezTo>
                  <a:cubicBezTo>
                    <a:pt x="-968" y="5247"/>
                    <a:pt x="1156" y="5746"/>
                    <a:pt x="1406" y="5621"/>
                  </a:cubicBezTo>
                  <a:cubicBezTo>
                    <a:pt x="7277" y="3685"/>
                    <a:pt x="13211" y="1874"/>
                    <a:pt x="19145" y="0"/>
                  </a:cubicBezTo>
                  <a:cubicBezTo>
                    <a:pt x="19457" y="312"/>
                    <a:pt x="19644" y="625"/>
                    <a:pt x="19707" y="1062"/>
                  </a:cubicBezTo>
                  <a:cubicBezTo>
                    <a:pt x="19644" y="1999"/>
                    <a:pt x="18707" y="2373"/>
                    <a:pt x="18083" y="2873"/>
                  </a:cubicBezTo>
                  <a:cubicBezTo>
                    <a:pt x="16396" y="3061"/>
                    <a:pt x="14897" y="3623"/>
                    <a:pt x="13773" y="4872"/>
                  </a:cubicBezTo>
                  <a:close/>
                </a:path>
              </a:pathLst>
            </a:custGeom>
            <a:grpFill/>
            <a:ln w="6246" cap="flat">
              <a:noFill/>
              <a:prstDash val="solid"/>
              <a:miter/>
            </a:ln>
          </p:spPr>
          <p:txBody>
            <a:bodyPr rtlCol="0" anchor="ctr"/>
            <a:lstStyle/>
            <a:p>
              <a:endParaRPr lang="fr-FR" sz="2400"/>
            </a:p>
          </p:txBody>
        </p:sp>
        <p:sp>
          <p:nvSpPr>
            <p:cNvPr id="637" name="Freeform: Shape 636">
              <a:extLst>
                <a:ext uri="{FF2B5EF4-FFF2-40B4-BE49-F238E27FC236}">
                  <a16:creationId xmlns:a16="http://schemas.microsoft.com/office/drawing/2014/main" id="{42DA08ED-02AB-407E-B6A9-EB7FA259DA04}"/>
                </a:ext>
              </a:extLst>
            </p:cNvPr>
            <p:cNvSpPr/>
            <p:nvPr/>
          </p:nvSpPr>
          <p:spPr>
            <a:xfrm>
              <a:off x="1289718" y="628888"/>
              <a:ext cx="12492" cy="6246"/>
            </a:xfrm>
            <a:custGeom>
              <a:avLst/>
              <a:gdLst>
                <a:gd name="connsiteX0" fmla="*/ 0 w 12492"/>
                <a:gd name="connsiteY0" fmla="*/ 8959 h 6246"/>
                <a:gd name="connsiteX1" fmla="*/ 1062 w 12492"/>
                <a:gd name="connsiteY1" fmla="*/ 7023 h 6246"/>
                <a:gd name="connsiteX2" fmla="*/ 14991 w 12492"/>
                <a:gd name="connsiteY2" fmla="*/ 1214 h 6246"/>
                <a:gd name="connsiteX3" fmla="*/ 6433 w 12492"/>
                <a:gd name="connsiteY3" fmla="*/ 7023 h 6246"/>
                <a:gd name="connsiteX4" fmla="*/ 0 w 12492"/>
                <a:gd name="connsiteY4" fmla="*/ 895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0" y="8959"/>
                  </a:moveTo>
                  <a:cubicBezTo>
                    <a:pt x="375" y="8335"/>
                    <a:pt x="687" y="7648"/>
                    <a:pt x="1062" y="7023"/>
                  </a:cubicBezTo>
                  <a:cubicBezTo>
                    <a:pt x="3498" y="527"/>
                    <a:pt x="8557" y="-1597"/>
                    <a:pt x="14991" y="1214"/>
                  </a:cubicBezTo>
                  <a:cubicBezTo>
                    <a:pt x="11555" y="2463"/>
                    <a:pt x="8245" y="3837"/>
                    <a:pt x="6433" y="7023"/>
                  </a:cubicBezTo>
                  <a:cubicBezTo>
                    <a:pt x="4310" y="7835"/>
                    <a:pt x="2436" y="9147"/>
                    <a:pt x="0" y="8959"/>
                  </a:cubicBezTo>
                  <a:close/>
                </a:path>
              </a:pathLst>
            </a:custGeom>
            <a:grpFill/>
            <a:ln w="6246" cap="flat">
              <a:noFill/>
              <a:prstDash val="solid"/>
              <a:miter/>
            </a:ln>
          </p:spPr>
          <p:txBody>
            <a:bodyPr rtlCol="0" anchor="ctr"/>
            <a:lstStyle/>
            <a:p>
              <a:endParaRPr lang="fr-FR" sz="2400"/>
            </a:p>
          </p:txBody>
        </p:sp>
        <p:sp>
          <p:nvSpPr>
            <p:cNvPr id="638" name="Freeform: Shape 637">
              <a:extLst>
                <a:ext uri="{FF2B5EF4-FFF2-40B4-BE49-F238E27FC236}">
                  <a16:creationId xmlns:a16="http://schemas.microsoft.com/office/drawing/2014/main" id="{43F0E5E0-749D-496A-A161-A2D3BB70EFA0}"/>
                </a:ext>
              </a:extLst>
            </p:cNvPr>
            <p:cNvSpPr/>
            <p:nvPr/>
          </p:nvSpPr>
          <p:spPr>
            <a:xfrm>
              <a:off x="1319699" y="618422"/>
              <a:ext cx="6246" cy="6246"/>
            </a:xfrm>
            <a:custGeom>
              <a:avLst/>
              <a:gdLst>
                <a:gd name="connsiteX0" fmla="*/ 1062 w 6246"/>
                <a:gd name="connsiteY0" fmla="*/ 6808 h 6246"/>
                <a:gd name="connsiteX1" fmla="*/ 0 w 6246"/>
                <a:gd name="connsiteY1" fmla="*/ 5809 h 6246"/>
                <a:gd name="connsiteX2" fmla="*/ 10681 w 6246"/>
                <a:gd name="connsiteY2" fmla="*/ 0 h 6246"/>
                <a:gd name="connsiteX3" fmla="*/ 10681 w 6246"/>
                <a:gd name="connsiteY3" fmla="*/ 0 h 6246"/>
                <a:gd name="connsiteX4" fmla="*/ 9619 w 6246"/>
                <a:gd name="connsiteY4" fmla="*/ 1936 h 6246"/>
                <a:gd name="connsiteX5" fmla="*/ 1062 w 6246"/>
                <a:gd name="connsiteY5" fmla="*/ 680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1062" y="6808"/>
                  </a:moveTo>
                  <a:cubicBezTo>
                    <a:pt x="687" y="6496"/>
                    <a:pt x="375" y="6184"/>
                    <a:pt x="0" y="5809"/>
                  </a:cubicBezTo>
                  <a:cubicBezTo>
                    <a:pt x="2748" y="2623"/>
                    <a:pt x="6371" y="812"/>
                    <a:pt x="10681" y="0"/>
                  </a:cubicBezTo>
                  <a:lnTo>
                    <a:pt x="10681" y="0"/>
                  </a:lnTo>
                  <a:cubicBezTo>
                    <a:pt x="11368" y="1124"/>
                    <a:pt x="10243" y="1374"/>
                    <a:pt x="9619" y="1936"/>
                  </a:cubicBezTo>
                  <a:cubicBezTo>
                    <a:pt x="6246" y="2936"/>
                    <a:pt x="4560" y="6184"/>
                    <a:pt x="1062" y="6808"/>
                  </a:cubicBezTo>
                  <a:close/>
                </a:path>
              </a:pathLst>
            </a:custGeom>
            <a:grpFill/>
            <a:ln w="6246" cap="flat">
              <a:noFill/>
              <a:prstDash val="solid"/>
              <a:miter/>
            </a:ln>
          </p:spPr>
          <p:txBody>
            <a:bodyPr rtlCol="0" anchor="ctr"/>
            <a:lstStyle/>
            <a:p>
              <a:endParaRPr lang="fr-FR" sz="2400"/>
            </a:p>
          </p:txBody>
        </p:sp>
        <p:sp>
          <p:nvSpPr>
            <p:cNvPr id="639" name="Freeform: Shape 638">
              <a:extLst>
                <a:ext uri="{FF2B5EF4-FFF2-40B4-BE49-F238E27FC236}">
                  <a16:creationId xmlns:a16="http://schemas.microsoft.com/office/drawing/2014/main" id="{13FBB314-4376-425D-9695-A853ABD394E0}"/>
                </a:ext>
              </a:extLst>
            </p:cNvPr>
            <p:cNvSpPr/>
            <p:nvPr/>
          </p:nvSpPr>
          <p:spPr>
            <a:xfrm>
              <a:off x="1329318" y="618484"/>
              <a:ext cx="6246" cy="6246"/>
            </a:xfrm>
            <a:custGeom>
              <a:avLst/>
              <a:gdLst>
                <a:gd name="connsiteX0" fmla="*/ 0 w 0"/>
                <a:gd name="connsiteY0" fmla="*/ 1936 h 0"/>
                <a:gd name="connsiteX1" fmla="*/ 1062 w 0"/>
                <a:gd name="connsiteY1" fmla="*/ 0 h 0"/>
                <a:gd name="connsiteX2" fmla="*/ 4247 w 0"/>
                <a:gd name="connsiteY2" fmla="*/ 0 h 0"/>
                <a:gd name="connsiteX3" fmla="*/ 0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0" y="1936"/>
                  </a:moveTo>
                  <a:cubicBezTo>
                    <a:pt x="375" y="1312"/>
                    <a:pt x="687" y="625"/>
                    <a:pt x="1062" y="0"/>
                  </a:cubicBezTo>
                  <a:cubicBezTo>
                    <a:pt x="2124" y="0"/>
                    <a:pt x="3186" y="0"/>
                    <a:pt x="4247" y="0"/>
                  </a:cubicBezTo>
                  <a:cubicBezTo>
                    <a:pt x="3186" y="1249"/>
                    <a:pt x="1687" y="1749"/>
                    <a:pt x="0" y="1936"/>
                  </a:cubicBezTo>
                  <a:close/>
                </a:path>
              </a:pathLst>
            </a:custGeom>
            <a:grpFill/>
            <a:ln w="6246" cap="flat">
              <a:noFill/>
              <a:prstDash val="solid"/>
              <a:miter/>
            </a:ln>
          </p:spPr>
          <p:txBody>
            <a:bodyPr rtlCol="0" anchor="ctr"/>
            <a:lstStyle/>
            <a:p>
              <a:endParaRPr lang="fr-FR" sz="2400"/>
            </a:p>
          </p:txBody>
        </p:sp>
        <p:sp>
          <p:nvSpPr>
            <p:cNvPr id="640" name="Freeform: Shape 639">
              <a:extLst>
                <a:ext uri="{FF2B5EF4-FFF2-40B4-BE49-F238E27FC236}">
                  <a16:creationId xmlns:a16="http://schemas.microsoft.com/office/drawing/2014/main" id="{BA323E33-364D-42B3-ABCB-879C088DC53B}"/>
                </a:ext>
              </a:extLst>
            </p:cNvPr>
            <p:cNvSpPr/>
            <p:nvPr/>
          </p:nvSpPr>
          <p:spPr>
            <a:xfrm>
              <a:off x="1153071" y="597185"/>
              <a:ext cx="6246" cy="12492"/>
            </a:xfrm>
            <a:custGeom>
              <a:avLst/>
              <a:gdLst>
                <a:gd name="connsiteX0" fmla="*/ 1794 w 6246"/>
                <a:gd name="connsiteY0" fmla="*/ 6808 h 12492"/>
                <a:gd name="connsiteX1" fmla="*/ 46 w 6246"/>
                <a:gd name="connsiteY1" fmla="*/ 0 h 12492"/>
                <a:gd name="connsiteX2" fmla="*/ 8790 w 6246"/>
                <a:gd name="connsiteY2" fmla="*/ 12242 h 12492"/>
                <a:gd name="connsiteX3" fmla="*/ 7166 w 6246"/>
                <a:gd name="connsiteY3" fmla="*/ 13616 h 12492"/>
                <a:gd name="connsiteX4" fmla="*/ 1794 w 6246"/>
                <a:gd name="connsiteY4" fmla="*/ 6808 h 12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12492">
                  <a:moveTo>
                    <a:pt x="1794" y="6808"/>
                  </a:moveTo>
                  <a:cubicBezTo>
                    <a:pt x="2481" y="4560"/>
                    <a:pt x="-392" y="3248"/>
                    <a:pt x="46" y="0"/>
                  </a:cubicBezTo>
                  <a:cubicBezTo>
                    <a:pt x="3356" y="4560"/>
                    <a:pt x="6167" y="8307"/>
                    <a:pt x="8790" y="12242"/>
                  </a:cubicBezTo>
                  <a:cubicBezTo>
                    <a:pt x="9352" y="13117"/>
                    <a:pt x="8040" y="13429"/>
                    <a:pt x="7166" y="13616"/>
                  </a:cubicBezTo>
                  <a:cubicBezTo>
                    <a:pt x="5355" y="11305"/>
                    <a:pt x="3606" y="9057"/>
                    <a:pt x="1794" y="6808"/>
                  </a:cubicBezTo>
                  <a:close/>
                </a:path>
              </a:pathLst>
            </a:custGeom>
            <a:grpFill/>
            <a:ln w="6246" cap="flat">
              <a:noFill/>
              <a:prstDash val="solid"/>
              <a:miter/>
            </a:ln>
          </p:spPr>
          <p:txBody>
            <a:bodyPr rtlCol="0" anchor="ctr"/>
            <a:lstStyle/>
            <a:p>
              <a:endParaRPr lang="fr-FR" sz="2400"/>
            </a:p>
          </p:txBody>
        </p:sp>
        <p:sp>
          <p:nvSpPr>
            <p:cNvPr id="641" name="Freeform: Shape 640">
              <a:extLst>
                <a:ext uri="{FF2B5EF4-FFF2-40B4-BE49-F238E27FC236}">
                  <a16:creationId xmlns:a16="http://schemas.microsoft.com/office/drawing/2014/main" id="{E46C5D38-C19D-448F-ACDE-A1A76640D1C6}"/>
                </a:ext>
              </a:extLst>
            </p:cNvPr>
            <p:cNvSpPr/>
            <p:nvPr/>
          </p:nvSpPr>
          <p:spPr>
            <a:xfrm>
              <a:off x="1158051" y="591063"/>
              <a:ext cx="24984" cy="31230"/>
            </a:xfrm>
            <a:custGeom>
              <a:avLst/>
              <a:gdLst>
                <a:gd name="connsiteX0" fmla="*/ 6371 w 24984"/>
                <a:gd name="connsiteY0" fmla="*/ 15804 h 31230"/>
                <a:gd name="connsiteX1" fmla="*/ 0 w 24984"/>
                <a:gd name="connsiteY1" fmla="*/ 438 h 31230"/>
                <a:gd name="connsiteX2" fmla="*/ 999 w 24984"/>
                <a:gd name="connsiteY2" fmla="*/ 501 h 31230"/>
                <a:gd name="connsiteX3" fmla="*/ 937 w 24984"/>
                <a:gd name="connsiteY3" fmla="*/ 438 h 31230"/>
                <a:gd name="connsiteX4" fmla="*/ 5059 w 24984"/>
                <a:gd name="connsiteY4" fmla="*/ 6622 h 31230"/>
                <a:gd name="connsiteX5" fmla="*/ 10556 w 24984"/>
                <a:gd name="connsiteY5" fmla="*/ 14242 h 31230"/>
                <a:gd name="connsiteX6" fmla="*/ 12929 w 24984"/>
                <a:gd name="connsiteY6" fmla="*/ 18177 h 31230"/>
                <a:gd name="connsiteX7" fmla="*/ 15490 w 24984"/>
                <a:gd name="connsiteY7" fmla="*/ 20988 h 31230"/>
                <a:gd name="connsiteX8" fmla="*/ 17052 w 24984"/>
                <a:gd name="connsiteY8" fmla="*/ 22300 h 31230"/>
                <a:gd name="connsiteX9" fmla="*/ 22049 w 24984"/>
                <a:gd name="connsiteY9" fmla="*/ 27796 h 31230"/>
                <a:gd name="connsiteX10" fmla="*/ 25796 w 24984"/>
                <a:gd name="connsiteY10" fmla="*/ 33418 h 31230"/>
                <a:gd name="connsiteX11" fmla="*/ 23610 w 24984"/>
                <a:gd name="connsiteY11" fmla="*/ 33230 h 31230"/>
                <a:gd name="connsiteX12" fmla="*/ 22548 w 24984"/>
                <a:gd name="connsiteY12" fmla="*/ 33105 h 31230"/>
                <a:gd name="connsiteX13" fmla="*/ 6371 w 24984"/>
                <a:gd name="connsiteY13" fmla="*/ 15804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84" h="31230">
                  <a:moveTo>
                    <a:pt x="6371" y="15804"/>
                  </a:moveTo>
                  <a:cubicBezTo>
                    <a:pt x="3560" y="10932"/>
                    <a:pt x="1624" y="5685"/>
                    <a:pt x="0" y="438"/>
                  </a:cubicBezTo>
                  <a:cubicBezTo>
                    <a:pt x="375" y="-186"/>
                    <a:pt x="687" y="-124"/>
                    <a:pt x="999" y="501"/>
                  </a:cubicBezTo>
                  <a:lnTo>
                    <a:pt x="937" y="438"/>
                  </a:lnTo>
                  <a:cubicBezTo>
                    <a:pt x="3310" y="1937"/>
                    <a:pt x="3248" y="4811"/>
                    <a:pt x="5059" y="6622"/>
                  </a:cubicBezTo>
                  <a:cubicBezTo>
                    <a:pt x="7183" y="8996"/>
                    <a:pt x="8495" y="11869"/>
                    <a:pt x="10556" y="14242"/>
                  </a:cubicBezTo>
                  <a:cubicBezTo>
                    <a:pt x="11493" y="15491"/>
                    <a:pt x="12242" y="16803"/>
                    <a:pt x="12929" y="18177"/>
                  </a:cubicBezTo>
                  <a:cubicBezTo>
                    <a:pt x="13367" y="19426"/>
                    <a:pt x="14303" y="20301"/>
                    <a:pt x="15490" y="20988"/>
                  </a:cubicBezTo>
                  <a:cubicBezTo>
                    <a:pt x="16052" y="21363"/>
                    <a:pt x="16552" y="21800"/>
                    <a:pt x="17052" y="22300"/>
                  </a:cubicBezTo>
                  <a:cubicBezTo>
                    <a:pt x="18488" y="24298"/>
                    <a:pt x="19613" y="26547"/>
                    <a:pt x="22049" y="27796"/>
                  </a:cubicBezTo>
                  <a:cubicBezTo>
                    <a:pt x="23735" y="29420"/>
                    <a:pt x="26546" y="30482"/>
                    <a:pt x="25796" y="33418"/>
                  </a:cubicBezTo>
                  <a:cubicBezTo>
                    <a:pt x="25047" y="33730"/>
                    <a:pt x="24297" y="33730"/>
                    <a:pt x="23610" y="33230"/>
                  </a:cubicBezTo>
                  <a:cubicBezTo>
                    <a:pt x="23235" y="33230"/>
                    <a:pt x="22923" y="33168"/>
                    <a:pt x="22548" y="33105"/>
                  </a:cubicBezTo>
                  <a:cubicBezTo>
                    <a:pt x="16739" y="27671"/>
                    <a:pt x="10431" y="22612"/>
                    <a:pt x="6371" y="15804"/>
                  </a:cubicBezTo>
                  <a:close/>
                </a:path>
              </a:pathLst>
            </a:custGeom>
            <a:grpFill/>
            <a:ln w="6246" cap="flat">
              <a:noFill/>
              <a:prstDash val="solid"/>
              <a:miter/>
            </a:ln>
          </p:spPr>
          <p:txBody>
            <a:bodyPr rtlCol="0" anchor="ctr"/>
            <a:lstStyle/>
            <a:p>
              <a:endParaRPr lang="fr-FR" sz="2400"/>
            </a:p>
          </p:txBody>
        </p:sp>
        <p:sp>
          <p:nvSpPr>
            <p:cNvPr id="642" name="Freeform: Shape 641">
              <a:extLst>
                <a:ext uri="{FF2B5EF4-FFF2-40B4-BE49-F238E27FC236}">
                  <a16:creationId xmlns:a16="http://schemas.microsoft.com/office/drawing/2014/main" id="{6FADFECD-E70F-42CF-80AA-38A434ED8E73}"/>
                </a:ext>
              </a:extLst>
            </p:cNvPr>
            <p:cNvSpPr/>
            <p:nvPr/>
          </p:nvSpPr>
          <p:spPr>
            <a:xfrm>
              <a:off x="1209456" y="637523"/>
              <a:ext cx="18738" cy="6246"/>
            </a:xfrm>
            <a:custGeom>
              <a:avLst/>
              <a:gdLst>
                <a:gd name="connsiteX0" fmla="*/ 0 w 18738"/>
                <a:gd name="connsiteY0" fmla="*/ 3198 h 0"/>
                <a:gd name="connsiteX1" fmla="*/ 7808 w 18738"/>
                <a:gd name="connsiteY1" fmla="*/ 1699 h 0"/>
                <a:gd name="connsiteX2" fmla="*/ 20362 w 18738"/>
                <a:gd name="connsiteY2" fmla="*/ 4135 h 0"/>
                <a:gd name="connsiteX3" fmla="*/ 6496 w 18738"/>
                <a:gd name="connsiteY3" fmla="*/ 5696 h 0"/>
                <a:gd name="connsiteX4" fmla="*/ 0 w 18738"/>
                <a:gd name="connsiteY4" fmla="*/ 3198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a:moveTo>
                    <a:pt x="0" y="3198"/>
                  </a:moveTo>
                  <a:cubicBezTo>
                    <a:pt x="2124" y="699"/>
                    <a:pt x="3373" y="-1737"/>
                    <a:pt x="7808" y="1699"/>
                  </a:cubicBezTo>
                  <a:cubicBezTo>
                    <a:pt x="10743" y="3947"/>
                    <a:pt x="16240" y="2511"/>
                    <a:pt x="20362" y="4135"/>
                  </a:cubicBezTo>
                  <a:cubicBezTo>
                    <a:pt x="15553" y="3010"/>
                    <a:pt x="11368" y="6258"/>
                    <a:pt x="6496" y="5696"/>
                  </a:cubicBezTo>
                  <a:cubicBezTo>
                    <a:pt x="3810" y="5446"/>
                    <a:pt x="1749" y="4884"/>
                    <a:pt x="0" y="3198"/>
                  </a:cubicBezTo>
                  <a:close/>
                </a:path>
              </a:pathLst>
            </a:custGeom>
            <a:grpFill/>
            <a:ln w="6246" cap="flat">
              <a:noFill/>
              <a:prstDash val="solid"/>
              <a:miter/>
            </a:ln>
          </p:spPr>
          <p:txBody>
            <a:bodyPr rtlCol="0" anchor="ctr"/>
            <a:lstStyle/>
            <a:p>
              <a:endParaRPr lang="fr-FR" sz="2400"/>
            </a:p>
          </p:txBody>
        </p:sp>
        <p:sp>
          <p:nvSpPr>
            <p:cNvPr id="643" name="Freeform: Shape 642">
              <a:extLst>
                <a:ext uri="{FF2B5EF4-FFF2-40B4-BE49-F238E27FC236}">
                  <a16:creationId xmlns:a16="http://schemas.microsoft.com/office/drawing/2014/main" id="{3CB777F9-07B6-45E3-A646-D0FE408DA8BC}"/>
                </a:ext>
              </a:extLst>
            </p:cNvPr>
            <p:cNvSpPr/>
            <p:nvPr/>
          </p:nvSpPr>
          <p:spPr>
            <a:xfrm>
              <a:off x="1195652" y="632349"/>
              <a:ext cx="12492" cy="6246"/>
            </a:xfrm>
            <a:custGeom>
              <a:avLst/>
              <a:gdLst>
                <a:gd name="connsiteX0" fmla="*/ 11618 w 12492"/>
                <a:gd name="connsiteY0" fmla="*/ 3562 h 6246"/>
                <a:gd name="connsiteX1" fmla="*/ 11680 w 12492"/>
                <a:gd name="connsiteY1" fmla="*/ 6435 h 6246"/>
                <a:gd name="connsiteX2" fmla="*/ 9556 w 12492"/>
                <a:gd name="connsiteY2" fmla="*/ 6435 h 6246"/>
                <a:gd name="connsiteX3" fmla="*/ 3123 w 12492"/>
                <a:gd name="connsiteY3" fmla="*/ 4499 h 6246"/>
                <a:gd name="connsiteX4" fmla="*/ 0 w 12492"/>
                <a:gd name="connsiteY4" fmla="*/ 439 h 6246"/>
                <a:gd name="connsiteX5" fmla="*/ 2811 w 12492"/>
                <a:gd name="connsiteY5" fmla="*/ 314 h 6246"/>
                <a:gd name="connsiteX6" fmla="*/ 4122 w 12492"/>
                <a:gd name="connsiteY6" fmla="*/ 876 h 6246"/>
                <a:gd name="connsiteX7" fmla="*/ 11618 w 12492"/>
                <a:gd name="connsiteY7" fmla="*/ 3562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h="6246">
                  <a:moveTo>
                    <a:pt x="11618" y="3562"/>
                  </a:moveTo>
                  <a:cubicBezTo>
                    <a:pt x="13304" y="4499"/>
                    <a:pt x="14928" y="5436"/>
                    <a:pt x="11680" y="6435"/>
                  </a:cubicBezTo>
                  <a:cubicBezTo>
                    <a:pt x="10993" y="6497"/>
                    <a:pt x="10244" y="6435"/>
                    <a:pt x="9556" y="6435"/>
                  </a:cubicBezTo>
                  <a:cubicBezTo>
                    <a:pt x="6808" y="7434"/>
                    <a:pt x="5184" y="5373"/>
                    <a:pt x="3123" y="4499"/>
                  </a:cubicBezTo>
                  <a:cubicBezTo>
                    <a:pt x="2061" y="3124"/>
                    <a:pt x="1062" y="1813"/>
                    <a:pt x="0" y="439"/>
                  </a:cubicBezTo>
                  <a:cubicBezTo>
                    <a:pt x="874" y="-248"/>
                    <a:pt x="1874" y="1"/>
                    <a:pt x="2811" y="314"/>
                  </a:cubicBezTo>
                  <a:cubicBezTo>
                    <a:pt x="3248" y="439"/>
                    <a:pt x="3685" y="689"/>
                    <a:pt x="4122" y="876"/>
                  </a:cubicBezTo>
                  <a:cubicBezTo>
                    <a:pt x="6621" y="1625"/>
                    <a:pt x="8620" y="3812"/>
                    <a:pt x="11618" y="3562"/>
                  </a:cubicBezTo>
                  <a:close/>
                </a:path>
              </a:pathLst>
            </a:custGeom>
            <a:grpFill/>
            <a:ln w="6246" cap="flat">
              <a:noFill/>
              <a:prstDash val="solid"/>
              <a:miter/>
            </a:ln>
          </p:spPr>
          <p:txBody>
            <a:bodyPr rtlCol="0" anchor="ctr"/>
            <a:lstStyle/>
            <a:p>
              <a:endParaRPr lang="fr-FR" sz="2400"/>
            </a:p>
          </p:txBody>
        </p:sp>
        <p:sp>
          <p:nvSpPr>
            <p:cNvPr id="644" name="Freeform: Shape 643">
              <a:extLst>
                <a:ext uri="{FF2B5EF4-FFF2-40B4-BE49-F238E27FC236}">
                  <a16:creationId xmlns:a16="http://schemas.microsoft.com/office/drawing/2014/main" id="{64E0032C-1C4B-4483-A576-30BA282ADA76}"/>
                </a:ext>
              </a:extLst>
            </p:cNvPr>
            <p:cNvSpPr/>
            <p:nvPr/>
          </p:nvSpPr>
          <p:spPr>
            <a:xfrm>
              <a:off x="1205146" y="638081"/>
              <a:ext cx="6246" cy="6246"/>
            </a:xfrm>
            <a:custGeom>
              <a:avLst/>
              <a:gdLst>
                <a:gd name="connsiteX0" fmla="*/ 0 w 0"/>
                <a:gd name="connsiteY0" fmla="*/ 703 h 0"/>
                <a:gd name="connsiteX1" fmla="*/ 2124 w 0"/>
                <a:gd name="connsiteY1" fmla="*/ 703 h 0"/>
                <a:gd name="connsiteX2" fmla="*/ 3185 w 0"/>
                <a:gd name="connsiteY2" fmla="*/ 2639 h 0"/>
                <a:gd name="connsiteX3" fmla="*/ 0 w 0"/>
                <a:gd name="connsiteY3" fmla="*/ 703 h 0"/>
              </a:gdLst>
              <a:ahLst/>
              <a:cxnLst>
                <a:cxn ang="0">
                  <a:pos x="connsiteX0" y="connsiteY0"/>
                </a:cxn>
                <a:cxn ang="0">
                  <a:pos x="connsiteX1" y="connsiteY1"/>
                </a:cxn>
                <a:cxn ang="0">
                  <a:pos x="connsiteX2" y="connsiteY2"/>
                </a:cxn>
                <a:cxn ang="0">
                  <a:pos x="connsiteX3" y="connsiteY3"/>
                </a:cxn>
              </a:cxnLst>
              <a:rect l="l" t="t" r="r" b="b"/>
              <a:pathLst>
                <a:path>
                  <a:moveTo>
                    <a:pt x="0" y="703"/>
                  </a:moveTo>
                  <a:cubicBezTo>
                    <a:pt x="687" y="-234"/>
                    <a:pt x="1437" y="-234"/>
                    <a:pt x="2124" y="703"/>
                  </a:cubicBezTo>
                  <a:cubicBezTo>
                    <a:pt x="2498" y="1327"/>
                    <a:pt x="2811" y="2014"/>
                    <a:pt x="3185" y="2639"/>
                  </a:cubicBezTo>
                  <a:cubicBezTo>
                    <a:pt x="1686" y="2639"/>
                    <a:pt x="625" y="1952"/>
                    <a:pt x="0" y="703"/>
                  </a:cubicBezTo>
                  <a:close/>
                </a:path>
              </a:pathLst>
            </a:custGeom>
            <a:grpFill/>
            <a:ln w="6246" cap="flat">
              <a:noFill/>
              <a:prstDash val="solid"/>
              <a:miter/>
            </a:ln>
          </p:spPr>
          <p:txBody>
            <a:bodyPr rtlCol="0" anchor="ctr"/>
            <a:lstStyle/>
            <a:p>
              <a:endParaRPr lang="fr-FR" sz="2400"/>
            </a:p>
          </p:txBody>
        </p:sp>
        <p:sp>
          <p:nvSpPr>
            <p:cNvPr id="645" name="Freeform: Shape 644">
              <a:extLst>
                <a:ext uri="{FF2B5EF4-FFF2-40B4-BE49-F238E27FC236}">
                  <a16:creationId xmlns:a16="http://schemas.microsoft.com/office/drawing/2014/main" id="{878E4C2C-6839-4BAE-B6A1-3580BFAE7B94}"/>
                </a:ext>
              </a:extLst>
            </p:cNvPr>
            <p:cNvSpPr/>
            <p:nvPr/>
          </p:nvSpPr>
          <p:spPr>
            <a:xfrm>
              <a:off x="1235439" y="648517"/>
              <a:ext cx="6246" cy="6246"/>
            </a:xfrm>
            <a:custGeom>
              <a:avLst/>
              <a:gdLst>
                <a:gd name="connsiteX0" fmla="*/ 4997 w 0"/>
                <a:gd name="connsiteY0" fmla="*/ 761 h 0"/>
                <a:gd name="connsiteX1" fmla="*/ 0 w 0"/>
                <a:gd name="connsiteY1" fmla="*/ 761 h 0"/>
                <a:gd name="connsiteX2" fmla="*/ 4997 w 0"/>
                <a:gd name="connsiteY2" fmla="*/ 761 h 0"/>
              </a:gdLst>
              <a:ahLst/>
              <a:cxnLst>
                <a:cxn ang="0">
                  <a:pos x="connsiteX0" y="connsiteY0"/>
                </a:cxn>
                <a:cxn ang="0">
                  <a:pos x="connsiteX1" y="connsiteY1"/>
                </a:cxn>
                <a:cxn ang="0">
                  <a:pos x="connsiteX2" y="connsiteY2"/>
                </a:cxn>
              </a:cxnLst>
              <a:rect l="l" t="t" r="r" b="b"/>
              <a:pathLst>
                <a:path>
                  <a:moveTo>
                    <a:pt x="4997" y="761"/>
                  </a:moveTo>
                  <a:cubicBezTo>
                    <a:pt x="3373" y="761"/>
                    <a:pt x="1686" y="761"/>
                    <a:pt x="0" y="761"/>
                  </a:cubicBezTo>
                  <a:cubicBezTo>
                    <a:pt x="1749" y="11"/>
                    <a:pt x="3435" y="-488"/>
                    <a:pt x="4997" y="761"/>
                  </a:cubicBezTo>
                  <a:close/>
                </a:path>
              </a:pathLst>
            </a:custGeom>
            <a:grpFill/>
            <a:ln w="6246" cap="flat">
              <a:noFill/>
              <a:prstDash val="solid"/>
              <a:miter/>
            </a:ln>
          </p:spPr>
          <p:txBody>
            <a:bodyPr rtlCol="0" anchor="ctr"/>
            <a:lstStyle/>
            <a:p>
              <a:endParaRPr lang="fr-FR" sz="2400"/>
            </a:p>
          </p:txBody>
        </p:sp>
        <p:sp>
          <p:nvSpPr>
            <p:cNvPr id="646" name="Freeform: Shape 645">
              <a:extLst>
                <a:ext uri="{FF2B5EF4-FFF2-40B4-BE49-F238E27FC236}">
                  <a16:creationId xmlns:a16="http://schemas.microsoft.com/office/drawing/2014/main" id="{FEF76C0A-1DF5-4D51-9843-C510B230A920}"/>
                </a:ext>
              </a:extLst>
            </p:cNvPr>
            <p:cNvSpPr/>
            <p:nvPr/>
          </p:nvSpPr>
          <p:spPr>
            <a:xfrm>
              <a:off x="1251179" y="648466"/>
              <a:ext cx="6246" cy="6246"/>
            </a:xfrm>
            <a:custGeom>
              <a:avLst/>
              <a:gdLst>
                <a:gd name="connsiteX0" fmla="*/ 3248 w 6246"/>
                <a:gd name="connsiteY0" fmla="*/ 0 h 0"/>
                <a:gd name="connsiteX1" fmla="*/ 8557 w 6246"/>
                <a:gd name="connsiteY1" fmla="*/ 0 h 0"/>
                <a:gd name="connsiteX2" fmla="*/ 11555 w 6246"/>
                <a:gd name="connsiteY2" fmla="*/ 0 h 0"/>
                <a:gd name="connsiteX3" fmla="*/ 0 w 6246"/>
                <a:gd name="connsiteY3" fmla="*/ 999 h 0"/>
                <a:gd name="connsiteX4" fmla="*/ 3248 w 6246"/>
                <a:gd name="connsiteY4" fmla="*/ 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3248" y="0"/>
                  </a:moveTo>
                  <a:cubicBezTo>
                    <a:pt x="4997" y="0"/>
                    <a:pt x="6808" y="0"/>
                    <a:pt x="8557" y="0"/>
                  </a:cubicBezTo>
                  <a:cubicBezTo>
                    <a:pt x="9557" y="0"/>
                    <a:pt x="10556" y="0"/>
                    <a:pt x="11555" y="0"/>
                  </a:cubicBezTo>
                  <a:cubicBezTo>
                    <a:pt x="7745" y="1562"/>
                    <a:pt x="3997" y="3123"/>
                    <a:pt x="0" y="999"/>
                  </a:cubicBezTo>
                  <a:cubicBezTo>
                    <a:pt x="1187" y="937"/>
                    <a:pt x="2436" y="1062"/>
                    <a:pt x="3248" y="0"/>
                  </a:cubicBezTo>
                  <a:close/>
                </a:path>
              </a:pathLst>
            </a:custGeom>
            <a:grpFill/>
            <a:ln w="6246" cap="flat">
              <a:noFill/>
              <a:prstDash val="solid"/>
              <a:miter/>
            </a:ln>
          </p:spPr>
          <p:txBody>
            <a:bodyPr rtlCol="0" anchor="ctr"/>
            <a:lstStyle/>
            <a:p>
              <a:endParaRPr lang="fr-FR" sz="2400"/>
            </a:p>
          </p:txBody>
        </p:sp>
        <p:sp>
          <p:nvSpPr>
            <p:cNvPr id="647" name="Freeform: Shape 646">
              <a:extLst>
                <a:ext uri="{FF2B5EF4-FFF2-40B4-BE49-F238E27FC236}">
                  <a16:creationId xmlns:a16="http://schemas.microsoft.com/office/drawing/2014/main" id="{3EBE272A-CAA4-4ACE-9B2C-61E6013E7A5E}"/>
                </a:ext>
              </a:extLst>
            </p:cNvPr>
            <p:cNvSpPr/>
            <p:nvPr/>
          </p:nvSpPr>
          <p:spPr>
            <a:xfrm>
              <a:off x="1181661" y="623903"/>
              <a:ext cx="6246" cy="6246"/>
            </a:xfrm>
            <a:custGeom>
              <a:avLst/>
              <a:gdLst>
                <a:gd name="connsiteX0" fmla="*/ 0 w 6246"/>
                <a:gd name="connsiteY0" fmla="*/ 390 h 0"/>
                <a:gd name="connsiteX1" fmla="*/ 2186 w 6246"/>
                <a:gd name="connsiteY1" fmla="*/ 390 h 0"/>
                <a:gd name="connsiteX2" fmla="*/ 3435 w 6246"/>
                <a:gd name="connsiteY2" fmla="*/ 16 h 0"/>
                <a:gd name="connsiteX3" fmla="*/ 8182 w 6246"/>
                <a:gd name="connsiteY3" fmla="*/ 2764 h 0"/>
                <a:gd name="connsiteX4" fmla="*/ 9494 w 6246"/>
                <a:gd name="connsiteY4" fmla="*/ 6199 h 0"/>
                <a:gd name="connsiteX5" fmla="*/ 5309 w 6246"/>
                <a:gd name="connsiteY5" fmla="*/ 6199 h 0"/>
                <a:gd name="connsiteX6" fmla="*/ 0 w 6246"/>
                <a:gd name="connsiteY6" fmla="*/ 39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0" y="390"/>
                  </a:moveTo>
                  <a:cubicBezTo>
                    <a:pt x="749" y="390"/>
                    <a:pt x="1437" y="390"/>
                    <a:pt x="2186" y="390"/>
                  </a:cubicBezTo>
                  <a:cubicBezTo>
                    <a:pt x="2561" y="78"/>
                    <a:pt x="2998" y="-47"/>
                    <a:pt x="3435" y="16"/>
                  </a:cubicBezTo>
                  <a:cubicBezTo>
                    <a:pt x="5247" y="640"/>
                    <a:pt x="6746" y="1702"/>
                    <a:pt x="8182" y="2764"/>
                  </a:cubicBezTo>
                  <a:cubicBezTo>
                    <a:pt x="9057" y="3763"/>
                    <a:pt x="10431" y="4638"/>
                    <a:pt x="9494" y="6199"/>
                  </a:cubicBezTo>
                  <a:cubicBezTo>
                    <a:pt x="8120" y="6199"/>
                    <a:pt x="6683" y="6199"/>
                    <a:pt x="5309" y="6199"/>
                  </a:cubicBezTo>
                  <a:cubicBezTo>
                    <a:pt x="5059" y="3139"/>
                    <a:pt x="1874" y="2264"/>
                    <a:pt x="0" y="390"/>
                  </a:cubicBezTo>
                  <a:close/>
                </a:path>
              </a:pathLst>
            </a:custGeom>
            <a:grpFill/>
            <a:ln w="6246" cap="flat">
              <a:noFill/>
              <a:prstDash val="solid"/>
              <a:miter/>
            </a:ln>
          </p:spPr>
          <p:txBody>
            <a:bodyPr rtlCol="0" anchor="ctr"/>
            <a:lstStyle/>
            <a:p>
              <a:endParaRPr lang="fr-FR" sz="2400"/>
            </a:p>
          </p:txBody>
        </p:sp>
        <p:sp>
          <p:nvSpPr>
            <p:cNvPr id="648" name="Freeform: Shape 647">
              <a:extLst>
                <a:ext uri="{FF2B5EF4-FFF2-40B4-BE49-F238E27FC236}">
                  <a16:creationId xmlns:a16="http://schemas.microsoft.com/office/drawing/2014/main" id="{C0E599C3-B502-48EB-AD11-2C0E431D4C58}"/>
                </a:ext>
              </a:extLst>
            </p:cNvPr>
            <p:cNvSpPr/>
            <p:nvPr/>
          </p:nvSpPr>
          <p:spPr>
            <a:xfrm>
              <a:off x="1188401" y="623919"/>
              <a:ext cx="6246" cy="6246"/>
            </a:xfrm>
            <a:custGeom>
              <a:avLst/>
              <a:gdLst>
                <a:gd name="connsiteX0" fmla="*/ 2754 w 6246"/>
                <a:gd name="connsiteY0" fmla="*/ 6184 h 6246"/>
                <a:gd name="connsiteX1" fmla="*/ 630 w 6246"/>
                <a:gd name="connsiteY1" fmla="*/ 3498 h 6246"/>
                <a:gd name="connsiteX2" fmla="*/ 193 w 6246"/>
                <a:gd name="connsiteY2" fmla="*/ 687 h 6246"/>
                <a:gd name="connsiteX3" fmla="*/ 1442 w 6246"/>
                <a:gd name="connsiteY3" fmla="*/ 0 h 6246"/>
                <a:gd name="connsiteX4" fmla="*/ 5190 w 6246"/>
                <a:gd name="connsiteY4" fmla="*/ 3061 h 6246"/>
                <a:gd name="connsiteX5" fmla="*/ 6127 w 6246"/>
                <a:gd name="connsiteY5" fmla="*/ 4122 h 6246"/>
                <a:gd name="connsiteX6" fmla="*/ 6502 w 6246"/>
                <a:gd name="connsiteY6" fmla="*/ 6683 h 6246"/>
                <a:gd name="connsiteX7" fmla="*/ 6064 w 6246"/>
                <a:gd name="connsiteY7" fmla="*/ 7183 h 6246"/>
                <a:gd name="connsiteX8" fmla="*/ 2754 w 6246"/>
                <a:gd name="connsiteY8" fmla="*/ 618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6246">
                  <a:moveTo>
                    <a:pt x="2754" y="6184"/>
                  </a:moveTo>
                  <a:cubicBezTo>
                    <a:pt x="2067" y="5309"/>
                    <a:pt x="1380" y="4435"/>
                    <a:pt x="630" y="3498"/>
                  </a:cubicBezTo>
                  <a:cubicBezTo>
                    <a:pt x="131" y="2623"/>
                    <a:pt x="-244" y="1686"/>
                    <a:pt x="193" y="687"/>
                  </a:cubicBezTo>
                  <a:cubicBezTo>
                    <a:pt x="505" y="250"/>
                    <a:pt x="880" y="62"/>
                    <a:pt x="1442" y="0"/>
                  </a:cubicBezTo>
                  <a:cubicBezTo>
                    <a:pt x="2691" y="1062"/>
                    <a:pt x="3191" y="2811"/>
                    <a:pt x="5190" y="3061"/>
                  </a:cubicBezTo>
                  <a:cubicBezTo>
                    <a:pt x="5502" y="3435"/>
                    <a:pt x="5814" y="3748"/>
                    <a:pt x="6127" y="4122"/>
                  </a:cubicBezTo>
                  <a:cubicBezTo>
                    <a:pt x="6252" y="4997"/>
                    <a:pt x="6876" y="5746"/>
                    <a:pt x="6502" y="6683"/>
                  </a:cubicBezTo>
                  <a:cubicBezTo>
                    <a:pt x="6377" y="6871"/>
                    <a:pt x="6189" y="7058"/>
                    <a:pt x="6064" y="7183"/>
                  </a:cubicBezTo>
                  <a:cubicBezTo>
                    <a:pt x="4878" y="7245"/>
                    <a:pt x="3628" y="7245"/>
                    <a:pt x="2754" y="6184"/>
                  </a:cubicBezTo>
                  <a:close/>
                </a:path>
              </a:pathLst>
            </a:custGeom>
            <a:grpFill/>
            <a:ln w="6246" cap="flat">
              <a:noFill/>
              <a:prstDash val="solid"/>
              <a:miter/>
            </a:ln>
          </p:spPr>
          <p:txBody>
            <a:bodyPr rtlCol="0" anchor="ctr"/>
            <a:lstStyle/>
            <a:p>
              <a:endParaRPr lang="fr-FR" sz="2400"/>
            </a:p>
          </p:txBody>
        </p:sp>
        <p:sp>
          <p:nvSpPr>
            <p:cNvPr id="649" name="Freeform: Shape 648">
              <a:extLst>
                <a:ext uri="{FF2B5EF4-FFF2-40B4-BE49-F238E27FC236}">
                  <a16:creationId xmlns:a16="http://schemas.microsoft.com/office/drawing/2014/main" id="{D931AF86-DE36-40D5-B971-7A23C15113F7}"/>
                </a:ext>
              </a:extLst>
            </p:cNvPr>
            <p:cNvSpPr/>
            <p:nvPr/>
          </p:nvSpPr>
          <p:spPr>
            <a:xfrm>
              <a:off x="1194403" y="630666"/>
              <a:ext cx="6246" cy="6246"/>
            </a:xfrm>
            <a:custGeom>
              <a:avLst/>
              <a:gdLst>
                <a:gd name="connsiteX0" fmla="*/ 4372 w 0"/>
                <a:gd name="connsiteY0" fmla="*/ 3183 h 0"/>
                <a:gd name="connsiteX1" fmla="*/ 1187 w 0"/>
                <a:gd name="connsiteY1" fmla="*/ 2184 h 0"/>
                <a:gd name="connsiteX2" fmla="*/ 125 w 0"/>
                <a:gd name="connsiteY2" fmla="*/ 560 h 0"/>
                <a:gd name="connsiteX3" fmla="*/ 0 w 0"/>
                <a:gd name="connsiteY3" fmla="*/ 373 h 0"/>
                <a:gd name="connsiteX4" fmla="*/ 4372 w 0"/>
                <a:gd name="connsiteY4" fmla="*/ 318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372" y="3183"/>
                  </a:moveTo>
                  <a:cubicBezTo>
                    <a:pt x="3310" y="2871"/>
                    <a:pt x="2249" y="2496"/>
                    <a:pt x="1187" y="2184"/>
                  </a:cubicBezTo>
                  <a:cubicBezTo>
                    <a:pt x="812" y="1622"/>
                    <a:pt x="437" y="1122"/>
                    <a:pt x="125" y="560"/>
                  </a:cubicBezTo>
                  <a:cubicBezTo>
                    <a:pt x="125" y="560"/>
                    <a:pt x="0" y="373"/>
                    <a:pt x="0" y="373"/>
                  </a:cubicBezTo>
                  <a:cubicBezTo>
                    <a:pt x="2748" y="-377"/>
                    <a:pt x="4934" y="-252"/>
                    <a:pt x="4372" y="3183"/>
                  </a:cubicBezTo>
                  <a:close/>
                </a:path>
              </a:pathLst>
            </a:custGeom>
            <a:grpFill/>
            <a:ln w="6246" cap="flat">
              <a:noFill/>
              <a:prstDash val="solid"/>
              <a:miter/>
            </a:ln>
          </p:spPr>
          <p:txBody>
            <a:bodyPr rtlCol="0" anchor="ctr"/>
            <a:lstStyle/>
            <a:p>
              <a:endParaRPr lang="fr-FR" sz="2400"/>
            </a:p>
          </p:txBody>
        </p:sp>
        <p:sp>
          <p:nvSpPr>
            <p:cNvPr id="650" name="Freeform: Shape 649">
              <a:extLst>
                <a:ext uri="{FF2B5EF4-FFF2-40B4-BE49-F238E27FC236}">
                  <a16:creationId xmlns:a16="http://schemas.microsoft.com/office/drawing/2014/main" id="{2816AD2C-9EB1-4404-B25B-50E1E74EE358}"/>
                </a:ext>
              </a:extLst>
            </p:cNvPr>
            <p:cNvSpPr/>
            <p:nvPr/>
          </p:nvSpPr>
          <p:spPr>
            <a:xfrm>
              <a:off x="1148369" y="559522"/>
              <a:ext cx="6246" cy="31230"/>
            </a:xfrm>
            <a:custGeom>
              <a:avLst/>
              <a:gdLst>
                <a:gd name="connsiteX0" fmla="*/ 10681 w 6246"/>
                <a:gd name="connsiteY0" fmla="*/ 32042 h 31230"/>
                <a:gd name="connsiteX1" fmla="*/ 9681 w 6246"/>
                <a:gd name="connsiteY1" fmla="*/ 31980 h 31230"/>
                <a:gd name="connsiteX2" fmla="*/ 0 w 6246"/>
                <a:gd name="connsiteY2" fmla="*/ 0 h 31230"/>
                <a:gd name="connsiteX3" fmla="*/ 1686 w 6246"/>
                <a:gd name="connsiteY3" fmla="*/ 749 h 31230"/>
                <a:gd name="connsiteX4" fmla="*/ 10618 w 6246"/>
                <a:gd name="connsiteY4" fmla="*/ 31543 h 31230"/>
                <a:gd name="connsiteX5" fmla="*/ 10681 w 6246"/>
                <a:gd name="connsiteY5" fmla="*/ 32042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31230">
                  <a:moveTo>
                    <a:pt x="10681" y="32042"/>
                  </a:moveTo>
                  <a:cubicBezTo>
                    <a:pt x="10368" y="31980"/>
                    <a:pt x="9994" y="31980"/>
                    <a:pt x="9681" y="31980"/>
                  </a:cubicBezTo>
                  <a:cubicBezTo>
                    <a:pt x="4560" y="21799"/>
                    <a:pt x="937" y="11243"/>
                    <a:pt x="0" y="0"/>
                  </a:cubicBezTo>
                  <a:cubicBezTo>
                    <a:pt x="625" y="250"/>
                    <a:pt x="1686" y="500"/>
                    <a:pt x="1686" y="749"/>
                  </a:cubicBezTo>
                  <a:cubicBezTo>
                    <a:pt x="1874" y="11680"/>
                    <a:pt x="7370" y="21362"/>
                    <a:pt x="10618" y="31543"/>
                  </a:cubicBezTo>
                  <a:cubicBezTo>
                    <a:pt x="10743" y="31730"/>
                    <a:pt x="10681" y="31917"/>
                    <a:pt x="10681" y="32042"/>
                  </a:cubicBezTo>
                  <a:close/>
                </a:path>
              </a:pathLst>
            </a:custGeom>
            <a:grpFill/>
            <a:ln w="6246" cap="flat">
              <a:noFill/>
              <a:prstDash val="solid"/>
              <a:miter/>
            </a:ln>
          </p:spPr>
          <p:txBody>
            <a:bodyPr rtlCol="0" anchor="ctr"/>
            <a:lstStyle/>
            <a:p>
              <a:endParaRPr lang="fr-FR" sz="2400"/>
            </a:p>
          </p:txBody>
        </p:sp>
        <p:sp>
          <p:nvSpPr>
            <p:cNvPr id="651" name="Freeform: Shape 650">
              <a:extLst>
                <a:ext uri="{FF2B5EF4-FFF2-40B4-BE49-F238E27FC236}">
                  <a16:creationId xmlns:a16="http://schemas.microsoft.com/office/drawing/2014/main" id="{17E8EE5E-A14D-4DCE-B72B-18CD3F350952}"/>
                </a:ext>
              </a:extLst>
            </p:cNvPr>
            <p:cNvSpPr/>
            <p:nvPr/>
          </p:nvSpPr>
          <p:spPr>
            <a:xfrm>
              <a:off x="1162610" y="593188"/>
              <a:ext cx="6246" cy="12492"/>
            </a:xfrm>
            <a:custGeom>
              <a:avLst/>
              <a:gdLst>
                <a:gd name="connsiteX0" fmla="*/ 5059 w 6246"/>
                <a:gd name="connsiteY0" fmla="*/ 12804 h 12492"/>
                <a:gd name="connsiteX1" fmla="*/ 0 w 6246"/>
                <a:gd name="connsiteY1" fmla="*/ 4997 h 12492"/>
                <a:gd name="connsiteX2" fmla="*/ 874 w 6246"/>
                <a:gd name="connsiteY2" fmla="*/ 4060 h 12492"/>
                <a:gd name="connsiteX3" fmla="*/ 2936 w 6246"/>
                <a:gd name="connsiteY3" fmla="*/ 1249 h 12492"/>
                <a:gd name="connsiteX4" fmla="*/ 3123 w 6246"/>
                <a:gd name="connsiteY4" fmla="*/ 0 h 12492"/>
                <a:gd name="connsiteX5" fmla="*/ 6184 w 6246"/>
                <a:gd name="connsiteY5" fmla="*/ 5122 h 12492"/>
                <a:gd name="connsiteX6" fmla="*/ 8994 w 6246"/>
                <a:gd name="connsiteY6" fmla="*/ 9556 h 12492"/>
                <a:gd name="connsiteX7" fmla="*/ 6371 w 6246"/>
                <a:gd name="connsiteY7" fmla="*/ 13054 h 12492"/>
                <a:gd name="connsiteX8" fmla="*/ 5059 w 6246"/>
                <a:gd name="connsiteY8" fmla="*/ 1280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5059" y="12804"/>
                  </a:moveTo>
                  <a:cubicBezTo>
                    <a:pt x="2873" y="10431"/>
                    <a:pt x="937" y="7932"/>
                    <a:pt x="0" y="4997"/>
                  </a:cubicBezTo>
                  <a:cubicBezTo>
                    <a:pt x="125" y="4560"/>
                    <a:pt x="437" y="4247"/>
                    <a:pt x="874" y="4060"/>
                  </a:cubicBezTo>
                  <a:cubicBezTo>
                    <a:pt x="1562" y="3123"/>
                    <a:pt x="2249" y="2186"/>
                    <a:pt x="2936" y="1249"/>
                  </a:cubicBezTo>
                  <a:cubicBezTo>
                    <a:pt x="2998" y="812"/>
                    <a:pt x="3061" y="437"/>
                    <a:pt x="3123" y="0"/>
                  </a:cubicBezTo>
                  <a:cubicBezTo>
                    <a:pt x="4122" y="1686"/>
                    <a:pt x="5184" y="3435"/>
                    <a:pt x="6184" y="5122"/>
                  </a:cubicBezTo>
                  <a:cubicBezTo>
                    <a:pt x="7433" y="6433"/>
                    <a:pt x="8495" y="7808"/>
                    <a:pt x="8994" y="9556"/>
                  </a:cubicBezTo>
                  <a:cubicBezTo>
                    <a:pt x="8682" y="11056"/>
                    <a:pt x="6871" y="11618"/>
                    <a:pt x="6371" y="13054"/>
                  </a:cubicBezTo>
                  <a:cubicBezTo>
                    <a:pt x="5809" y="13179"/>
                    <a:pt x="5372" y="13117"/>
                    <a:pt x="5059" y="12804"/>
                  </a:cubicBezTo>
                  <a:close/>
                </a:path>
              </a:pathLst>
            </a:custGeom>
            <a:grpFill/>
            <a:ln w="6246" cap="flat">
              <a:noFill/>
              <a:prstDash val="solid"/>
              <a:miter/>
            </a:ln>
          </p:spPr>
          <p:txBody>
            <a:bodyPr rtlCol="0" anchor="ctr"/>
            <a:lstStyle/>
            <a:p>
              <a:endParaRPr lang="fr-FR" sz="2400"/>
            </a:p>
          </p:txBody>
        </p:sp>
        <p:sp>
          <p:nvSpPr>
            <p:cNvPr id="652" name="Freeform: Shape 651">
              <a:extLst>
                <a:ext uri="{FF2B5EF4-FFF2-40B4-BE49-F238E27FC236}">
                  <a16:creationId xmlns:a16="http://schemas.microsoft.com/office/drawing/2014/main" id="{76EAF221-EDE3-44C4-A2B5-B47A7E70D530}"/>
                </a:ext>
              </a:extLst>
            </p:cNvPr>
            <p:cNvSpPr/>
            <p:nvPr/>
          </p:nvSpPr>
          <p:spPr>
            <a:xfrm>
              <a:off x="1158988" y="591564"/>
              <a:ext cx="6246" cy="6246"/>
            </a:xfrm>
            <a:custGeom>
              <a:avLst/>
              <a:gdLst>
                <a:gd name="connsiteX0" fmla="*/ 4435 w 0"/>
                <a:gd name="connsiteY0" fmla="*/ 5684 h 6246"/>
                <a:gd name="connsiteX1" fmla="*/ 3560 w 0"/>
                <a:gd name="connsiteY1" fmla="*/ 6621 h 6246"/>
                <a:gd name="connsiteX2" fmla="*/ 0 w 0"/>
                <a:gd name="connsiteY2" fmla="*/ 0 h 6246"/>
                <a:gd name="connsiteX3" fmla="*/ 4435 w 0"/>
                <a:gd name="connsiteY3" fmla="*/ 5684 h 6246"/>
              </a:gdLst>
              <a:ahLst/>
              <a:cxnLst>
                <a:cxn ang="0">
                  <a:pos x="connsiteX0" y="connsiteY0"/>
                </a:cxn>
                <a:cxn ang="0">
                  <a:pos x="connsiteX1" y="connsiteY1"/>
                </a:cxn>
                <a:cxn ang="0">
                  <a:pos x="connsiteX2" y="connsiteY2"/>
                </a:cxn>
                <a:cxn ang="0">
                  <a:pos x="connsiteX3" y="connsiteY3"/>
                </a:cxn>
              </a:cxnLst>
              <a:rect l="l" t="t" r="r" b="b"/>
              <a:pathLst>
                <a:path h="6246">
                  <a:moveTo>
                    <a:pt x="4435" y="5684"/>
                  </a:moveTo>
                  <a:cubicBezTo>
                    <a:pt x="4122" y="5996"/>
                    <a:pt x="3810" y="6309"/>
                    <a:pt x="3560" y="6621"/>
                  </a:cubicBezTo>
                  <a:cubicBezTo>
                    <a:pt x="2249" y="4497"/>
                    <a:pt x="562" y="2498"/>
                    <a:pt x="0" y="0"/>
                  </a:cubicBezTo>
                  <a:cubicBezTo>
                    <a:pt x="3935" y="312"/>
                    <a:pt x="2873" y="3873"/>
                    <a:pt x="4435" y="5684"/>
                  </a:cubicBezTo>
                  <a:close/>
                </a:path>
              </a:pathLst>
            </a:custGeom>
            <a:grpFill/>
            <a:ln w="6246" cap="flat">
              <a:noFill/>
              <a:prstDash val="solid"/>
              <a:miter/>
            </a:ln>
          </p:spPr>
          <p:txBody>
            <a:bodyPr rtlCol="0" anchor="ctr"/>
            <a:lstStyle/>
            <a:p>
              <a:endParaRPr lang="fr-FR" sz="2400"/>
            </a:p>
          </p:txBody>
        </p:sp>
        <p:sp>
          <p:nvSpPr>
            <p:cNvPr id="653" name="Freeform: Shape 652">
              <a:extLst>
                <a:ext uri="{FF2B5EF4-FFF2-40B4-BE49-F238E27FC236}">
                  <a16:creationId xmlns:a16="http://schemas.microsoft.com/office/drawing/2014/main" id="{A97BBABD-1773-45D0-9476-8155390DE3B4}"/>
                </a:ext>
              </a:extLst>
            </p:cNvPr>
            <p:cNvSpPr/>
            <p:nvPr/>
          </p:nvSpPr>
          <p:spPr>
            <a:xfrm>
              <a:off x="1168731" y="597812"/>
              <a:ext cx="12492" cy="18738"/>
            </a:xfrm>
            <a:custGeom>
              <a:avLst/>
              <a:gdLst>
                <a:gd name="connsiteX0" fmla="*/ 2311 w 12492"/>
                <a:gd name="connsiteY0" fmla="*/ 5057 h 18738"/>
                <a:gd name="connsiteX1" fmla="*/ 0 w 12492"/>
                <a:gd name="connsiteY1" fmla="*/ 497 h 18738"/>
                <a:gd name="connsiteX2" fmla="*/ 1999 w 12492"/>
                <a:gd name="connsiteY2" fmla="*/ 935 h 18738"/>
                <a:gd name="connsiteX3" fmla="*/ 3310 w 12492"/>
                <a:gd name="connsiteY3" fmla="*/ 373 h 18738"/>
                <a:gd name="connsiteX4" fmla="*/ 16115 w 12492"/>
                <a:gd name="connsiteY4" fmla="*/ 16800 h 18738"/>
                <a:gd name="connsiteX5" fmla="*/ 15240 w 12492"/>
                <a:gd name="connsiteY5" fmla="*/ 19985 h 18738"/>
                <a:gd name="connsiteX6" fmla="*/ 12992 w 12492"/>
                <a:gd name="connsiteY6" fmla="*/ 20173 h 18738"/>
                <a:gd name="connsiteX7" fmla="*/ 7558 w 12492"/>
                <a:gd name="connsiteY7" fmla="*/ 14614 h 18738"/>
                <a:gd name="connsiteX8" fmla="*/ 2311 w 12492"/>
                <a:gd name="connsiteY8" fmla="*/ 5057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18738">
                  <a:moveTo>
                    <a:pt x="2311" y="5057"/>
                  </a:moveTo>
                  <a:cubicBezTo>
                    <a:pt x="1124" y="3683"/>
                    <a:pt x="0" y="2309"/>
                    <a:pt x="0" y="497"/>
                  </a:cubicBezTo>
                  <a:cubicBezTo>
                    <a:pt x="937" y="-564"/>
                    <a:pt x="1437" y="310"/>
                    <a:pt x="1999" y="935"/>
                  </a:cubicBezTo>
                  <a:cubicBezTo>
                    <a:pt x="3310" y="2434"/>
                    <a:pt x="3123" y="1060"/>
                    <a:pt x="3310" y="373"/>
                  </a:cubicBezTo>
                  <a:cubicBezTo>
                    <a:pt x="6371" y="6619"/>
                    <a:pt x="11555" y="11553"/>
                    <a:pt x="16115" y="16800"/>
                  </a:cubicBezTo>
                  <a:cubicBezTo>
                    <a:pt x="16677" y="18049"/>
                    <a:pt x="16302" y="19111"/>
                    <a:pt x="15240" y="19985"/>
                  </a:cubicBezTo>
                  <a:cubicBezTo>
                    <a:pt x="14491" y="20360"/>
                    <a:pt x="13741" y="20422"/>
                    <a:pt x="12992" y="20173"/>
                  </a:cubicBezTo>
                  <a:cubicBezTo>
                    <a:pt x="10431" y="18923"/>
                    <a:pt x="9556" y="16300"/>
                    <a:pt x="7558" y="14614"/>
                  </a:cubicBezTo>
                  <a:cubicBezTo>
                    <a:pt x="5247" y="11678"/>
                    <a:pt x="2873" y="8742"/>
                    <a:pt x="2311" y="5057"/>
                  </a:cubicBezTo>
                  <a:close/>
                </a:path>
              </a:pathLst>
            </a:custGeom>
            <a:grpFill/>
            <a:ln w="6246" cap="flat">
              <a:noFill/>
              <a:prstDash val="solid"/>
              <a:miter/>
            </a:ln>
          </p:spPr>
          <p:txBody>
            <a:bodyPr rtlCol="0" anchor="ctr"/>
            <a:lstStyle/>
            <a:p>
              <a:endParaRPr lang="fr-FR" sz="2400"/>
            </a:p>
          </p:txBody>
        </p:sp>
        <p:sp>
          <p:nvSpPr>
            <p:cNvPr id="654" name="Freeform: Shape 653">
              <a:extLst>
                <a:ext uri="{FF2B5EF4-FFF2-40B4-BE49-F238E27FC236}">
                  <a16:creationId xmlns:a16="http://schemas.microsoft.com/office/drawing/2014/main" id="{794456D2-5B08-4312-964F-A82D53719791}"/>
                </a:ext>
              </a:extLst>
            </p:cNvPr>
            <p:cNvSpPr/>
            <p:nvPr/>
          </p:nvSpPr>
          <p:spPr>
            <a:xfrm>
              <a:off x="1183599" y="614674"/>
              <a:ext cx="6246" cy="6246"/>
            </a:xfrm>
            <a:custGeom>
              <a:avLst/>
              <a:gdLst>
                <a:gd name="connsiteX0" fmla="*/ 123 w 6246"/>
                <a:gd name="connsiteY0" fmla="*/ 2998 h 6246"/>
                <a:gd name="connsiteX1" fmla="*/ 1248 w 6246"/>
                <a:gd name="connsiteY1" fmla="*/ 0 h 6246"/>
                <a:gd name="connsiteX2" fmla="*/ 7619 w 6246"/>
                <a:gd name="connsiteY2" fmla="*/ 9806 h 6246"/>
                <a:gd name="connsiteX3" fmla="*/ 6557 w 6246"/>
                <a:gd name="connsiteY3" fmla="*/ 9869 h 6246"/>
                <a:gd name="connsiteX4" fmla="*/ 5620 w 6246"/>
                <a:gd name="connsiteY4" fmla="*/ 9556 h 6246"/>
                <a:gd name="connsiteX5" fmla="*/ 4433 w 6246"/>
                <a:gd name="connsiteY5" fmla="*/ 8994 h 6246"/>
                <a:gd name="connsiteX6" fmla="*/ 1622 w 6246"/>
                <a:gd name="connsiteY6" fmla="*/ 6371 h 6246"/>
                <a:gd name="connsiteX7" fmla="*/ 123 w 6246"/>
                <a:gd name="connsiteY7" fmla="*/ 2998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123" y="2998"/>
                  </a:moveTo>
                  <a:cubicBezTo>
                    <a:pt x="498" y="1999"/>
                    <a:pt x="873" y="999"/>
                    <a:pt x="1248" y="0"/>
                  </a:cubicBezTo>
                  <a:cubicBezTo>
                    <a:pt x="4870" y="2498"/>
                    <a:pt x="9430" y="4435"/>
                    <a:pt x="7619" y="9806"/>
                  </a:cubicBezTo>
                  <a:cubicBezTo>
                    <a:pt x="7306" y="10181"/>
                    <a:pt x="6931" y="10181"/>
                    <a:pt x="6557" y="9869"/>
                  </a:cubicBezTo>
                  <a:cubicBezTo>
                    <a:pt x="6244" y="9681"/>
                    <a:pt x="5932" y="9619"/>
                    <a:pt x="5620" y="9556"/>
                  </a:cubicBezTo>
                  <a:cubicBezTo>
                    <a:pt x="5183" y="9432"/>
                    <a:pt x="4808" y="9244"/>
                    <a:pt x="4433" y="8994"/>
                  </a:cubicBezTo>
                  <a:cubicBezTo>
                    <a:pt x="3496" y="8120"/>
                    <a:pt x="2559" y="7245"/>
                    <a:pt x="1622" y="6371"/>
                  </a:cubicBezTo>
                  <a:cubicBezTo>
                    <a:pt x="748" y="5309"/>
                    <a:pt x="-376" y="4435"/>
                    <a:pt x="123" y="2998"/>
                  </a:cubicBezTo>
                  <a:close/>
                </a:path>
              </a:pathLst>
            </a:custGeom>
            <a:grpFill/>
            <a:ln w="6246" cap="flat">
              <a:noFill/>
              <a:prstDash val="solid"/>
              <a:miter/>
            </a:ln>
          </p:spPr>
          <p:txBody>
            <a:bodyPr rtlCol="0" anchor="ctr"/>
            <a:lstStyle/>
            <a:p>
              <a:endParaRPr lang="fr-FR" sz="2400"/>
            </a:p>
          </p:txBody>
        </p:sp>
        <p:sp>
          <p:nvSpPr>
            <p:cNvPr id="655" name="Freeform: Shape 654">
              <a:extLst>
                <a:ext uri="{FF2B5EF4-FFF2-40B4-BE49-F238E27FC236}">
                  <a16:creationId xmlns:a16="http://schemas.microsoft.com/office/drawing/2014/main" id="{4502D164-59F0-411E-A59A-E3098EEDCA00}"/>
                </a:ext>
              </a:extLst>
            </p:cNvPr>
            <p:cNvSpPr/>
            <p:nvPr/>
          </p:nvSpPr>
          <p:spPr>
            <a:xfrm>
              <a:off x="1194041" y="628166"/>
              <a:ext cx="6246" cy="6246"/>
            </a:xfrm>
            <a:custGeom>
              <a:avLst/>
              <a:gdLst>
                <a:gd name="connsiteX0" fmla="*/ 4734 w 6246"/>
                <a:gd name="connsiteY0" fmla="*/ 5684 h 0"/>
                <a:gd name="connsiteX1" fmla="*/ 362 w 6246"/>
                <a:gd name="connsiteY1" fmla="*/ 2811 h 0"/>
                <a:gd name="connsiteX2" fmla="*/ 549 w 6246"/>
                <a:gd name="connsiteY2" fmla="*/ 0 h 0"/>
                <a:gd name="connsiteX3" fmla="*/ 6733 w 6246"/>
                <a:gd name="connsiteY3" fmla="*/ 3935 h 0"/>
                <a:gd name="connsiteX4" fmla="*/ 4672 w 6246"/>
                <a:gd name="connsiteY4" fmla="*/ 5871 h 0"/>
                <a:gd name="connsiteX5" fmla="*/ 4734 w 6246"/>
                <a:gd name="connsiteY5" fmla="*/ 5684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4734" y="5684"/>
                  </a:moveTo>
                  <a:cubicBezTo>
                    <a:pt x="4235" y="3498"/>
                    <a:pt x="2236" y="3248"/>
                    <a:pt x="362" y="2811"/>
                  </a:cubicBezTo>
                  <a:cubicBezTo>
                    <a:pt x="737" y="1874"/>
                    <a:pt x="-762" y="874"/>
                    <a:pt x="549" y="0"/>
                  </a:cubicBezTo>
                  <a:cubicBezTo>
                    <a:pt x="2923" y="937"/>
                    <a:pt x="5171" y="1999"/>
                    <a:pt x="6733" y="3935"/>
                  </a:cubicBezTo>
                  <a:cubicBezTo>
                    <a:pt x="7170" y="5559"/>
                    <a:pt x="6421" y="6121"/>
                    <a:pt x="4672" y="5871"/>
                  </a:cubicBezTo>
                  <a:lnTo>
                    <a:pt x="4734" y="5684"/>
                  </a:lnTo>
                  <a:close/>
                </a:path>
              </a:pathLst>
            </a:custGeom>
            <a:grpFill/>
            <a:ln w="6246" cap="flat">
              <a:noFill/>
              <a:prstDash val="solid"/>
              <a:miter/>
            </a:ln>
          </p:spPr>
          <p:txBody>
            <a:bodyPr rtlCol="0" anchor="ctr"/>
            <a:lstStyle/>
            <a:p>
              <a:endParaRPr lang="fr-FR" sz="2400"/>
            </a:p>
          </p:txBody>
        </p:sp>
        <p:sp>
          <p:nvSpPr>
            <p:cNvPr id="656" name="Freeform: Shape 655">
              <a:extLst>
                <a:ext uri="{FF2B5EF4-FFF2-40B4-BE49-F238E27FC236}">
                  <a16:creationId xmlns:a16="http://schemas.microsoft.com/office/drawing/2014/main" id="{E09EE34D-49B3-4472-9A45-8D1355294081}"/>
                </a:ext>
              </a:extLst>
            </p:cNvPr>
            <p:cNvSpPr/>
            <p:nvPr/>
          </p:nvSpPr>
          <p:spPr>
            <a:xfrm>
              <a:off x="1198713" y="632101"/>
              <a:ext cx="6246" cy="6246"/>
            </a:xfrm>
            <a:custGeom>
              <a:avLst/>
              <a:gdLst>
                <a:gd name="connsiteX0" fmla="*/ 0 w 6246"/>
                <a:gd name="connsiteY0" fmla="*/ 1936 h 0"/>
                <a:gd name="connsiteX1" fmla="*/ 2061 w 6246"/>
                <a:gd name="connsiteY1" fmla="*/ 0 h 0"/>
                <a:gd name="connsiteX2" fmla="*/ 8557 w 6246"/>
                <a:gd name="connsiteY2" fmla="*/ 3810 h 0"/>
                <a:gd name="connsiteX3" fmla="*/ 0 w 6246"/>
                <a:gd name="connsiteY3" fmla="*/ 1936 h 0"/>
              </a:gdLst>
              <a:ahLst/>
              <a:cxnLst>
                <a:cxn ang="0">
                  <a:pos x="connsiteX0" y="connsiteY0"/>
                </a:cxn>
                <a:cxn ang="0">
                  <a:pos x="connsiteX1" y="connsiteY1"/>
                </a:cxn>
                <a:cxn ang="0">
                  <a:pos x="connsiteX2" y="connsiteY2"/>
                </a:cxn>
                <a:cxn ang="0">
                  <a:pos x="connsiteX3" y="connsiteY3"/>
                </a:cxn>
              </a:cxnLst>
              <a:rect l="l" t="t" r="r" b="b"/>
              <a:pathLst>
                <a:path w="6246">
                  <a:moveTo>
                    <a:pt x="0" y="1936"/>
                  </a:moveTo>
                  <a:cubicBezTo>
                    <a:pt x="937" y="1499"/>
                    <a:pt x="1749" y="999"/>
                    <a:pt x="2061" y="0"/>
                  </a:cubicBezTo>
                  <a:cubicBezTo>
                    <a:pt x="4247" y="1249"/>
                    <a:pt x="6371" y="2561"/>
                    <a:pt x="8557" y="3810"/>
                  </a:cubicBezTo>
                  <a:cubicBezTo>
                    <a:pt x="5184" y="5059"/>
                    <a:pt x="2748" y="2998"/>
                    <a:pt x="0" y="1936"/>
                  </a:cubicBezTo>
                  <a:close/>
                </a:path>
              </a:pathLst>
            </a:custGeom>
            <a:grpFill/>
            <a:ln w="6246" cap="flat">
              <a:noFill/>
              <a:prstDash val="solid"/>
              <a:miter/>
            </a:ln>
          </p:spPr>
          <p:txBody>
            <a:bodyPr rtlCol="0" anchor="ctr"/>
            <a:lstStyle/>
            <a:p>
              <a:endParaRPr lang="fr-FR" sz="2400"/>
            </a:p>
          </p:txBody>
        </p:sp>
        <p:sp>
          <p:nvSpPr>
            <p:cNvPr id="657" name="Freeform: Shape 656">
              <a:extLst>
                <a:ext uri="{FF2B5EF4-FFF2-40B4-BE49-F238E27FC236}">
                  <a16:creationId xmlns:a16="http://schemas.microsoft.com/office/drawing/2014/main" id="{457D46A5-B1F7-4438-B355-7D040860D00E}"/>
                </a:ext>
              </a:extLst>
            </p:cNvPr>
            <p:cNvSpPr/>
            <p:nvPr/>
          </p:nvSpPr>
          <p:spPr>
            <a:xfrm>
              <a:off x="1190148" y="624418"/>
              <a:ext cx="6246" cy="6246"/>
            </a:xfrm>
            <a:custGeom>
              <a:avLst/>
              <a:gdLst>
                <a:gd name="connsiteX0" fmla="*/ 8 w 0"/>
                <a:gd name="connsiteY0" fmla="*/ 62 h 0"/>
                <a:gd name="connsiteX1" fmla="*/ 1070 w 0"/>
                <a:gd name="connsiteY1" fmla="*/ 0 h 0"/>
                <a:gd name="connsiteX2" fmla="*/ 3506 w 0"/>
                <a:gd name="connsiteY2" fmla="*/ 2623 h 0"/>
                <a:gd name="connsiteX3" fmla="*/ 8 w 0"/>
                <a:gd name="connsiteY3" fmla="*/ 62 h 0"/>
              </a:gdLst>
              <a:ahLst/>
              <a:cxnLst>
                <a:cxn ang="0">
                  <a:pos x="connsiteX0" y="connsiteY0"/>
                </a:cxn>
                <a:cxn ang="0">
                  <a:pos x="connsiteX1" y="connsiteY1"/>
                </a:cxn>
                <a:cxn ang="0">
                  <a:pos x="connsiteX2" y="connsiteY2"/>
                </a:cxn>
                <a:cxn ang="0">
                  <a:pos x="connsiteX3" y="connsiteY3"/>
                </a:cxn>
              </a:cxnLst>
              <a:rect l="l" t="t" r="r" b="b"/>
              <a:pathLst>
                <a:path>
                  <a:moveTo>
                    <a:pt x="8" y="62"/>
                  </a:moveTo>
                  <a:cubicBezTo>
                    <a:pt x="383" y="62"/>
                    <a:pt x="695" y="0"/>
                    <a:pt x="1070" y="0"/>
                  </a:cubicBezTo>
                  <a:cubicBezTo>
                    <a:pt x="1882" y="874"/>
                    <a:pt x="2694" y="1749"/>
                    <a:pt x="3506" y="2623"/>
                  </a:cubicBezTo>
                  <a:cubicBezTo>
                    <a:pt x="1257" y="2998"/>
                    <a:pt x="-117" y="2311"/>
                    <a:pt x="8" y="62"/>
                  </a:cubicBezTo>
                  <a:close/>
                </a:path>
              </a:pathLst>
            </a:custGeom>
            <a:grpFill/>
            <a:ln w="6246" cap="flat">
              <a:noFill/>
              <a:prstDash val="solid"/>
              <a:miter/>
            </a:ln>
          </p:spPr>
          <p:txBody>
            <a:bodyPr rtlCol="0" anchor="ctr"/>
            <a:lstStyle/>
            <a:p>
              <a:endParaRPr lang="fr-FR" sz="2400"/>
            </a:p>
          </p:txBody>
        </p:sp>
        <p:sp>
          <p:nvSpPr>
            <p:cNvPr id="658" name="Freeform: Shape 657">
              <a:extLst>
                <a:ext uri="{FF2B5EF4-FFF2-40B4-BE49-F238E27FC236}">
                  <a16:creationId xmlns:a16="http://schemas.microsoft.com/office/drawing/2014/main" id="{7EB78C72-D2EA-4B10-9B19-A20F71B02A90}"/>
                </a:ext>
              </a:extLst>
            </p:cNvPr>
            <p:cNvSpPr/>
            <p:nvPr/>
          </p:nvSpPr>
          <p:spPr>
            <a:xfrm>
              <a:off x="1227725" y="521334"/>
              <a:ext cx="112429" cy="74953"/>
            </a:xfrm>
            <a:custGeom>
              <a:avLst/>
              <a:gdLst>
                <a:gd name="connsiteX0" fmla="*/ 57682 w 112429"/>
                <a:gd name="connsiteY0" fmla="*/ 65233 h 74952"/>
                <a:gd name="connsiteX1" fmla="*/ 57682 w 112429"/>
                <a:gd name="connsiteY1" fmla="*/ 63297 h 74952"/>
                <a:gd name="connsiteX2" fmla="*/ 60556 w 112429"/>
                <a:gd name="connsiteY2" fmla="*/ 61423 h 74952"/>
                <a:gd name="connsiteX3" fmla="*/ 66364 w 112429"/>
                <a:gd name="connsiteY3" fmla="*/ 61048 h 74952"/>
                <a:gd name="connsiteX4" fmla="*/ 42692 w 112429"/>
                <a:gd name="connsiteY4" fmla="*/ 61360 h 74952"/>
                <a:gd name="connsiteX5" fmla="*/ 39506 w 112429"/>
                <a:gd name="connsiteY5" fmla="*/ 61360 h 74952"/>
                <a:gd name="connsiteX6" fmla="*/ 20956 w 112429"/>
                <a:gd name="connsiteY6" fmla="*/ 49368 h 74952"/>
                <a:gd name="connsiteX7" fmla="*/ 15896 w 112429"/>
                <a:gd name="connsiteY7" fmla="*/ 47807 h 74952"/>
                <a:gd name="connsiteX8" fmla="*/ 13835 w 112429"/>
                <a:gd name="connsiteY8" fmla="*/ 45933 h 74952"/>
                <a:gd name="connsiteX9" fmla="*/ 9525 w 112429"/>
                <a:gd name="connsiteY9" fmla="*/ 41123 h 74952"/>
                <a:gd name="connsiteX10" fmla="*/ 8463 w 112429"/>
                <a:gd name="connsiteY10" fmla="*/ 40186 h 74952"/>
                <a:gd name="connsiteX11" fmla="*/ 531 w 112429"/>
                <a:gd name="connsiteY11" fmla="*/ 31254 h 74952"/>
                <a:gd name="connsiteX12" fmla="*/ 593 w 112429"/>
                <a:gd name="connsiteY12" fmla="*/ 29193 h 74952"/>
                <a:gd name="connsiteX13" fmla="*/ 4216 w 112429"/>
                <a:gd name="connsiteY13" fmla="*/ 23759 h 74952"/>
                <a:gd name="connsiteX14" fmla="*/ 16021 w 112429"/>
                <a:gd name="connsiteY14" fmla="*/ 23259 h 74952"/>
                <a:gd name="connsiteX15" fmla="*/ 19456 w 112429"/>
                <a:gd name="connsiteY15" fmla="*/ 18950 h 74952"/>
                <a:gd name="connsiteX16" fmla="*/ 24453 w 112429"/>
                <a:gd name="connsiteY16" fmla="*/ 5833 h 74952"/>
                <a:gd name="connsiteX17" fmla="*/ 32573 w 112429"/>
                <a:gd name="connsiteY17" fmla="*/ 524 h 74952"/>
                <a:gd name="connsiteX18" fmla="*/ 37008 w 112429"/>
                <a:gd name="connsiteY18" fmla="*/ 2585 h 74952"/>
                <a:gd name="connsiteX19" fmla="*/ 34197 w 112429"/>
                <a:gd name="connsiteY19" fmla="*/ 7332 h 74952"/>
                <a:gd name="connsiteX20" fmla="*/ 32573 w 112429"/>
                <a:gd name="connsiteY20" fmla="*/ 9955 h 74952"/>
                <a:gd name="connsiteX21" fmla="*/ 41318 w 112429"/>
                <a:gd name="connsiteY21" fmla="*/ 6333 h 74952"/>
                <a:gd name="connsiteX22" fmla="*/ 30387 w 112429"/>
                <a:gd name="connsiteY22" fmla="*/ 28756 h 74952"/>
                <a:gd name="connsiteX23" fmla="*/ 31324 w 112429"/>
                <a:gd name="connsiteY23" fmla="*/ 31317 h 74952"/>
                <a:gd name="connsiteX24" fmla="*/ 43816 w 112429"/>
                <a:gd name="connsiteY24" fmla="*/ 39312 h 74952"/>
                <a:gd name="connsiteX25" fmla="*/ 45253 w 112429"/>
                <a:gd name="connsiteY25" fmla="*/ 41623 h 74952"/>
                <a:gd name="connsiteX26" fmla="*/ 42192 w 112429"/>
                <a:gd name="connsiteY26" fmla="*/ 42935 h 74952"/>
                <a:gd name="connsiteX27" fmla="*/ 33697 w 112429"/>
                <a:gd name="connsiteY27" fmla="*/ 40249 h 74952"/>
                <a:gd name="connsiteX28" fmla="*/ 22455 w 112429"/>
                <a:gd name="connsiteY28" fmla="*/ 37313 h 74952"/>
                <a:gd name="connsiteX29" fmla="*/ 16458 w 112429"/>
                <a:gd name="connsiteY29" fmla="*/ 33191 h 74952"/>
                <a:gd name="connsiteX30" fmla="*/ 39506 w 112429"/>
                <a:gd name="connsiteY30" fmla="*/ 49056 h 74952"/>
                <a:gd name="connsiteX31" fmla="*/ 68613 w 112429"/>
                <a:gd name="connsiteY31" fmla="*/ 49118 h 74952"/>
                <a:gd name="connsiteX32" fmla="*/ 62554 w 112429"/>
                <a:gd name="connsiteY32" fmla="*/ 48369 h 74952"/>
                <a:gd name="connsiteX33" fmla="*/ 57745 w 112429"/>
                <a:gd name="connsiteY33" fmla="*/ 44184 h 74952"/>
                <a:gd name="connsiteX34" fmla="*/ 66864 w 112429"/>
                <a:gd name="connsiteY34" fmla="*/ 43559 h 74952"/>
                <a:gd name="connsiteX35" fmla="*/ 69550 w 112429"/>
                <a:gd name="connsiteY35" fmla="*/ 40311 h 74952"/>
                <a:gd name="connsiteX36" fmla="*/ 70487 w 112429"/>
                <a:gd name="connsiteY36" fmla="*/ 37500 h 74952"/>
                <a:gd name="connsiteX37" fmla="*/ 68426 w 112429"/>
                <a:gd name="connsiteY37" fmla="*/ 41311 h 74952"/>
                <a:gd name="connsiteX38" fmla="*/ 49563 w 112429"/>
                <a:gd name="connsiteY38" fmla="*/ 39249 h 74952"/>
                <a:gd name="connsiteX39" fmla="*/ 46002 w 112429"/>
                <a:gd name="connsiteY39" fmla="*/ 35502 h 74952"/>
                <a:gd name="connsiteX40" fmla="*/ 53435 w 112429"/>
                <a:gd name="connsiteY40" fmla="*/ 26695 h 74952"/>
                <a:gd name="connsiteX41" fmla="*/ 58682 w 112429"/>
                <a:gd name="connsiteY41" fmla="*/ 26070 h 74952"/>
                <a:gd name="connsiteX42" fmla="*/ 66240 w 112429"/>
                <a:gd name="connsiteY42" fmla="*/ 26445 h 74952"/>
                <a:gd name="connsiteX43" fmla="*/ 71486 w 112429"/>
                <a:gd name="connsiteY43" fmla="*/ 27694 h 74952"/>
                <a:gd name="connsiteX44" fmla="*/ 64116 w 112429"/>
                <a:gd name="connsiteY44" fmla="*/ 25508 h 74952"/>
                <a:gd name="connsiteX45" fmla="*/ 60118 w 112429"/>
                <a:gd name="connsiteY45" fmla="*/ 23259 h 74952"/>
                <a:gd name="connsiteX46" fmla="*/ 64053 w 112429"/>
                <a:gd name="connsiteY46" fmla="*/ 21511 h 74952"/>
                <a:gd name="connsiteX47" fmla="*/ 70674 w 112429"/>
                <a:gd name="connsiteY47" fmla="*/ 19075 h 74952"/>
                <a:gd name="connsiteX48" fmla="*/ 81605 w 112429"/>
                <a:gd name="connsiteY48" fmla="*/ 21823 h 74952"/>
                <a:gd name="connsiteX49" fmla="*/ 83166 w 112429"/>
                <a:gd name="connsiteY49" fmla="*/ 32816 h 74952"/>
                <a:gd name="connsiteX50" fmla="*/ 90224 w 112429"/>
                <a:gd name="connsiteY50" fmla="*/ 17700 h 74952"/>
                <a:gd name="connsiteX51" fmla="*/ 92098 w 112429"/>
                <a:gd name="connsiteY51" fmla="*/ 29693 h 74952"/>
                <a:gd name="connsiteX52" fmla="*/ 91911 w 112429"/>
                <a:gd name="connsiteY52" fmla="*/ 35127 h 74952"/>
                <a:gd name="connsiteX53" fmla="*/ 94222 w 112429"/>
                <a:gd name="connsiteY53" fmla="*/ 23884 h 74952"/>
                <a:gd name="connsiteX54" fmla="*/ 103841 w 112429"/>
                <a:gd name="connsiteY54" fmla="*/ 16139 h 74952"/>
                <a:gd name="connsiteX55" fmla="*/ 104903 w 112429"/>
                <a:gd name="connsiteY55" fmla="*/ 18075 h 74952"/>
                <a:gd name="connsiteX56" fmla="*/ 104903 w 112429"/>
                <a:gd name="connsiteY56" fmla="*/ 20948 h 74952"/>
                <a:gd name="connsiteX57" fmla="*/ 108088 w 112429"/>
                <a:gd name="connsiteY57" fmla="*/ 18075 h 74952"/>
                <a:gd name="connsiteX58" fmla="*/ 110587 w 112429"/>
                <a:gd name="connsiteY58" fmla="*/ 11829 h 74952"/>
                <a:gd name="connsiteX59" fmla="*/ 113647 w 112429"/>
                <a:gd name="connsiteY59" fmla="*/ 10830 h 74952"/>
                <a:gd name="connsiteX60" fmla="*/ 114209 w 112429"/>
                <a:gd name="connsiteY60" fmla="*/ 13453 h 74952"/>
                <a:gd name="connsiteX61" fmla="*/ 108963 w 112429"/>
                <a:gd name="connsiteY61" fmla="*/ 26320 h 74952"/>
                <a:gd name="connsiteX62" fmla="*/ 107151 w 112429"/>
                <a:gd name="connsiteY62" fmla="*/ 27882 h 74952"/>
                <a:gd name="connsiteX63" fmla="*/ 101530 w 112429"/>
                <a:gd name="connsiteY63" fmla="*/ 37063 h 74952"/>
                <a:gd name="connsiteX64" fmla="*/ 100031 w 112429"/>
                <a:gd name="connsiteY64" fmla="*/ 39312 h 74952"/>
                <a:gd name="connsiteX65" fmla="*/ 96283 w 112429"/>
                <a:gd name="connsiteY65" fmla="*/ 49993 h 74952"/>
                <a:gd name="connsiteX66" fmla="*/ 92036 w 112429"/>
                <a:gd name="connsiteY66" fmla="*/ 56738 h 74952"/>
                <a:gd name="connsiteX67" fmla="*/ 85915 w 112429"/>
                <a:gd name="connsiteY67" fmla="*/ 61798 h 74952"/>
                <a:gd name="connsiteX68" fmla="*/ 84541 w 112429"/>
                <a:gd name="connsiteY68" fmla="*/ 64483 h 74952"/>
                <a:gd name="connsiteX69" fmla="*/ 82917 w 112429"/>
                <a:gd name="connsiteY69" fmla="*/ 68169 h 74952"/>
                <a:gd name="connsiteX70" fmla="*/ 63804 w 112429"/>
                <a:gd name="connsiteY70" fmla="*/ 78787 h 74952"/>
                <a:gd name="connsiteX71" fmla="*/ 62117 w 112429"/>
                <a:gd name="connsiteY71" fmla="*/ 76101 h 74952"/>
                <a:gd name="connsiteX72" fmla="*/ 57807 w 112429"/>
                <a:gd name="connsiteY72" fmla="*/ 75164 h 74952"/>
                <a:gd name="connsiteX73" fmla="*/ 64241 w 112429"/>
                <a:gd name="connsiteY73" fmla="*/ 72291 h 74952"/>
                <a:gd name="connsiteX74" fmla="*/ 70799 w 112429"/>
                <a:gd name="connsiteY74" fmla="*/ 66670 h 74952"/>
                <a:gd name="connsiteX75" fmla="*/ 57682 w 112429"/>
                <a:gd name="connsiteY75" fmla="*/ 65233 h 7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12429" h="74952">
                  <a:moveTo>
                    <a:pt x="57682" y="65233"/>
                  </a:moveTo>
                  <a:cubicBezTo>
                    <a:pt x="57682" y="64608"/>
                    <a:pt x="57682" y="63921"/>
                    <a:pt x="57682" y="63297"/>
                  </a:cubicBezTo>
                  <a:cubicBezTo>
                    <a:pt x="57495" y="61298"/>
                    <a:pt x="59244" y="61548"/>
                    <a:pt x="60556" y="61423"/>
                  </a:cubicBezTo>
                  <a:cubicBezTo>
                    <a:pt x="62429" y="61236"/>
                    <a:pt x="64303" y="61548"/>
                    <a:pt x="66364" y="61048"/>
                  </a:cubicBezTo>
                  <a:cubicBezTo>
                    <a:pt x="58370" y="61985"/>
                    <a:pt x="50499" y="61298"/>
                    <a:pt x="42692" y="61360"/>
                  </a:cubicBezTo>
                  <a:cubicBezTo>
                    <a:pt x="41630" y="61360"/>
                    <a:pt x="40568" y="61360"/>
                    <a:pt x="39506" y="61360"/>
                  </a:cubicBezTo>
                  <a:cubicBezTo>
                    <a:pt x="31262" y="59924"/>
                    <a:pt x="26702" y="53928"/>
                    <a:pt x="20956" y="49368"/>
                  </a:cubicBezTo>
                  <a:cubicBezTo>
                    <a:pt x="19581" y="48306"/>
                    <a:pt x="18769" y="45495"/>
                    <a:pt x="15896" y="47807"/>
                  </a:cubicBezTo>
                  <a:cubicBezTo>
                    <a:pt x="15334" y="48244"/>
                    <a:pt x="14522" y="46620"/>
                    <a:pt x="13835" y="45933"/>
                  </a:cubicBezTo>
                  <a:cubicBezTo>
                    <a:pt x="12398" y="44309"/>
                    <a:pt x="11711" y="42185"/>
                    <a:pt x="9525" y="41123"/>
                  </a:cubicBezTo>
                  <a:cubicBezTo>
                    <a:pt x="8901" y="41061"/>
                    <a:pt x="8526" y="40686"/>
                    <a:pt x="8463" y="40186"/>
                  </a:cubicBezTo>
                  <a:cubicBezTo>
                    <a:pt x="6465" y="36751"/>
                    <a:pt x="4404" y="33316"/>
                    <a:pt x="531" y="31254"/>
                  </a:cubicBezTo>
                  <a:cubicBezTo>
                    <a:pt x="-156" y="30880"/>
                    <a:pt x="-219" y="29318"/>
                    <a:pt x="593" y="29193"/>
                  </a:cubicBezTo>
                  <a:cubicBezTo>
                    <a:pt x="4466" y="28694"/>
                    <a:pt x="3154" y="25633"/>
                    <a:pt x="4216" y="23759"/>
                  </a:cubicBezTo>
                  <a:cubicBezTo>
                    <a:pt x="8151" y="24071"/>
                    <a:pt x="12086" y="25446"/>
                    <a:pt x="16021" y="23259"/>
                  </a:cubicBezTo>
                  <a:cubicBezTo>
                    <a:pt x="17957" y="22198"/>
                    <a:pt x="19894" y="21011"/>
                    <a:pt x="19456" y="18950"/>
                  </a:cubicBezTo>
                  <a:cubicBezTo>
                    <a:pt x="18332" y="13641"/>
                    <a:pt x="21830" y="9893"/>
                    <a:pt x="24453" y="5833"/>
                  </a:cubicBezTo>
                  <a:cubicBezTo>
                    <a:pt x="26515" y="3272"/>
                    <a:pt x="29450" y="1773"/>
                    <a:pt x="32573" y="524"/>
                  </a:cubicBezTo>
                  <a:cubicBezTo>
                    <a:pt x="34822" y="-351"/>
                    <a:pt x="36883" y="-413"/>
                    <a:pt x="37008" y="2585"/>
                  </a:cubicBezTo>
                  <a:cubicBezTo>
                    <a:pt x="37008" y="4584"/>
                    <a:pt x="34447" y="5396"/>
                    <a:pt x="34197" y="7332"/>
                  </a:cubicBezTo>
                  <a:cubicBezTo>
                    <a:pt x="33697" y="8144"/>
                    <a:pt x="33260" y="8894"/>
                    <a:pt x="32573" y="9955"/>
                  </a:cubicBezTo>
                  <a:cubicBezTo>
                    <a:pt x="35884" y="9581"/>
                    <a:pt x="36633" y="6020"/>
                    <a:pt x="41318" y="6333"/>
                  </a:cubicBezTo>
                  <a:cubicBezTo>
                    <a:pt x="30574" y="11642"/>
                    <a:pt x="32448" y="20824"/>
                    <a:pt x="30387" y="28756"/>
                  </a:cubicBezTo>
                  <a:cubicBezTo>
                    <a:pt x="30075" y="29880"/>
                    <a:pt x="30450" y="30755"/>
                    <a:pt x="31324" y="31317"/>
                  </a:cubicBezTo>
                  <a:cubicBezTo>
                    <a:pt x="35509" y="33940"/>
                    <a:pt x="38070" y="38625"/>
                    <a:pt x="43816" y="39312"/>
                  </a:cubicBezTo>
                  <a:cubicBezTo>
                    <a:pt x="44691" y="39874"/>
                    <a:pt x="45690" y="40436"/>
                    <a:pt x="45253" y="41623"/>
                  </a:cubicBezTo>
                  <a:cubicBezTo>
                    <a:pt x="44753" y="42997"/>
                    <a:pt x="43441" y="43059"/>
                    <a:pt x="42192" y="42935"/>
                  </a:cubicBezTo>
                  <a:cubicBezTo>
                    <a:pt x="39132" y="42685"/>
                    <a:pt x="36446" y="41436"/>
                    <a:pt x="33697" y="40249"/>
                  </a:cubicBezTo>
                  <a:cubicBezTo>
                    <a:pt x="30200" y="38687"/>
                    <a:pt x="27139" y="36314"/>
                    <a:pt x="22455" y="37313"/>
                  </a:cubicBezTo>
                  <a:cubicBezTo>
                    <a:pt x="19831" y="37875"/>
                    <a:pt x="18645" y="34440"/>
                    <a:pt x="16458" y="33191"/>
                  </a:cubicBezTo>
                  <a:cubicBezTo>
                    <a:pt x="21455" y="41623"/>
                    <a:pt x="30137" y="46557"/>
                    <a:pt x="39506" y="49056"/>
                  </a:cubicBezTo>
                  <a:cubicBezTo>
                    <a:pt x="48751" y="51492"/>
                    <a:pt x="58744" y="54302"/>
                    <a:pt x="68613" y="49118"/>
                  </a:cubicBezTo>
                  <a:cubicBezTo>
                    <a:pt x="66927" y="47869"/>
                    <a:pt x="64553" y="48618"/>
                    <a:pt x="62554" y="48369"/>
                  </a:cubicBezTo>
                  <a:cubicBezTo>
                    <a:pt x="59806" y="48056"/>
                    <a:pt x="57058" y="47744"/>
                    <a:pt x="57745" y="44184"/>
                  </a:cubicBezTo>
                  <a:cubicBezTo>
                    <a:pt x="60681" y="42685"/>
                    <a:pt x="63741" y="43434"/>
                    <a:pt x="66864" y="43559"/>
                  </a:cubicBezTo>
                  <a:cubicBezTo>
                    <a:pt x="70175" y="43747"/>
                    <a:pt x="70924" y="42560"/>
                    <a:pt x="69550" y="40311"/>
                  </a:cubicBezTo>
                  <a:cubicBezTo>
                    <a:pt x="68800" y="39062"/>
                    <a:pt x="70362" y="38500"/>
                    <a:pt x="70487" y="37500"/>
                  </a:cubicBezTo>
                  <a:cubicBezTo>
                    <a:pt x="70175" y="38937"/>
                    <a:pt x="67739" y="39437"/>
                    <a:pt x="68426" y="41311"/>
                  </a:cubicBezTo>
                  <a:cubicBezTo>
                    <a:pt x="61930" y="41935"/>
                    <a:pt x="55809" y="40124"/>
                    <a:pt x="49563" y="39249"/>
                  </a:cubicBezTo>
                  <a:cubicBezTo>
                    <a:pt x="47439" y="38937"/>
                    <a:pt x="46190" y="37563"/>
                    <a:pt x="46002" y="35502"/>
                  </a:cubicBezTo>
                  <a:cubicBezTo>
                    <a:pt x="48688" y="32691"/>
                    <a:pt x="49875" y="28881"/>
                    <a:pt x="53435" y="26695"/>
                  </a:cubicBezTo>
                  <a:cubicBezTo>
                    <a:pt x="55059" y="25695"/>
                    <a:pt x="56808" y="25446"/>
                    <a:pt x="58682" y="26070"/>
                  </a:cubicBezTo>
                  <a:cubicBezTo>
                    <a:pt x="61118" y="27007"/>
                    <a:pt x="63241" y="28943"/>
                    <a:pt x="66240" y="26445"/>
                  </a:cubicBezTo>
                  <a:cubicBezTo>
                    <a:pt x="67426" y="25446"/>
                    <a:pt x="69862" y="26695"/>
                    <a:pt x="71486" y="27694"/>
                  </a:cubicBezTo>
                  <a:cubicBezTo>
                    <a:pt x="69300" y="26258"/>
                    <a:pt x="66677" y="26133"/>
                    <a:pt x="64116" y="25508"/>
                  </a:cubicBezTo>
                  <a:cubicBezTo>
                    <a:pt x="62554" y="25133"/>
                    <a:pt x="59993" y="25258"/>
                    <a:pt x="60118" y="23259"/>
                  </a:cubicBezTo>
                  <a:cubicBezTo>
                    <a:pt x="60181" y="21635"/>
                    <a:pt x="62554" y="21823"/>
                    <a:pt x="64053" y="21511"/>
                  </a:cubicBezTo>
                  <a:cubicBezTo>
                    <a:pt x="66364" y="20948"/>
                    <a:pt x="69175" y="21448"/>
                    <a:pt x="70674" y="19075"/>
                  </a:cubicBezTo>
                  <a:cubicBezTo>
                    <a:pt x="75234" y="17076"/>
                    <a:pt x="78045" y="19762"/>
                    <a:pt x="81605" y="21823"/>
                  </a:cubicBezTo>
                  <a:cubicBezTo>
                    <a:pt x="87164" y="25008"/>
                    <a:pt x="81792" y="28818"/>
                    <a:pt x="83166" y="32816"/>
                  </a:cubicBezTo>
                  <a:cubicBezTo>
                    <a:pt x="89100" y="28756"/>
                    <a:pt x="86789" y="22260"/>
                    <a:pt x="90224" y="17700"/>
                  </a:cubicBezTo>
                  <a:cubicBezTo>
                    <a:pt x="90662" y="21760"/>
                    <a:pt x="88975" y="26070"/>
                    <a:pt x="92098" y="29693"/>
                  </a:cubicBezTo>
                  <a:cubicBezTo>
                    <a:pt x="93785" y="31567"/>
                    <a:pt x="91599" y="33253"/>
                    <a:pt x="91911" y="35127"/>
                  </a:cubicBezTo>
                  <a:cubicBezTo>
                    <a:pt x="91786" y="31254"/>
                    <a:pt x="96033" y="28131"/>
                    <a:pt x="94222" y="23884"/>
                  </a:cubicBezTo>
                  <a:cubicBezTo>
                    <a:pt x="96595" y="20449"/>
                    <a:pt x="100718" y="18825"/>
                    <a:pt x="103841" y="16139"/>
                  </a:cubicBezTo>
                  <a:cubicBezTo>
                    <a:pt x="103903" y="16951"/>
                    <a:pt x="104091" y="17638"/>
                    <a:pt x="104903" y="18075"/>
                  </a:cubicBezTo>
                  <a:cubicBezTo>
                    <a:pt x="104590" y="19012"/>
                    <a:pt x="103279" y="20011"/>
                    <a:pt x="104903" y="20948"/>
                  </a:cubicBezTo>
                  <a:cubicBezTo>
                    <a:pt x="107963" y="21760"/>
                    <a:pt x="108213" y="20074"/>
                    <a:pt x="108088" y="18075"/>
                  </a:cubicBezTo>
                  <a:cubicBezTo>
                    <a:pt x="108900" y="15952"/>
                    <a:pt x="109650" y="13828"/>
                    <a:pt x="110587" y="11829"/>
                  </a:cubicBezTo>
                  <a:cubicBezTo>
                    <a:pt x="111149" y="10705"/>
                    <a:pt x="112335" y="10080"/>
                    <a:pt x="113647" y="10830"/>
                  </a:cubicBezTo>
                  <a:cubicBezTo>
                    <a:pt x="114647" y="11392"/>
                    <a:pt x="114647" y="12579"/>
                    <a:pt x="114209" y="13453"/>
                  </a:cubicBezTo>
                  <a:cubicBezTo>
                    <a:pt x="112148" y="17638"/>
                    <a:pt x="109088" y="21511"/>
                    <a:pt x="108963" y="26320"/>
                  </a:cubicBezTo>
                  <a:cubicBezTo>
                    <a:pt x="108963" y="27257"/>
                    <a:pt x="107963" y="27507"/>
                    <a:pt x="107151" y="27882"/>
                  </a:cubicBezTo>
                  <a:cubicBezTo>
                    <a:pt x="103154" y="29880"/>
                    <a:pt x="98719" y="31567"/>
                    <a:pt x="101530" y="37063"/>
                  </a:cubicBezTo>
                  <a:cubicBezTo>
                    <a:pt x="101967" y="37938"/>
                    <a:pt x="101280" y="39000"/>
                    <a:pt x="100031" y="39312"/>
                  </a:cubicBezTo>
                  <a:cubicBezTo>
                    <a:pt x="92660" y="41123"/>
                    <a:pt x="96096" y="46058"/>
                    <a:pt x="96283" y="49993"/>
                  </a:cubicBezTo>
                  <a:cubicBezTo>
                    <a:pt x="96533" y="53116"/>
                    <a:pt x="92598" y="54053"/>
                    <a:pt x="92036" y="56738"/>
                  </a:cubicBezTo>
                  <a:cubicBezTo>
                    <a:pt x="90724" y="59174"/>
                    <a:pt x="88101" y="60236"/>
                    <a:pt x="85915" y="61798"/>
                  </a:cubicBezTo>
                  <a:cubicBezTo>
                    <a:pt x="85040" y="62422"/>
                    <a:pt x="82792" y="62672"/>
                    <a:pt x="84541" y="64483"/>
                  </a:cubicBezTo>
                  <a:cubicBezTo>
                    <a:pt x="85290" y="66170"/>
                    <a:pt x="84041" y="67294"/>
                    <a:pt x="82917" y="68169"/>
                  </a:cubicBezTo>
                  <a:cubicBezTo>
                    <a:pt x="76983" y="72354"/>
                    <a:pt x="71236" y="76788"/>
                    <a:pt x="63804" y="78787"/>
                  </a:cubicBezTo>
                  <a:cubicBezTo>
                    <a:pt x="61617" y="78725"/>
                    <a:pt x="62367" y="77163"/>
                    <a:pt x="62117" y="76101"/>
                  </a:cubicBezTo>
                  <a:cubicBezTo>
                    <a:pt x="60993" y="74727"/>
                    <a:pt x="59306" y="75227"/>
                    <a:pt x="57807" y="75164"/>
                  </a:cubicBezTo>
                  <a:cubicBezTo>
                    <a:pt x="59556" y="73540"/>
                    <a:pt x="62742" y="74477"/>
                    <a:pt x="64241" y="72291"/>
                  </a:cubicBezTo>
                  <a:cubicBezTo>
                    <a:pt x="68238" y="72416"/>
                    <a:pt x="67426" y="67669"/>
                    <a:pt x="70799" y="66670"/>
                  </a:cubicBezTo>
                  <a:cubicBezTo>
                    <a:pt x="66364" y="66045"/>
                    <a:pt x="61992" y="65670"/>
                    <a:pt x="57682" y="65233"/>
                  </a:cubicBezTo>
                  <a:close/>
                </a:path>
              </a:pathLst>
            </a:custGeom>
            <a:grpFill/>
            <a:ln w="6246" cap="flat">
              <a:noFill/>
              <a:prstDash val="solid"/>
              <a:miter/>
            </a:ln>
          </p:spPr>
          <p:txBody>
            <a:bodyPr rtlCol="0" anchor="ctr"/>
            <a:lstStyle/>
            <a:p>
              <a:endParaRPr lang="fr-FR" sz="2400"/>
            </a:p>
          </p:txBody>
        </p:sp>
        <p:sp>
          <p:nvSpPr>
            <p:cNvPr id="659" name="Freeform: Shape 658">
              <a:extLst>
                <a:ext uri="{FF2B5EF4-FFF2-40B4-BE49-F238E27FC236}">
                  <a16:creationId xmlns:a16="http://schemas.microsoft.com/office/drawing/2014/main" id="{52DF6562-E160-4C0C-9E09-2AD6BA876773}"/>
                </a:ext>
              </a:extLst>
            </p:cNvPr>
            <p:cNvSpPr/>
            <p:nvPr/>
          </p:nvSpPr>
          <p:spPr>
            <a:xfrm>
              <a:off x="1219512" y="620421"/>
              <a:ext cx="74953" cy="12492"/>
            </a:xfrm>
            <a:custGeom>
              <a:avLst/>
              <a:gdLst>
                <a:gd name="connsiteX0" fmla="*/ 30606 w 74952"/>
                <a:gd name="connsiteY0" fmla="*/ 5809 h 12492"/>
                <a:gd name="connsiteX1" fmla="*/ 52030 w 74952"/>
                <a:gd name="connsiteY1" fmla="*/ 0 h 12492"/>
                <a:gd name="connsiteX2" fmla="*/ 56839 w 74952"/>
                <a:gd name="connsiteY2" fmla="*/ 937 h 12492"/>
                <a:gd name="connsiteX3" fmla="*/ 61649 w 74952"/>
                <a:gd name="connsiteY3" fmla="*/ 2936 h 12492"/>
                <a:gd name="connsiteX4" fmla="*/ 57526 w 74952"/>
                <a:gd name="connsiteY4" fmla="*/ 5122 h 12492"/>
                <a:gd name="connsiteX5" fmla="*/ 56589 w 74952"/>
                <a:gd name="connsiteY5" fmla="*/ 4747 h 12492"/>
                <a:gd name="connsiteX6" fmla="*/ 56839 w 74952"/>
                <a:gd name="connsiteY6" fmla="*/ 5122 h 12492"/>
                <a:gd name="connsiteX7" fmla="*/ 67395 w 74952"/>
                <a:gd name="connsiteY7" fmla="*/ 2998 h 12492"/>
                <a:gd name="connsiteX8" fmla="*/ 72329 w 74952"/>
                <a:gd name="connsiteY8" fmla="*/ 2936 h 12492"/>
                <a:gd name="connsiteX9" fmla="*/ 72329 w 74952"/>
                <a:gd name="connsiteY9" fmla="*/ 2936 h 12492"/>
                <a:gd name="connsiteX10" fmla="*/ 76889 w 74952"/>
                <a:gd name="connsiteY10" fmla="*/ 5184 h 12492"/>
                <a:gd name="connsiteX11" fmla="*/ 64834 w 74952"/>
                <a:gd name="connsiteY11" fmla="*/ 10681 h 12492"/>
                <a:gd name="connsiteX12" fmla="*/ 54341 w 74952"/>
                <a:gd name="connsiteY12" fmla="*/ 12117 h 12492"/>
                <a:gd name="connsiteX13" fmla="*/ 46783 w 74952"/>
                <a:gd name="connsiteY13" fmla="*/ 11243 h 12492"/>
                <a:gd name="connsiteX14" fmla="*/ 41286 w 74952"/>
                <a:gd name="connsiteY14" fmla="*/ 11555 h 12492"/>
                <a:gd name="connsiteX15" fmla="*/ 1124 w 74952"/>
                <a:gd name="connsiteY15" fmla="*/ 11555 h 12492"/>
                <a:gd name="connsiteX16" fmla="*/ 0 w 74952"/>
                <a:gd name="connsiteY16" fmla="*/ 10431 h 12492"/>
                <a:gd name="connsiteX17" fmla="*/ 28857 w 74952"/>
                <a:gd name="connsiteY17" fmla="*/ 11243 h 12492"/>
                <a:gd name="connsiteX18" fmla="*/ 34228 w 74952"/>
                <a:gd name="connsiteY18" fmla="*/ 8994 h 12492"/>
                <a:gd name="connsiteX19" fmla="*/ 30918 w 74952"/>
                <a:gd name="connsiteY19" fmla="*/ 7808 h 12492"/>
                <a:gd name="connsiteX20" fmla="*/ 30606 w 74952"/>
                <a:gd name="connsiteY20" fmla="*/ 5809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952" h="12492">
                  <a:moveTo>
                    <a:pt x="30606" y="5809"/>
                  </a:moveTo>
                  <a:cubicBezTo>
                    <a:pt x="37289" y="2498"/>
                    <a:pt x="44472" y="687"/>
                    <a:pt x="52030" y="0"/>
                  </a:cubicBezTo>
                  <a:cubicBezTo>
                    <a:pt x="52904" y="3373"/>
                    <a:pt x="55215" y="1312"/>
                    <a:pt x="56839" y="937"/>
                  </a:cubicBezTo>
                  <a:cubicBezTo>
                    <a:pt x="59213" y="375"/>
                    <a:pt x="61336" y="-250"/>
                    <a:pt x="61649" y="2936"/>
                  </a:cubicBezTo>
                  <a:cubicBezTo>
                    <a:pt x="61024" y="5434"/>
                    <a:pt x="58526" y="4497"/>
                    <a:pt x="57526" y="5122"/>
                  </a:cubicBezTo>
                  <a:cubicBezTo>
                    <a:pt x="56152" y="5184"/>
                    <a:pt x="56589" y="4122"/>
                    <a:pt x="56589" y="4747"/>
                  </a:cubicBezTo>
                  <a:cubicBezTo>
                    <a:pt x="56589" y="5059"/>
                    <a:pt x="56652" y="5184"/>
                    <a:pt x="56839" y="5122"/>
                  </a:cubicBezTo>
                  <a:cubicBezTo>
                    <a:pt x="60399" y="4622"/>
                    <a:pt x="63960" y="3997"/>
                    <a:pt x="67395" y="2998"/>
                  </a:cubicBezTo>
                  <a:cubicBezTo>
                    <a:pt x="68957" y="2561"/>
                    <a:pt x="70643" y="1499"/>
                    <a:pt x="72329" y="2936"/>
                  </a:cubicBezTo>
                  <a:lnTo>
                    <a:pt x="72329" y="2936"/>
                  </a:lnTo>
                  <a:cubicBezTo>
                    <a:pt x="73454" y="4372"/>
                    <a:pt x="76077" y="3310"/>
                    <a:pt x="76889" y="5184"/>
                  </a:cubicBezTo>
                  <a:cubicBezTo>
                    <a:pt x="73828" y="10181"/>
                    <a:pt x="69893" y="11992"/>
                    <a:pt x="64834" y="10681"/>
                  </a:cubicBezTo>
                  <a:cubicBezTo>
                    <a:pt x="60962" y="8745"/>
                    <a:pt x="57963" y="12117"/>
                    <a:pt x="54341" y="12117"/>
                  </a:cubicBezTo>
                  <a:cubicBezTo>
                    <a:pt x="51780" y="12117"/>
                    <a:pt x="49219" y="14116"/>
                    <a:pt x="46783" y="11243"/>
                  </a:cubicBezTo>
                  <a:cubicBezTo>
                    <a:pt x="45534" y="9806"/>
                    <a:pt x="43035" y="10868"/>
                    <a:pt x="41286" y="11555"/>
                  </a:cubicBezTo>
                  <a:cubicBezTo>
                    <a:pt x="27920" y="17052"/>
                    <a:pt x="14553" y="13179"/>
                    <a:pt x="1124" y="11555"/>
                  </a:cubicBezTo>
                  <a:cubicBezTo>
                    <a:pt x="625" y="11493"/>
                    <a:pt x="187" y="11180"/>
                    <a:pt x="0" y="10431"/>
                  </a:cubicBezTo>
                  <a:cubicBezTo>
                    <a:pt x="9681" y="12617"/>
                    <a:pt x="19363" y="10681"/>
                    <a:pt x="28857" y="11243"/>
                  </a:cubicBezTo>
                  <a:cubicBezTo>
                    <a:pt x="30543" y="11368"/>
                    <a:pt x="32292" y="9869"/>
                    <a:pt x="34228" y="8994"/>
                  </a:cubicBezTo>
                  <a:cubicBezTo>
                    <a:pt x="33354" y="7308"/>
                    <a:pt x="31980" y="7808"/>
                    <a:pt x="30918" y="7808"/>
                  </a:cubicBezTo>
                  <a:cubicBezTo>
                    <a:pt x="26858" y="7683"/>
                    <a:pt x="32729" y="6121"/>
                    <a:pt x="30606" y="5809"/>
                  </a:cubicBezTo>
                  <a:close/>
                </a:path>
              </a:pathLst>
            </a:custGeom>
            <a:grpFill/>
            <a:ln w="6246" cap="flat">
              <a:noFill/>
              <a:prstDash val="solid"/>
              <a:miter/>
            </a:ln>
          </p:spPr>
          <p:txBody>
            <a:bodyPr rtlCol="0" anchor="ctr"/>
            <a:lstStyle/>
            <a:p>
              <a:endParaRPr lang="fr-FR" sz="2400"/>
            </a:p>
          </p:txBody>
        </p:sp>
        <p:sp>
          <p:nvSpPr>
            <p:cNvPr id="660" name="Freeform: Shape 659">
              <a:extLst>
                <a:ext uri="{FF2B5EF4-FFF2-40B4-BE49-F238E27FC236}">
                  <a16:creationId xmlns:a16="http://schemas.microsoft.com/office/drawing/2014/main" id="{7753EDFA-E80F-477B-893B-A52D13AD38EF}"/>
                </a:ext>
              </a:extLst>
            </p:cNvPr>
            <p:cNvSpPr/>
            <p:nvPr/>
          </p:nvSpPr>
          <p:spPr>
            <a:xfrm>
              <a:off x="1323946" y="572264"/>
              <a:ext cx="12492" cy="24984"/>
            </a:xfrm>
            <a:custGeom>
              <a:avLst/>
              <a:gdLst>
                <a:gd name="connsiteX0" fmla="*/ 0 w 12492"/>
                <a:gd name="connsiteY0" fmla="*/ 17239 h 24984"/>
                <a:gd name="connsiteX1" fmla="*/ 9931 w 12492"/>
                <a:gd name="connsiteY1" fmla="*/ 6808 h 24984"/>
                <a:gd name="connsiteX2" fmla="*/ 16615 w 12492"/>
                <a:gd name="connsiteY2" fmla="*/ 0 h 24984"/>
                <a:gd name="connsiteX3" fmla="*/ 17801 w 12492"/>
                <a:gd name="connsiteY3" fmla="*/ 749 h 24984"/>
                <a:gd name="connsiteX4" fmla="*/ 12555 w 12492"/>
                <a:gd name="connsiteY4" fmla="*/ 12117 h 24984"/>
                <a:gd name="connsiteX5" fmla="*/ 4934 w 12492"/>
                <a:gd name="connsiteY5" fmla="*/ 25109 h 24984"/>
                <a:gd name="connsiteX6" fmla="*/ 312 w 12492"/>
                <a:gd name="connsiteY6" fmla="*/ 25734 h 24984"/>
                <a:gd name="connsiteX7" fmla="*/ 1062 w 12492"/>
                <a:gd name="connsiteY7" fmla="*/ 23985 h 24984"/>
                <a:gd name="connsiteX8" fmla="*/ 2186 w 12492"/>
                <a:gd name="connsiteY8" fmla="*/ 18426 h 24984"/>
                <a:gd name="connsiteX9" fmla="*/ 0 w 12492"/>
                <a:gd name="connsiteY9" fmla="*/ 17239 h 2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2" h="24984">
                  <a:moveTo>
                    <a:pt x="0" y="17239"/>
                  </a:moveTo>
                  <a:cubicBezTo>
                    <a:pt x="1811" y="12617"/>
                    <a:pt x="6683" y="10368"/>
                    <a:pt x="9931" y="6808"/>
                  </a:cubicBezTo>
                  <a:cubicBezTo>
                    <a:pt x="12055" y="4497"/>
                    <a:pt x="14366" y="2249"/>
                    <a:pt x="16615" y="0"/>
                  </a:cubicBezTo>
                  <a:cubicBezTo>
                    <a:pt x="16989" y="250"/>
                    <a:pt x="17427" y="500"/>
                    <a:pt x="17801" y="749"/>
                  </a:cubicBezTo>
                  <a:cubicBezTo>
                    <a:pt x="16115" y="4560"/>
                    <a:pt x="14991" y="8744"/>
                    <a:pt x="12555" y="12117"/>
                  </a:cubicBezTo>
                  <a:cubicBezTo>
                    <a:pt x="9619" y="16302"/>
                    <a:pt x="9119" y="21486"/>
                    <a:pt x="4934" y="25109"/>
                  </a:cubicBezTo>
                  <a:cubicBezTo>
                    <a:pt x="3248" y="26546"/>
                    <a:pt x="1749" y="25297"/>
                    <a:pt x="312" y="25734"/>
                  </a:cubicBezTo>
                  <a:cubicBezTo>
                    <a:pt x="562" y="25172"/>
                    <a:pt x="812" y="24547"/>
                    <a:pt x="1062" y="23985"/>
                  </a:cubicBezTo>
                  <a:cubicBezTo>
                    <a:pt x="-63" y="21861"/>
                    <a:pt x="2374" y="20362"/>
                    <a:pt x="2186" y="18426"/>
                  </a:cubicBezTo>
                  <a:cubicBezTo>
                    <a:pt x="1749" y="17551"/>
                    <a:pt x="687" y="17739"/>
                    <a:pt x="0" y="17239"/>
                  </a:cubicBezTo>
                  <a:close/>
                </a:path>
              </a:pathLst>
            </a:custGeom>
            <a:grpFill/>
            <a:ln w="6246" cap="flat">
              <a:noFill/>
              <a:prstDash val="solid"/>
              <a:miter/>
            </a:ln>
          </p:spPr>
          <p:txBody>
            <a:bodyPr rtlCol="0" anchor="ctr"/>
            <a:lstStyle/>
            <a:p>
              <a:endParaRPr lang="fr-FR" sz="2400"/>
            </a:p>
          </p:txBody>
        </p:sp>
        <p:sp>
          <p:nvSpPr>
            <p:cNvPr id="661" name="Freeform: Shape 660">
              <a:extLst>
                <a:ext uri="{FF2B5EF4-FFF2-40B4-BE49-F238E27FC236}">
                  <a16:creationId xmlns:a16="http://schemas.microsoft.com/office/drawing/2014/main" id="{8A625FC8-700B-4715-AF70-B9FE6D160FCB}"/>
                </a:ext>
              </a:extLst>
            </p:cNvPr>
            <p:cNvSpPr/>
            <p:nvPr/>
          </p:nvSpPr>
          <p:spPr>
            <a:xfrm>
              <a:off x="1293028" y="594312"/>
              <a:ext cx="24984" cy="12492"/>
            </a:xfrm>
            <a:custGeom>
              <a:avLst/>
              <a:gdLst>
                <a:gd name="connsiteX0" fmla="*/ 29856 w 24984"/>
                <a:gd name="connsiteY0" fmla="*/ 1936 h 12492"/>
                <a:gd name="connsiteX1" fmla="*/ 22361 w 24984"/>
                <a:gd name="connsiteY1" fmla="*/ 8682 h 12492"/>
                <a:gd name="connsiteX2" fmla="*/ 18051 w 24984"/>
                <a:gd name="connsiteY2" fmla="*/ 12555 h 12492"/>
                <a:gd name="connsiteX3" fmla="*/ 8307 w 24984"/>
                <a:gd name="connsiteY3" fmla="*/ 13117 h 12492"/>
                <a:gd name="connsiteX4" fmla="*/ 0 w 24984"/>
                <a:gd name="connsiteY4" fmla="*/ 14116 h 12492"/>
                <a:gd name="connsiteX5" fmla="*/ 26608 w 24984"/>
                <a:gd name="connsiteY5" fmla="*/ 0 h 12492"/>
                <a:gd name="connsiteX6" fmla="*/ 29856 w 24984"/>
                <a:gd name="connsiteY6"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9856" y="1936"/>
                  </a:moveTo>
                  <a:cubicBezTo>
                    <a:pt x="28982" y="5684"/>
                    <a:pt x="27170" y="8557"/>
                    <a:pt x="22361" y="8682"/>
                  </a:cubicBezTo>
                  <a:cubicBezTo>
                    <a:pt x="19737" y="8869"/>
                    <a:pt x="18301" y="10181"/>
                    <a:pt x="18051" y="12555"/>
                  </a:cubicBezTo>
                  <a:cubicBezTo>
                    <a:pt x="14991" y="14678"/>
                    <a:pt x="12242" y="18176"/>
                    <a:pt x="8307" y="13117"/>
                  </a:cubicBezTo>
                  <a:cubicBezTo>
                    <a:pt x="7620" y="12242"/>
                    <a:pt x="3498" y="13616"/>
                    <a:pt x="0" y="14116"/>
                  </a:cubicBezTo>
                  <a:cubicBezTo>
                    <a:pt x="8994" y="8557"/>
                    <a:pt x="18863" y="5934"/>
                    <a:pt x="26608" y="0"/>
                  </a:cubicBezTo>
                  <a:cubicBezTo>
                    <a:pt x="28232" y="0"/>
                    <a:pt x="28919" y="1124"/>
                    <a:pt x="29856" y="1936"/>
                  </a:cubicBezTo>
                  <a:close/>
                </a:path>
              </a:pathLst>
            </a:custGeom>
            <a:grpFill/>
            <a:ln w="6246" cap="flat">
              <a:noFill/>
              <a:prstDash val="solid"/>
              <a:miter/>
            </a:ln>
          </p:spPr>
          <p:txBody>
            <a:bodyPr rtlCol="0" anchor="ctr"/>
            <a:lstStyle/>
            <a:p>
              <a:endParaRPr lang="fr-FR" sz="2400"/>
            </a:p>
          </p:txBody>
        </p:sp>
        <p:sp>
          <p:nvSpPr>
            <p:cNvPr id="662" name="Freeform: Shape 661">
              <a:extLst>
                <a:ext uri="{FF2B5EF4-FFF2-40B4-BE49-F238E27FC236}">
                  <a16:creationId xmlns:a16="http://schemas.microsoft.com/office/drawing/2014/main" id="{2E1956B4-A641-40FF-A670-C3F34538CCF0}"/>
                </a:ext>
              </a:extLst>
            </p:cNvPr>
            <p:cNvSpPr/>
            <p:nvPr/>
          </p:nvSpPr>
          <p:spPr>
            <a:xfrm>
              <a:off x="1267044" y="596493"/>
              <a:ext cx="31230" cy="6246"/>
            </a:xfrm>
            <a:custGeom>
              <a:avLst/>
              <a:gdLst>
                <a:gd name="connsiteX0" fmla="*/ 22673 w 31230"/>
                <a:gd name="connsiteY0" fmla="*/ 755 h 6246"/>
                <a:gd name="connsiteX1" fmla="*/ 24797 w 31230"/>
                <a:gd name="connsiteY1" fmla="*/ 1067 h 6246"/>
                <a:gd name="connsiteX2" fmla="*/ 23735 w 31230"/>
                <a:gd name="connsiteY2" fmla="*/ 2691 h 6246"/>
                <a:gd name="connsiteX3" fmla="*/ 28669 w 31230"/>
                <a:gd name="connsiteY3" fmla="*/ 1442 h 6246"/>
                <a:gd name="connsiteX4" fmla="*/ 33104 w 31230"/>
                <a:gd name="connsiteY4" fmla="*/ 1129 h 6246"/>
                <a:gd name="connsiteX5" fmla="*/ 33354 w 31230"/>
                <a:gd name="connsiteY5" fmla="*/ 1754 h 6246"/>
                <a:gd name="connsiteX6" fmla="*/ 16927 w 31230"/>
                <a:gd name="connsiteY6" fmla="*/ 8437 h 6246"/>
                <a:gd name="connsiteX7" fmla="*/ 0 w 31230"/>
                <a:gd name="connsiteY7" fmla="*/ 9874 h 6246"/>
                <a:gd name="connsiteX8" fmla="*/ 500 w 31230"/>
                <a:gd name="connsiteY8" fmla="*/ 9124 h 6246"/>
                <a:gd name="connsiteX9" fmla="*/ 22673 w 31230"/>
                <a:gd name="connsiteY9" fmla="*/ 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6246">
                  <a:moveTo>
                    <a:pt x="22673" y="755"/>
                  </a:moveTo>
                  <a:cubicBezTo>
                    <a:pt x="23360" y="1067"/>
                    <a:pt x="24610" y="-1307"/>
                    <a:pt x="24797" y="1067"/>
                  </a:cubicBezTo>
                  <a:cubicBezTo>
                    <a:pt x="24859" y="1629"/>
                    <a:pt x="22861" y="1442"/>
                    <a:pt x="23735" y="2691"/>
                  </a:cubicBezTo>
                  <a:cubicBezTo>
                    <a:pt x="25921" y="3940"/>
                    <a:pt x="27170" y="2191"/>
                    <a:pt x="28669" y="1442"/>
                  </a:cubicBezTo>
                  <a:cubicBezTo>
                    <a:pt x="30169" y="692"/>
                    <a:pt x="31480" y="-557"/>
                    <a:pt x="33104" y="1129"/>
                  </a:cubicBezTo>
                  <a:cubicBezTo>
                    <a:pt x="33167" y="1317"/>
                    <a:pt x="33229" y="1567"/>
                    <a:pt x="33354" y="1754"/>
                  </a:cubicBezTo>
                  <a:cubicBezTo>
                    <a:pt x="29044" y="6126"/>
                    <a:pt x="22298" y="5876"/>
                    <a:pt x="16927" y="8437"/>
                  </a:cubicBezTo>
                  <a:cubicBezTo>
                    <a:pt x="12555" y="10498"/>
                    <a:pt x="5996" y="13247"/>
                    <a:pt x="0" y="9874"/>
                  </a:cubicBezTo>
                  <a:cubicBezTo>
                    <a:pt x="187" y="9562"/>
                    <a:pt x="375" y="9062"/>
                    <a:pt x="500" y="9124"/>
                  </a:cubicBezTo>
                  <a:cubicBezTo>
                    <a:pt x="9307" y="9312"/>
                    <a:pt x="15365" y="3690"/>
                    <a:pt x="22673" y="755"/>
                  </a:cubicBezTo>
                  <a:close/>
                </a:path>
              </a:pathLst>
            </a:custGeom>
            <a:grpFill/>
            <a:ln w="6246" cap="flat">
              <a:noFill/>
              <a:prstDash val="solid"/>
              <a:miter/>
            </a:ln>
          </p:spPr>
          <p:txBody>
            <a:bodyPr rtlCol="0" anchor="ctr"/>
            <a:lstStyle/>
            <a:p>
              <a:endParaRPr lang="fr-FR" sz="2400"/>
            </a:p>
          </p:txBody>
        </p:sp>
        <p:sp>
          <p:nvSpPr>
            <p:cNvPr id="663" name="Freeform: Shape 662">
              <a:extLst>
                <a:ext uri="{FF2B5EF4-FFF2-40B4-BE49-F238E27FC236}">
                  <a16:creationId xmlns:a16="http://schemas.microsoft.com/office/drawing/2014/main" id="{B692E13B-6C29-46F3-ABA8-398A0BA53D3A}"/>
                </a:ext>
              </a:extLst>
            </p:cNvPr>
            <p:cNvSpPr/>
            <p:nvPr/>
          </p:nvSpPr>
          <p:spPr>
            <a:xfrm>
              <a:off x="1300041" y="578539"/>
              <a:ext cx="18738" cy="18738"/>
            </a:xfrm>
            <a:custGeom>
              <a:avLst/>
              <a:gdLst>
                <a:gd name="connsiteX0" fmla="*/ 17471 w 18738"/>
                <a:gd name="connsiteY0" fmla="*/ 4155 h 18738"/>
                <a:gd name="connsiteX1" fmla="*/ 23530 w 18738"/>
                <a:gd name="connsiteY1" fmla="*/ 595 h 18738"/>
                <a:gd name="connsiteX2" fmla="*/ 19907 w 18738"/>
                <a:gd name="connsiteY2" fmla="*/ 5280 h 18738"/>
                <a:gd name="connsiteX3" fmla="*/ 419 w 18738"/>
                <a:gd name="connsiteY3" fmla="*/ 19583 h 18738"/>
                <a:gd name="connsiteX4" fmla="*/ 419 w 18738"/>
                <a:gd name="connsiteY4" fmla="*/ 19583 h 18738"/>
                <a:gd name="connsiteX5" fmla="*/ 3480 w 18738"/>
                <a:gd name="connsiteY5" fmla="*/ 14899 h 18738"/>
                <a:gd name="connsiteX6" fmla="*/ 17471 w 18738"/>
                <a:gd name="connsiteY6" fmla="*/ 4155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18738">
                  <a:moveTo>
                    <a:pt x="17471" y="4155"/>
                  </a:moveTo>
                  <a:cubicBezTo>
                    <a:pt x="19345" y="2594"/>
                    <a:pt x="20594" y="-1528"/>
                    <a:pt x="23530" y="595"/>
                  </a:cubicBezTo>
                  <a:cubicBezTo>
                    <a:pt x="25404" y="1969"/>
                    <a:pt x="21219" y="3656"/>
                    <a:pt x="19907" y="5280"/>
                  </a:cubicBezTo>
                  <a:cubicBezTo>
                    <a:pt x="14723" y="11463"/>
                    <a:pt x="8664" y="16835"/>
                    <a:pt x="419" y="19583"/>
                  </a:cubicBezTo>
                  <a:lnTo>
                    <a:pt x="419" y="19583"/>
                  </a:lnTo>
                  <a:cubicBezTo>
                    <a:pt x="-1080" y="16710"/>
                    <a:pt x="1794" y="15961"/>
                    <a:pt x="3480" y="14899"/>
                  </a:cubicBezTo>
                  <a:cubicBezTo>
                    <a:pt x="8414" y="11713"/>
                    <a:pt x="13161" y="8215"/>
                    <a:pt x="17471" y="4155"/>
                  </a:cubicBezTo>
                  <a:close/>
                </a:path>
              </a:pathLst>
            </a:custGeom>
            <a:grpFill/>
            <a:ln w="6246" cap="flat">
              <a:noFill/>
              <a:prstDash val="solid"/>
              <a:miter/>
            </a:ln>
          </p:spPr>
          <p:txBody>
            <a:bodyPr rtlCol="0" anchor="ctr"/>
            <a:lstStyle/>
            <a:p>
              <a:endParaRPr lang="fr-FR" sz="2400"/>
            </a:p>
          </p:txBody>
        </p:sp>
        <p:sp>
          <p:nvSpPr>
            <p:cNvPr id="664" name="Freeform: Shape 663">
              <a:extLst>
                <a:ext uri="{FF2B5EF4-FFF2-40B4-BE49-F238E27FC236}">
                  <a16:creationId xmlns:a16="http://schemas.microsoft.com/office/drawing/2014/main" id="{1E5332C8-C124-406E-A769-CEA2A95C6B38}"/>
                </a:ext>
              </a:extLst>
            </p:cNvPr>
            <p:cNvSpPr/>
            <p:nvPr/>
          </p:nvSpPr>
          <p:spPr>
            <a:xfrm>
              <a:off x="1304708" y="608928"/>
              <a:ext cx="12492" cy="6246"/>
            </a:xfrm>
            <a:custGeom>
              <a:avLst/>
              <a:gdLst>
                <a:gd name="connsiteX0" fmla="*/ 5309 w 12492"/>
                <a:gd name="connsiteY0" fmla="*/ 8620 h 6246"/>
                <a:gd name="connsiteX1" fmla="*/ 4060 w 12492"/>
                <a:gd name="connsiteY1" fmla="*/ 4809 h 6246"/>
                <a:gd name="connsiteX2" fmla="*/ 0 w 12492"/>
                <a:gd name="connsiteY2" fmla="*/ 4809 h 6246"/>
                <a:gd name="connsiteX3" fmla="*/ 9619 w 12492"/>
                <a:gd name="connsiteY3" fmla="*/ 0 h 6246"/>
                <a:gd name="connsiteX4" fmla="*/ 11743 w 12492"/>
                <a:gd name="connsiteY4" fmla="*/ 1936 h 6246"/>
                <a:gd name="connsiteX5" fmla="*/ 13866 w 12492"/>
                <a:gd name="connsiteY5" fmla="*/ 1936 h 6246"/>
                <a:gd name="connsiteX6" fmla="*/ 5309 w 12492"/>
                <a:gd name="connsiteY6" fmla="*/ 86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5309" y="8620"/>
                  </a:moveTo>
                  <a:cubicBezTo>
                    <a:pt x="-250" y="8557"/>
                    <a:pt x="5247" y="6309"/>
                    <a:pt x="4060" y="4809"/>
                  </a:cubicBezTo>
                  <a:cubicBezTo>
                    <a:pt x="3185" y="3873"/>
                    <a:pt x="1249" y="6621"/>
                    <a:pt x="0" y="4809"/>
                  </a:cubicBezTo>
                  <a:cubicBezTo>
                    <a:pt x="3185" y="3186"/>
                    <a:pt x="6434" y="1562"/>
                    <a:pt x="9619" y="0"/>
                  </a:cubicBezTo>
                  <a:cubicBezTo>
                    <a:pt x="10431" y="562"/>
                    <a:pt x="10931" y="1374"/>
                    <a:pt x="11743" y="1936"/>
                  </a:cubicBezTo>
                  <a:cubicBezTo>
                    <a:pt x="12430" y="1936"/>
                    <a:pt x="13179" y="1936"/>
                    <a:pt x="13866" y="1936"/>
                  </a:cubicBezTo>
                  <a:cubicBezTo>
                    <a:pt x="13679" y="6808"/>
                    <a:pt x="9307" y="7495"/>
                    <a:pt x="5309" y="8620"/>
                  </a:cubicBezTo>
                  <a:close/>
                </a:path>
              </a:pathLst>
            </a:custGeom>
            <a:grpFill/>
            <a:ln w="6246" cap="flat">
              <a:noFill/>
              <a:prstDash val="solid"/>
              <a:miter/>
            </a:ln>
          </p:spPr>
          <p:txBody>
            <a:bodyPr rtlCol="0" anchor="ctr"/>
            <a:lstStyle/>
            <a:p>
              <a:endParaRPr lang="fr-FR" sz="2400"/>
            </a:p>
          </p:txBody>
        </p:sp>
        <p:sp>
          <p:nvSpPr>
            <p:cNvPr id="665" name="Freeform: Shape 664">
              <a:extLst>
                <a:ext uri="{FF2B5EF4-FFF2-40B4-BE49-F238E27FC236}">
                  <a16:creationId xmlns:a16="http://schemas.microsoft.com/office/drawing/2014/main" id="{87A4B5AE-1E3C-4E79-AC0F-8CE85413A2D7}"/>
                </a:ext>
              </a:extLst>
            </p:cNvPr>
            <p:cNvSpPr/>
            <p:nvPr/>
          </p:nvSpPr>
          <p:spPr>
            <a:xfrm>
              <a:off x="1290717" y="582694"/>
              <a:ext cx="24984" cy="12492"/>
            </a:xfrm>
            <a:custGeom>
              <a:avLst/>
              <a:gdLst>
                <a:gd name="connsiteX0" fmla="*/ 26796 w 24984"/>
                <a:gd name="connsiteY0" fmla="*/ 0 h 12492"/>
                <a:gd name="connsiteX1" fmla="*/ 17239 w 24984"/>
                <a:gd name="connsiteY1" fmla="*/ 8620 h 12492"/>
                <a:gd name="connsiteX2" fmla="*/ 9619 w 24984"/>
                <a:gd name="connsiteY2" fmla="*/ 15490 h 12492"/>
                <a:gd name="connsiteX3" fmla="*/ 4997 w 24984"/>
                <a:gd name="connsiteY3" fmla="*/ 16177 h 12492"/>
                <a:gd name="connsiteX4" fmla="*/ 0 w 24984"/>
                <a:gd name="connsiteY4" fmla="*/ 16427 h 12492"/>
                <a:gd name="connsiteX5" fmla="*/ 21424 w 24984"/>
                <a:gd name="connsiteY5" fmla="*/ 2873 h 12492"/>
                <a:gd name="connsiteX6" fmla="*/ 26796 w 24984"/>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84" h="12492">
                  <a:moveTo>
                    <a:pt x="26796" y="0"/>
                  </a:moveTo>
                  <a:cubicBezTo>
                    <a:pt x="25484" y="4497"/>
                    <a:pt x="20237" y="5497"/>
                    <a:pt x="17239" y="8620"/>
                  </a:cubicBezTo>
                  <a:cubicBezTo>
                    <a:pt x="14928" y="11056"/>
                    <a:pt x="10431" y="11618"/>
                    <a:pt x="9619" y="15490"/>
                  </a:cubicBezTo>
                  <a:cubicBezTo>
                    <a:pt x="7870" y="14428"/>
                    <a:pt x="6433" y="14866"/>
                    <a:pt x="4997" y="16177"/>
                  </a:cubicBezTo>
                  <a:cubicBezTo>
                    <a:pt x="3498" y="17551"/>
                    <a:pt x="1749" y="18051"/>
                    <a:pt x="0" y="16427"/>
                  </a:cubicBezTo>
                  <a:cubicBezTo>
                    <a:pt x="7995" y="12992"/>
                    <a:pt x="15678" y="9182"/>
                    <a:pt x="21424" y="2873"/>
                  </a:cubicBezTo>
                  <a:cubicBezTo>
                    <a:pt x="23235" y="1936"/>
                    <a:pt x="25047" y="999"/>
                    <a:pt x="26796" y="0"/>
                  </a:cubicBezTo>
                  <a:close/>
                </a:path>
              </a:pathLst>
            </a:custGeom>
            <a:grpFill/>
            <a:ln w="6246" cap="flat">
              <a:noFill/>
              <a:prstDash val="solid"/>
              <a:miter/>
            </a:ln>
          </p:spPr>
          <p:txBody>
            <a:bodyPr rtlCol="0" anchor="ctr"/>
            <a:lstStyle/>
            <a:p>
              <a:endParaRPr lang="fr-FR" sz="2400"/>
            </a:p>
          </p:txBody>
        </p:sp>
        <p:sp>
          <p:nvSpPr>
            <p:cNvPr id="666" name="Freeform: Shape 665">
              <a:extLst>
                <a:ext uri="{FF2B5EF4-FFF2-40B4-BE49-F238E27FC236}">
                  <a16:creationId xmlns:a16="http://schemas.microsoft.com/office/drawing/2014/main" id="{09F996D5-4204-4DE1-9F94-422542EA1A01}"/>
                </a:ext>
              </a:extLst>
            </p:cNvPr>
            <p:cNvSpPr/>
            <p:nvPr/>
          </p:nvSpPr>
          <p:spPr>
            <a:xfrm>
              <a:off x="1275477" y="619484"/>
              <a:ext cx="18738" cy="6246"/>
            </a:xfrm>
            <a:custGeom>
              <a:avLst/>
              <a:gdLst>
                <a:gd name="connsiteX0" fmla="*/ 16365 w 18738"/>
                <a:gd name="connsiteY0" fmla="*/ 3873 h 6246"/>
                <a:gd name="connsiteX1" fmla="*/ 0 w 18738"/>
                <a:gd name="connsiteY1" fmla="*/ 6433 h 6246"/>
                <a:gd name="connsiteX2" fmla="*/ 5684 w 18738"/>
                <a:gd name="connsiteY2" fmla="*/ 3873 h 6246"/>
                <a:gd name="connsiteX3" fmla="*/ 21736 w 18738"/>
                <a:gd name="connsiteY3" fmla="*/ 0 h 6246"/>
                <a:gd name="connsiteX4" fmla="*/ 16365 w 18738"/>
                <a:gd name="connsiteY4" fmla="*/ 3873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8" h="6246">
                  <a:moveTo>
                    <a:pt x="16365" y="3873"/>
                  </a:moveTo>
                  <a:cubicBezTo>
                    <a:pt x="11181" y="5434"/>
                    <a:pt x="5934" y="6871"/>
                    <a:pt x="0" y="6433"/>
                  </a:cubicBezTo>
                  <a:cubicBezTo>
                    <a:pt x="2061" y="5497"/>
                    <a:pt x="3873" y="4685"/>
                    <a:pt x="5684" y="3873"/>
                  </a:cubicBezTo>
                  <a:cubicBezTo>
                    <a:pt x="11056" y="2561"/>
                    <a:pt x="16365" y="1312"/>
                    <a:pt x="21736" y="0"/>
                  </a:cubicBezTo>
                  <a:cubicBezTo>
                    <a:pt x="21112" y="2623"/>
                    <a:pt x="17552" y="1874"/>
                    <a:pt x="16365" y="3873"/>
                  </a:cubicBezTo>
                  <a:close/>
                </a:path>
              </a:pathLst>
            </a:custGeom>
            <a:grpFill/>
            <a:ln w="6246" cap="flat">
              <a:noFill/>
              <a:prstDash val="solid"/>
              <a:miter/>
            </a:ln>
          </p:spPr>
          <p:txBody>
            <a:bodyPr rtlCol="0" anchor="ctr"/>
            <a:lstStyle/>
            <a:p>
              <a:endParaRPr lang="fr-FR" sz="2400"/>
            </a:p>
          </p:txBody>
        </p:sp>
        <p:sp>
          <p:nvSpPr>
            <p:cNvPr id="667" name="Freeform: Shape 666">
              <a:extLst>
                <a:ext uri="{FF2B5EF4-FFF2-40B4-BE49-F238E27FC236}">
                  <a16:creationId xmlns:a16="http://schemas.microsoft.com/office/drawing/2014/main" id="{0D8F42FE-3D56-4BB0-AABA-56A43F63154C}"/>
                </a:ext>
              </a:extLst>
            </p:cNvPr>
            <p:cNvSpPr/>
            <p:nvPr/>
          </p:nvSpPr>
          <p:spPr>
            <a:xfrm>
              <a:off x="1319411" y="562645"/>
              <a:ext cx="12492" cy="12492"/>
            </a:xfrm>
            <a:custGeom>
              <a:avLst/>
              <a:gdLst>
                <a:gd name="connsiteX0" fmla="*/ 225 w 12492"/>
                <a:gd name="connsiteY0" fmla="*/ 15240 h 12492"/>
                <a:gd name="connsiteX1" fmla="*/ 4473 w 12492"/>
                <a:gd name="connsiteY1" fmla="*/ 8495 h 12492"/>
                <a:gd name="connsiteX2" fmla="*/ 12717 w 12492"/>
                <a:gd name="connsiteY2" fmla="*/ 0 h 12492"/>
                <a:gd name="connsiteX3" fmla="*/ 225 w 12492"/>
                <a:gd name="connsiteY3" fmla="*/ 15240 h 12492"/>
              </a:gdLst>
              <a:ahLst/>
              <a:cxnLst>
                <a:cxn ang="0">
                  <a:pos x="connsiteX0" y="connsiteY0"/>
                </a:cxn>
                <a:cxn ang="0">
                  <a:pos x="connsiteX1" y="connsiteY1"/>
                </a:cxn>
                <a:cxn ang="0">
                  <a:pos x="connsiteX2" y="connsiteY2"/>
                </a:cxn>
                <a:cxn ang="0">
                  <a:pos x="connsiteX3" y="connsiteY3"/>
                </a:cxn>
              </a:cxnLst>
              <a:rect l="l" t="t" r="r" b="b"/>
              <a:pathLst>
                <a:path w="12492" h="12492">
                  <a:moveTo>
                    <a:pt x="225" y="15240"/>
                  </a:moveTo>
                  <a:cubicBezTo>
                    <a:pt x="-1086" y="11555"/>
                    <a:pt x="3723" y="11056"/>
                    <a:pt x="4473" y="8495"/>
                  </a:cubicBezTo>
                  <a:cubicBezTo>
                    <a:pt x="8470" y="6558"/>
                    <a:pt x="8782" y="1999"/>
                    <a:pt x="12717" y="0"/>
                  </a:cubicBezTo>
                  <a:cubicBezTo>
                    <a:pt x="11281" y="6746"/>
                    <a:pt x="4847" y="10431"/>
                    <a:pt x="225" y="15240"/>
                  </a:cubicBezTo>
                  <a:close/>
                </a:path>
              </a:pathLst>
            </a:custGeom>
            <a:grpFill/>
            <a:ln w="6246" cap="flat">
              <a:noFill/>
              <a:prstDash val="solid"/>
              <a:miter/>
            </a:ln>
          </p:spPr>
          <p:txBody>
            <a:bodyPr rtlCol="0" anchor="ctr"/>
            <a:lstStyle/>
            <a:p>
              <a:endParaRPr lang="fr-FR" sz="2400"/>
            </a:p>
          </p:txBody>
        </p:sp>
        <p:sp>
          <p:nvSpPr>
            <p:cNvPr id="668" name="Freeform: Shape 667">
              <a:extLst>
                <a:ext uri="{FF2B5EF4-FFF2-40B4-BE49-F238E27FC236}">
                  <a16:creationId xmlns:a16="http://schemas.microsoft.com/office/drawing/2014/main" id="{B92F0C20-5FB6-41C2-9E96-84AE7266CB18}"/>
                </a:ext>
              </a:extLst>
            </p:cNvPr>
            <p:cNvSpPr/>
            <p:nvPr/>
          </p:nvSpPr>
          <p:spPr>
            <a:xfrm>
              <a:off x="1313203" y="605930"/>
              <a:ext cx="12492" cy="12492"/>
            </a:xfrm>
            <a:custGeom>
              <a:avLst/>
              <a:gdLst>
                <a:gd name="connsiteX0" fmla="*/ 16052 w 12492"/>
                <a:gd name="connsiteY0" fmla="*/ 937 h 12492"/>
                <a:gd name="connsiteX1" fmla="*/ 4934 w 12492"/>
                <a:gd name="connsiteY1" fmla="*/ 11430 h 12492"/>
                <a:gd name="connsiteX2" fmla="*/ 0 w 12492"/>
                <a:gd name="connsiteY2" fmla="*/ 12555 h 12492"/>
                <a:gd name="connsiteX3" fmla="*/ 8557 w 12492"/>
                <a:gd name="connsiteY3" fmla="*/ 5809 h 12492"/>
                <a:gd name="connsiteX4" fmla="*/ 14991 w 12492"/>
                <a:gd name="connsiteY4" fmla="*/ 0 h 12492"/>
                <a:gd name="connsiteX5" fmla="*/ 16052 w 12492"/>
                <a:gd name="connsiteY5" fmla="*/ 937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12492">
                  <a:moveTo>
                    <a:pt x="16052" y="937"/>
                  </a:moveTo>
                  <a:cubicBezTo>
                    <a:pt x="12555" y="4622"/>
                    <a:pt x="9369" y="8557"/>
                    <a:pt x="4934" y="11430"/>
                  </a:cubicBezTo>
                  <a:cubicBezTo>
                    <a:pt x="3498" y="12305"/>
                    <a:pt x="2186" y="14179"/>
                    <a:pt x="0" y="12555"/>
                  </a:cubicBezTo>
                  <a:cubicBezTo>
                    <a:pt x="1749" y="9119"/>
                    <a:pt x="4997" y="7308"/>
                    <a:pt x="8557" y="5809"/>
                  </a:cubicBezTo>
                  <a:cubicBezTo>
                    <a:pt x="11618" y="4685"/>
                    <a:pt x="12367" y="1499"/>
                    <a:pt x="14991" y="0"/>
                  </a:cubicBezTo>
                  <a:cubicBezTo>
                    <a:pt x="15678" y="0"/>
                    <a:pt x="15740" y="562"/>
                    <a:pt x="16052" y="937"/>
                  </a:cubicBezTo>
                  <a:close/>
                </a:path>
              </a:pathLst>
            </a:custGeom>
            <a:grpFill/>
            <a:ln w="6246" cap="flat">
              <a:noFill/>
              <a:prstDash val="solid"/>
              <a:miter/>
            </a:ln>
          </p:spPr>
          <p:txBody>
            <a:bodyPr rtlCol="0" anchor="ctr"/>
            <a:lstStyle/>
            <a:p>
              <a:endParaRPr lang="fr-FR" sz="2400"/>
            </a:p>
          </p:txBody>
        </p:sp>
        <p:sp>
          <p:nvSpPr>
            <p:cNvPr id="669" name="Freeform: Shape 668">
              <a:extLst>
                <a:ext uri="{FF2B5EF4-FFF2-40B4-BE49-F238E27FC236}">
                  <a16:creationId xmlns:a16="http://schemas.microsoft.com/office/drawing/2014/main" id="{A7F034DD-7C6F-4162-BADD-62D0FC5EECD7}"/>
                </a:ext>
              </a:extLst>
            </p:cNvPr>
            <p:cNvSpPr/>
            <p:nvPr/>
          </p:nvSpPr>
          <p:spPr>
            <a:xfrm>
              <a:off x="1310017" y="610314"/>
              <a:ext cx="6246" cy="6246"/>
            </a:xfrm>
            <a:custGeom>
              <a:avLst/>
              <a:gdLst>
                <a:gd name="connsiteX0" fmla="*/ 11805 w 6246"/>
                <a:gd name="connsiteY0" fmla="*/ 1424 h 6246"/>
                <a:gd name="connsiteX1" fmla="*/ 3248 w 6246"/>
                <a:gd name="connsiteY1" fmla="*/ 8170 h 6246"/>
                <a:gd name="connsiteX2" fmla="*/ 0 w 6246"/>
                <a:gd name="connsiteY2" fmla="*/ 7171 h 6246"/>
                <a:gd name="connsiteX3" fmla="*/ 8557 w 6246"/>
                <a:gd name="connsiteY3" fmla="*/ 425 h 6246"/>
                <a:gd name="connsiteX4" fmla="*/ 11805 w 6246"/>
                <a:gd name="connsiteY4" fmla="*/ 142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1805" y="1424"/>
                  </a:moveTo>
                  <a:cubicBezTo>
                    <a:pt x="9869" y="4610"/>
                    <a:pt x="6059" y="5922"/>
                    <a:pt x="3248" y="8170"/>
                  </a:cubicBezTo>
                  <a:cubicBezTo>
                    <a:pt x="2186" y="7858"/>
                    <a:pt x="1124" y="7546"/>
                    <a:pt x="0" y="7171"/>
                  </a:cubicBezTo>
                  <a:cubicBezTo>
                    <a:pt x="2936" y="5047"/>
                    <a:pt x="6683" y="3673"/>
                    <a:pt x="8557" y="425"/>
                  </a:cubicBezTo>
                  <a:cubicBezTo>
                    <a:pt x="10056" y="-324"/>
                    <a:pt x="11181" y="-137"/>
                    <a:pt x="11805" y="1424"/>
                  </a:cubicBezTo>
                  <a:close/>
                </a:path>
              </a:pathLst>
            </a:custGeom>
            <a:grpFill/>
            <a:ln w="6246" cap="flat">
              <a:noFill/>
              <a:prstDash val="solid"/>
              <a:miter/>
            </a:ln>
          </p:spPr>
          <p:txBody>
            <a:bodyPr rtlCol="0" anchor="ctr"/>
            <a:lstStyle/>
            <a:p>
              <a:endParaRPr lang="fr-FR" sz="2400"/>
            </a:p>
          </p:txBody>
        </p:sp>
        <p:sp>
          <p:nvSpPr>
            <p:cNvPr id="670" name="Freeform: Shape 669">
              <a:extLst>
                <a:ext uri="{FF2B5EF4-FFF2-40B4-BE49-F238E27FC236}">
                  <a16:creationId xmlns:a16="http://schemas.microsoft.com/office/drawing/2014/main" id="{0E17B89E-CFAB-4655-8947-9642A07836BA}"/>
                </a:ext>
              </a:extLst>
            </p:cNvPr>
            <p:cNvSpPr/>
            <p:nvPr/>
          </p:nvSpPr>
          <p:spPr>
            <a:xfrm>
              <a:off x="1319699" y="588324"/>
              <a:ext cx="6246" cy="6246"/>
            </a:xfrm>
            <a:custGeom>
              <a:avLst/>
              <a:gdLst>
                <a:gd name="connsiteX0" fmla="*/ 3185 w 6246"/>
                <a:gd name="connsiteY0" fmla="*/ 7924 h 6246"/>
                <a:gd name="connsiteX1" fmla="*/ 0 w 6246"/>
                <a:gd name="connsiteY1" fmla="*/ 5988 h 6246"/>
                <a:gd name="connsiteX2" fmla="*/ 4310 w 6246"/>
                <a:gd name="connsiteY2" fmla="*/ 1178 h 6246"/>
                <a:gd name="connsiteX3" fmla="*/ 7995 w 6246"/>
                <a:gd name="connsiteY3" fmla="*/ 117 h 6246"/>
                <a:gd name="connsiteX4" fmla="*/ 7558 w 6246"/>
                <a:gd name="connsiteY4" fmla="*/ 2115 h 6246"/>
                <a:gd name="connsiteX5" fmla="*/ 3310 w 6246"/>
                <a:gd name="connsiteY5" fmla="*/ 6925 h 6246"/>
                <a:gd name="connsiteX6" fmla="*/ 3185 w 6246"/>
                <a:gd name="connsiteY6" fmla="*/ 79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185" y="7924"/>
                  </a:moveTo>
                  <a:cubicBezTo>
                    <a:pt x="1624" y="7924"/>
                    <a:pt x="562" y="7237"/>
                    <a:pt x="0" y="5988"/>
                  </a:cubicBezTo>
                  <a:cubicBezTo>
                    <a:pt x="1436" y="4364"/>
                    <a:pt x="2873" y="2740"/>
                    <a:pt x="4310" y="1178"/>
                  </a:cubicBezTo>
                  <a:cubicBezTo>
                    <a:pt x="5559" y="866"/>
                    <a:pt x="6496" y="-383"/>
                    <a:pt x="7995" y="117"/>
                  </a:cubicBezTo>
                  <a:cubicBezTo>
                    <a:pt x="8120" y="179"/>
                    <a:pt x="7683" y="1428"/>
                    <a:pt x="7558" y="2115"/>
                  </a:cubicBezTo>
                  <a:cubicBezTo>
                    <a:pt x="7495" y="4676"/>
                    <a:pt x="5372" y="5863"/>
                    <a:pt x="3310" y="6925"/>
                  </a:cubicBezTo>
                  <a:cubicBezTo>
                    <a:pt x="3185" y="7300"/>
                    <a:pt x="3185" y="7612"/>
                    <a:pt x="3185" y="7924"/>
                  </a:cubicBezTo>
                  <a:close/>
                </a:path>
              </a:pathLst>
            </a:custGeom>
            <a:grpFill/>
            <a:ln w="6246" cap="flat">
              <a:noFill/>
              <a:prstDash val="solid"/>
              <a:miter/>
            </a:ln>
          </p:spPr>
          <p:txBody>
            <a:bodyPr rtlCol="0" anchor="ctr"/>
            <a:lstStyle/>
            <a:p>
              <a:endParaRPr lang="fr-FR" sz="2400"/>
            </a:p>
          </p:txBody>
        </p:sp>
        <p:sp>
          <p:nvSpPr>
            <p:cNvPr id="671" name="Freeform: Shape 670">
              <a:extLst>
                <a:ext uri="{FF2B5EF4-FFF2-40B4-BE49-F238E27FC236}">
                  <a16:creationId xmlns:a16="http://schemas.microsoft.com/office/drawing/2014/main" id="{AA7CFFCF-DD42-4DC6-B5F8-51D55BBE782C}"/>
                </a:ext>
              </a:extLst>
            </p:cNvPr>
            <p:cNvSpPr/>
            <p:nvPr/>
          </p:nvSpPr>
          <p:spPr>
            <a:xfrm>
              <a:off x="1332503" y="594312"/>
              <a:ext cx="6246" cy="6246"/>
            </a:xfrm>
            <a:custGeom>
              <a:avLst/>
              <a:gdLst>
                <a:gd name="connsiteX0" fmla="*/ 3186 w 6246"/>
                <a:gd name="connsiteY0" fmla="*/ 0 h 6246"/>
                <a:gd name="connsiteX1" fmla="*/ 4247 w 6246"/>
                <a:gd name="connsiteY1" fmla="*/ 4809 h 6246"/>
                <a:gd name="connsiteX2" fmla="*/ 1062 w 6246"/>
                <a:gd name="connsiteY2" fmla="*/ 6746 h 6246"/>
                <a:gd name="connsiteX3" fmla="*/ 0 w 6246"/>
                <a:gd name="connsiteY3" fmla="*/ 5746 h 6246"/>
                <a:gd name="connsiteX4" fmla="*/ 3186 w 6246"/>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186" y="0"/>
                  </a:moveTo>
                  <a:cubicBezTo>
                    <a:pt x="10493" y="375"/>
                    <a:pt x="2498" y="3498"/>
                    <a:pt x="4247" y="4809"/>
                  </a:cubicBezTo>
                  <a:cubicBezTo>
                    <a:pt x="3186" y="5434"/>
                    <a:pt x="2124" y="6121"/>
                    <a:pt x="1062" y="6746"/>
                  </a:cubicBezTo>
                  <a:cubicBezTo>
                    <a:pt x="437" y="6683"/>
                    <a:pt x="63" y="6309"/>
                    <a:pt x="0" y="5746"/>
                  </a:cubicBezTo>
                  <a:cubicBezTo>
                    <a:pt x="1062" y="3873"/>
                    <a:pt x="2124" y="1936"/>
                    <a:pt x="3186" y="0"/>
                  </a:cubicBezTo>
                  <a:close/>
                </a:path>
              </a:pathLst>
            </a:custGeom>
            <a:grpFill/>
            <a:ln w="6246" cap="flat">
              <a:noFill/>
              <a:prstDash val="solid"/>
              <a:miter/>
            </a:ln>
          </p:spPr>
          <p:txBody>
            <a:bodyPr rtlCol="0" anchor="ctr"/>
            <a:lstStyle/>
            <a:p>
              <a:endParaRPr lang="fr-FR" sz="2400"/>
            </a:p>
          </p:txBody>
        </p:sp>
        <p:sp>
          <p:nvSpPr>
            <p:cNvPr id="672" name="Freeform: Shape 671">
              <a:extLst>
                <a:ext uri="{FF2B5EF4-FFF2-40B4-BE49-F238E27FC236}">
                  <a16:creationId xmlns:a16="http://schemas.microsoft.com/office/drawing/2014/main" id="{9990CB9C-EC68-445A-8BF2-BE513E788576}"/>
                </a:ext>
              </a:extLst>
            </p:cNvPr>
            <p:cNvSpPr/>
            <p:nvPr/>
          </p:nvSpPr>
          <p:spPr>
            <a:xfrm>
              <a:off x="1314022" y="604930"/>
              <a:ext cx="6246" cy="6246"/>
            </a:xfrm>
            <a:custGeom>
              <a:avLst/>
              <a:gdLst>
                <a:gd name="connsiteX0" fmla="*/ 2429 w 6246"/>
                <a:gd name="connsiteY0" fmla="*/ 5809 h 6246"/>
                <a:gd name="connsiteX1" fmla="*/ 306 w 6246"/>
                <a:gd name="connsiteY1" fmla="*/ 3873 h 6246"/>
                <a:gd name="connsiteX2" fmla="*/ 6739 w 6246"/>
                <a:gd name="connsiteY2" fmla="*/ 0 h 6246"/>
                <a:gd name="connsiteX3" fmla="*/ 5677 w 6246"/>
                <a:gd name="connsiteY3" fmla="*/ 2873 h 6246"/>
                <a:gd name="connsiteX4" fmla="*/ 2429 w 6246"/>
                <a:gd name="connsiteY4" fmla="*/ 5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2429" y="5809"/>
                  </a:moveTo>
                  <a:cubicBezTo>
                    <a:pt x="-944" y="7558"/>
                    <a:pt x="118" y="5309"/>
                    <a:pt x="306" y="3873"/>
                  </a:cubicBezTo>
                  <a:cubicBezTo>
                    <a:pt x="2429" y="2561"/>
                    <a:pt x="4615" y="1312"/>
                    <a:pt x="6739" y="0"/>
                  </a:cubicBezTo>
                  <a:cubicBezTo>
                    <a:pt x="9113" y="1811"/>
                    <a:pt x="6302" y="1999"/>
                    <a:pt x="5677" y="2873"/>
                  </a:cubicBezTo>
                  <a:cubicBezTo>
                    <a:pt x="4178" y="3560"/>
                    <a:pt x="3116" y="4560"/>
                    <a:pt x="2429" y="5809"/>
                  </a:cubicBezTo>
                  <a:close/>
                </a:path>
              </a:pathLst>
            </a:custGeom>
            <a:grpFill/>
            <a:ln w="6246" cap="flat">
              <a:noFill/>
              <a:prstDash val="solid"/>
              <a:miter/>
            </a:ln>
          </p:spPr>
          <p:txBody>
            <a:bodyPr rtlCol="0" anchor="ctr"/>
            <a:lstStyle/>
            <a:p>
              <a:endParaRPr lang="fr-FR" sz="2400"/>
            </a:p>
          </p:txBody>
        </p:sp>
        <p:sp>
          <p:nvSpPr>
            <p:cNvPr id="673" name="Freeform: Shape 672">
              <a:extLst>
                <a:ext uri="{FF2B5EF4-FFF2-40B4-BE49-F238E27FC236}">
                  <a16:creationId xmlns:a16="http://schemas.microsoft.com/office/drawing/2014/main" id="{FEAF0899-FB59-43F6-9024-F47C0908F9BA}"/>
                </a:ext>
              </a:extLst>
            </p:cNvPr>
            <p:cNvSpPr/>
            <p:nvPr/>
          </p:nvSpPr>
          <p:spPr>
            <a:xfrm>
              <a:off x="1328193" y="600121"/>
              <a:ext cx="6246" cy="6246"/>
            </a:xfrm>
            <a:custGeom>
              <a:avLst/>
              <a:gdLst>
                <a:gd name="connsiteX0" fmla="*/ 4310 w 0"/>
                <a:gd name="connsiteY0" fmla="*/ 0 h 6246"/>
                <a:gd name="connsiteX1" fmla="*/ 5372 w 0"/>
                <a:gd name="connsiteY1" fmla="*/ 999 h 6246"/>
                <a:gd name="connsiteX2" fmla="*/ 1062 w 0"/>
                <a:gd name="connsiteY2" fmla="*/ 6808 h 6246"/>
                <a:gd name="connsiteX3" fmla="*/ 0 w 0"/>
                <a:gd name="connsiteY3" fmla="*/ 5809 h 6246"/>
                <a:gd name="connsiteX4" fmla="*/ 4310 w 0"/>
                <a:gd name="connsiteY4" fmla="*/ 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6246">
                  <a:moveTo>
                    <a:pt x="4310" y="0"/>
                  </a:moveTo>
                  <a:cubicBezTo>
                    <a:pt x="4685" y="312"/>
                    <a:pt x="5059" y="625"/>
                    <a:pt x="5372" y="999"/>
                  </a:cubicBezTo>
                  <a:cubicBezTo>
                    <a:pt x="3935" y="2936"/>
                    <a:pt x="2498" y="4872"/>
                    <a:pt x="1062" y="6808"/>
                  </a:cubicBezTo>
                  <a:cubicBezTo>
                    <a:pt x="687" y="6496"/>
                    <a:pt x="312" y="6184"/>
                    <a:pt x="0" y="5809"/>
                  </a:cubicBezTo>
                  <a:cubicBezTo>
                    <a:pt x="1437" y="3873"/>
                    <a:pt x="2873" y="1936"/>
                    <a:pt x="4310" y="0"/>
                  </a:cubicBezTo>
                  <a:close/>
                </a:path>
              </a:pathLst>
            </a:custGeom>
            <a:grpFill/>
            <a:ln w="6246" cap="flat">
              <a:noFill/>
              <a:prstDash val="solid"/>
              <a:miter/>
            </a:ln>
          </p:spPr>
          <p:txBody>
            <a:bodyPr rtlCol="0" anchor="ctr"/>
            <a:lstStyle/>
            <a:p>
              <a:endParaRPr lang="fr-FR" sz="2400"/>
            </a:p>
          </p:txBody>
        </p:sp>
        <p:sp>
          <p:nvSpPr>
            <p:cNvPr id="674" name="Freeform: Shape 673">
              <a:extLst>
                <a:ext uri="{FF2B5EF4-FFF2-40B4-BE49-F238E27FC236}">
                  <a16:creationId xmlns:a16="http://schemas.microsoft.com/office/drawing/2014/main" id="{0A0F9587-7E34-4B74-BD1B-424C81BA884E}"/>
                </a:ext>
              </a:extLst>
            </p:cNvPr>
            <p:cNvSpPr/>
            <p:nvPr/>
          </p:nvSpPr>
          <p:spPr>
            <a:xfrm>
              <a:off x="1319636" y="603153"/>
              <a:ext cx="6246" cy="6246"/>
            </a:xfrm>
            <a:custGeom>
              <a:avLst/>
              <a:gdLst>
                <a:gd name="connsiteX0" fmla="*/ 0 w 0"/>
                <a:gd name="connsiteY0" fmla="*/ 4713 h 0"/>
                <a:gd name="connsiteX1" fmla="*/ 1062 w 0"/>
                <a:gd name="connsiteY1" fmla="*/ 1840 h 0"/>
                <a:gd name="connsiteX2" fmla="*/ 4685 w 0"/>
                <a:gd name="connsiteY2" fmla="*/ 653 h 0"/>
                <a:gd name="connsiteX3" fmla="*/ 3186 w 0"/>
                <a:gd name="connsiteY3" fmla="*/ 3277 h 0"/>
                <a:gd name="connsiteX4" fmla="*/ 0 w 0"/>
                <a:gd name="connsiteY4" fmla="*/ 4713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4713"/>
                  </a:moveTo>
                  <a:cubicBezTo>
                    <a:pt x="0" y="3651"/>
                    <a:pt x="2374" y="3277"/>
                    <a:pt x="1062" y="1840"/>
                  </a:cubicBezTo>
                  <a:cubicBezTo>
                    <a:pt x="1936" y="528"/>
                    <a:pt x="3123" y="-846"/>
                    <a:pt x="4685" y="653"/>
                  </a:cubicBezTo>
                  <a:cubicBezTo>
                    <a:pt x="5684" y="1590"/>
                    <a:pt x="3935" y="2527"/>
                    <a:pt x="3186" y="3277"/>
                  </a:cubicBezTo>
                  <a:cubicBezTo>
                    <a:pt x="2374" y="4089"/>
                    <a:pt x="1374" y="4713"/>
                    <a:pt x="0" y="4713"/>
                  </a:cubicBezTo>
                  <a:close/>
                </a:path>
              </a:pathLst>
            </a:custGeom>
            <a:grpFill/>
            <a:ln w="6246" cap="flat">
              <a:noFill/>
              <a:prstDash val="solid"/>
              <a:miter/>
            </a:ln>
          </p:spPr>
          <p:txBody>
            <a:bodyPr rtlCol="0" anchor="ctr"/>
            <a:lstStyle/>
            <a:p>
              <a:endParaRPr lang="fr-FR" sz="2400"/>
            </a:p>
          </p:txBody>
        </p:sp>
        <p:sp>
          <p:nvSpPr>
            <p:cNvPr id="675" name="Freeform: Shape 674">
              <a:extLst>
                <a:ext uri="{FF2B5EF4-FFF2-40B4-BE49-F238E27FC236}">
                  <a16:creationId xmlns:a16="http://schemas.microsoft.com/office/drawing/2014/main" id="{0CEE93FA-373A-42B1-BE4C-4C56AC502A3E}"/>
                </a:ext>
              </a:extLst>
            </p:cNvPr>
            <p:cNvSpPr/>
            <p:nvPr/>
          </p:nvSpPr>
          <p:spPr>
            <a:xfrm>
              <a:off x="1332441" y="539222"/>
              <a:ext cx="6246" cy="6246"/>
            </a:xfrm>
            <a:custGeom>
              <a:avLst/>
              <a:gdLst>
                <a:gd name="connsiteX0" fmla="*/ 3248 w 0"/>
                <a:gd name="connsiteY0" fmla="*/ 0 h 0"/>
                <a:gd name="connsiteX1" fmla="*/ 999 w 0"/>
                <a:gd name="connsiteY1" fmla="*/ 4872 h 0"/>
                <a:gd name="connsiteX2" fmla="*/ 0 w 0"/>
                <a:gd name="connsiteY2" fmla="*/ 2873 h 0"/>
                <a:gd name="connsiteX3" fmla="*/ 3248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3248" y="0"/>
                  </a:moveTo>
                  <a:cubicBezTo>
                    <a:pt x="5622" y="2748"/>
                    <a:pt x="2873" y="4060"/>
                    <a:pt x="999" y="4872"/>
                  </a:cubicBezTo>
                  <a:cubicBezTo>
                    <a:pt x="-312" y="5434"/>
                    <a:pt x="312" y="3623"/>
                    <a:pt x="0" y="2873"/>
                  </a:cubicBezTo>
                  <a:cubicBezTo>
                    <a:pt x="1499" y="2249"/>
                    <a:pt x="2561" y="1312"/>
                    <a:pt x="3248" y="0"/>
                  </a:cubicBezTo>
                  <a:close/>
                </a:path>
              </a:pathLst>
            </a:custGeom>
            <a:grpFill/>
            <a:ln w="6246" cap="flat">
              <a:noFill/>
              <a:prstDash val="solid"/>
              <a:miter/>
            </a:ln>
          </p:spPr>
          <p:txBody>
            <a:bodyPr rtlCol="0" anchor="ctr"/>
            <a:lstStyle/>
            <a:p>
              <a:endParaRPr lang="fr-FR" sz="2400"/>
            </a:p>
          </p:txBody>
        </p:sp>
        <p:sp>
          <p:nvSpPr>
            <p:cNvPr id="676" name="Freeform: Shape 675">
              <a:extLst>
                <a:ext uri="{FF2B5EF4-FFF2-40B4-BE49-F238E27FC236}">
                  <a16:creationId xmlns:a16="http://schemas.microsoft.com/office/drawing/2014/main" id="{2BCECA17-2E3C-4D9D-9B48-E32C0BF408EA}"/>
                </a:ext>
              </a:extLst>
            </p:cNvPr>
            <p:cNvSpPr/>
            <p:nvPr/>
          </p:nvSpPr>
          <p:spPr>
            <a:xfrm>
              <a:off x="1309765" y="601804"/>
              <a:ext cx="6246" cy="6246"/>
            </a:xfrm>
            <a:custGeom>
              <a:avLst/>
              <a:gdLst>
                <a:gd name="connsiteX0" fmla="*/ 1314 w 0"/>
                <a:gd name="connsiteY0" fmla="*/ 5062 h 0"/>
                <a:gd name="connsiteX1" fmla="*/ 2126 w 0"/>
                <a:gd name="connsiteY1" fmla="*/ 1939 h 0"/>
                <a:gd name="connsiteX2" fmla="*/ 5624 w 0"/>
                <a:gd name="connsiteY2" fmla="*/ 1190 h 0"/>
                <a:gd name="connsiteX3" fmla="*/ 1314 w 0"/>
                <a:gd name="connsiteY3" fmla="*/ 5062 h 0"/>
              </a:gdLst>
              <a:ahLst/>
              <a:cxnLst>
                <a:cxn ang="0">
                  <a:pos x="connsiteX0" y="connsiteY0"/>
                </a:cxn>
                <a:cxn ang="0">
                  <a:pos x="connsiteX1" y="connsiteY1"/>
                </a:cxn>
                <a:cxn ang="0">
                  <a:pos x="connsiteX2" y="connsiteY2"/>
                </a:cxn>
                <a:cxn ang="0">
                  <a:pos x="connsiteX3" y="connsiteY3"/>
                </a:cxn>
              </a:cxnLst>
              <a:rect l="l" t="t" r="r" b="b"/>
              <a:pathLst>
                <a:path>
                  <a:moveTo>
                    <a:pt x="1314" y="5062"/>
                  </a:moveTo>
                  <a:cubicBezTo>
                    <a:pt x="-2059" y="3251"/>
                    <a:pt x="2126" y="3001"/>
                    <a:pt x="2126" y="1939"/>
                  </a:cubicBezTo>
                  <a:cubicBezTo>
                    <a:pt x="3375" y="1939"/>
                    <a:pt x="3625" y="-1871"/>
                    <a:pt x="5624" y="1190"/>
                  </a:cubicBezTo>
                  <a:cubicBezTo>
                    <a:pt x="3812" y="2127"/>
                    <a:pt x="2376" y="3438"/>
                    <a:pt x="1314" y="5062"/>
                  </a:cubicBezTo>
                  <a:close/>
                </a:path>
              </a:pathLst>
            </a:custGeom>
            <a:grpFill/>
            <a:ln w="6246" cap="flat">
              <a:noFill/>
              <a:prstDash val="solid"/>
              <a:miter/>
            </a:ln>
          </p:spPr>
          <p:txBody>
            <a:bodyPr rtlCol="0" anchor="ctr"/>
            <a:lstStyle/>
            <a:p>
              <a:endParaRPr lang="fr-FR" sz="2400"/>
            </a:p>
          </p:txBody>
        </p:sp>
        <p:sp>
          <p:nvSpPr>
            <p:cNvPr id="677" name="Freeform: Shape 676">
              <a:extLst>
                <a:ext uri="{FF2B5EF4-FFF2-40B4-BE49-F238E27FC236}">
                  <a16:creationId xmlns:a16="http://schemas.microsoft.com/office/drawing/2014/main" id="{A8AE09B5-1C07-4E2B-888A-8B813623571B}"/>
                </a:ext>
              </a:extLst>
            </p:cNvPr>
            <p:cNvSpPr/>
            <p:nvPr/>
          </p:nvSpPr>
          <p:spPr>
            <a:xfrm>
              <a:off x="1322884" y="590502"/>
              <a:ext cx="6246" cy="6246"/>
            </a:xfrm>
            <a:custGeom>
              <a:avLst/>
              <a:gdLst>
                <a:gd name="connsiteX0" fmla="*/ 0 w 0"/>
                <a:gd name="connsiteY0" fmla="*/ 4809 h 0"/>
                <a:gd name="connsiteX1" fmla="*/ 4247 w 0"/>
                <a:gd name="connsiteY1" fmla="*/ 0 h 0"/>
                <a:gd name="connsiteX2" fmla="*/ 2124 w 0"/>
                <a:gd name="connsiteY2" fmla="*/ 5809 h 0"/>
                <a:gd name="connsiteX3" fmla="*/ 0 w 0"/>
                <a:gd name="connsiteY3" fmla="*/ 4809 h 0"/>
              </a:gdLst>
              <a:ahLst/>
              <a:cxnLst>
                <a:cxn ang="0">
                  <a:pos x="connsiteX0" y="connsiteY0"/>
                </a:cxn>
                <a:cxn ang="0">
                  <a:pos x="connsiteX1" y="connsiteY1"/>
                </a:cxn>
                <a:cxn ang="0">
                  <a:pos x="connsiteX2" y="connsiteY2"/>
                </a:cxn>
                <a:cxn ang="0">
                  <a:pos x="connsiteX3" y="connsiteY3"/>
                </a:cxn>
              </a:cxnLst>
              <a:rect l="l" t="t" r="r" b="b"/>
              <a:pathLst>
                <a:path>
                  <a:moveTo>
                    <a:pt x="0" y="4809"/>
                  </a:moveTo>
                  <a:cubicBezTo>
                    <a:pt x="1437" y="3186"/>
                    <a:pt x="2873" y="1562"/>
                    <a:pt x="4247" y="0"/>
                  </a:cubicBezTo>
                  <a:cubicBezTo>
                    <a:pt x="6121" y="2686"/>
                    <a:pt x="2124" y="3685"/>
                    <a:pt x="2124" y="5809"/>
                  </a:cubicBezTo>
                  <a:cubicBezTo>
                    <a:pt x="1437" y="5434"/>
                    <a:pt x="687" y="5122"/>
                    <a:pt x="0" y="4809"/>
                  </a:cubicBezTo>
                  <a:close/>
                </a:path>
              </a:pathLst>
            </a:custGeom>
            <a:grpFill/>
            <a:ln w="6246" cap="flat">
              <a:noFill/>
              <a:prstDash val="solid"/>
              <a:miter/>
            </a:ln>
          </p:spPr>
          <p:txBody>
            <a:bodyPr rtlCol="0" anchor="ctr"/>
            <a:lstStyle/>
            <a:p>
              <a:endParaRPr lang="fr-FR" sz="2400"/>
            </a:p>
          </p:txBody>
        </p:sp>
        <p:sp>
          <p:nvSpPr>
            <p:cNvPr id="678" name="Freeform: Shape 677">
              <a:extLst>
                <a:ext uri="{FF2B5EF4-FFF2-40B4-BE49-F238E27FC236}">
                  <a16:creationId xmlns:a16="http://schemas.microsoft.com/office/drawing/2014/main" id="{7C030180-438D-4B96-B84D-EC34666E40D9}"/>
                </a:ext>
              </a:extLst>
            </p:cNvPr>
            <p:cNvSpPr/>
            <p:nvPr/>
          </p:nvSpPr>
          <p:spPr>
            <a:xfrm>
              <a:off x="1214765" y="598247"/>
              <a:ext cx="6246" cy="6246"/>
            </a:xfrm>
            <a:custGeom>
              <a:avLst/>
              <a:gdLst>
                <a:gd name="connsiteX0" fmla="*/ 4310 w 0"/>
                <a:gd name="connsiteY0" fmla="*/ 2873 h 0"/>
                <a:gd name="connsiteX1" fmla="*/ 0 w 0"/>
                <a:gd name="connsiteY1" fmla="*/ 0 h 0"/>
                <a:gd name="connsiteX2" fmla="*/ 4310 w 0"/>
                <a:gd name="connsiteY2" fmla="*/ 2873 h 0"/>
              </a:gdLst>
              <a:ahLst/>
              <a:cxnLst>
                <a:cxn ang="0">
                  <a:pos x="connsiteX0" y="connsiteY0"/>
                </a:cxn>
                <a:cxn ang="0">
                  <a:pos x="connsiteX1" y="connsiteY1"/>
                </a:cxn>
                <a:cxn ang="0">
                  <a:pos x="connsiteX2" y="connsiteY2"/>
                </a:cxn>
              </a:cxnLst>
              <a:rect l="l" t="t" r="r" b="b"/>
              <a:pathLst>
                <a:path>
                  <a:moveTo>
                    <a:pt x="4310" y="2873"/>
                  </a:moveTo>
                  <a:cubicBezTo>
                    <a:pt x="2186" y="2748"/>
                    <a:pt x="999" y="1499"/>
                    <a:pt x="0" y="0"/>
                  </a:cubicBezTo>
                  <a:cubicBezTo>
                    <a:pt x="2186" y="62"/>
                    <a:pt x="3373" y="1312"/>
                    <a:pt x="4310" y="2873"/>
                  </a:cubicBezTo>
                  <a:close/>
                </a:path>
              </a:pathLst>
            </a:custGeom>
            <a:grpFill/>
            <a:ln w="6246" cap="flat">
              <a:noFill/>
              <a:prstDash val="solid"/>
              <a:miter/>
            </a:ln>
          </p:spPr>
          <p:txBody>
            <a:bodyPr rtlCol="0" anchor="ctr"/>
            <a:lstStyle/>
            <a:p>
              <a:endParaRPr lang="fr-FR" sz="2400"/>
            </a:p>
          </p:txBody>
        </p:sp>
        <p:sp>
          <p:nvSpPr>
            <p:cNvPr id="679" name="Freeform: Shape 678">
              <a:extLst>
                <a:ext uri="{FF2B5EF4-FFF2-40B4-BE49-F238E27FC236}">
                  <a16:creationId xmlns:a16="http://schemas.microsoft.com/office/drawing/2014/main" id="{B84B72C1-9121-4867-9218-72D8FAC06158}"/>
                </a:ext>
              </a:extLst>
            </p:cNvPr>
            <p:cNvSpPr/>
            <p:nvPr/>
          </p:nvSpPr>
          <p:spPr>
            <a:xfrm>
              <a:off x="1333815" y="566080"/>
              <a:ext cx="6246" cy="6246"/>
            </a:xfrm>
            <a:custGeom>
              <a:avLst/>
              <a:gdLst>
                <a:gd name="connsiteX0" fmla="*/ 0 w 0"/>
                <a:gd name="connsiteY0" fmla="*/ 2811 h 0"/>
                <a:gd name="connsiteX1" fmla="*/ 2436 w 0"/>
                <a:gd name="connsiteY1" fmla="*/ 0 h 0"/>
                <a:gd name="connsiteX2" fmla="*/ 0 w 0"/>
                <a:gd name="connsiteY2" fmla="*/ 2811 h 0"/>
              </a:gdLst>
              <a:ahLst/>
              <a:cxnLst>
                <a:cxn ang="0">
                  <a:pos x="connsiteX0" y="connsiteY0"/>
                </a:cxn>
                <a:cxn ang="0">
                  <a:pos x="connsiteX1" y="connsiteY1"/>
                </a:cxn>
                <a:cxn ang="0">
                  <a:pos x="connsiteX2" y="connsiteY2"/>
                </a:cxn>
              </a:cxnLst>
              <a:rect l="l" t="t" r="r" b="b"/>
              <a:pathLst>
                <a:path>
                  <a:moveTo>
                    <a:pt x="0" y="2811"/>
                  </a:moveTo>
                  <a:cubicBezTo>
                    <a:pt x="375" y="937"/>
                    <a:pt x="999" y="187"/>
                    <a:pt x="2436" y="0"/>
                  </a:cubicBezTo>
                  <a:cubicBezTo>
                    <a:pt x="2748" y="1437"/>
                    <a:pt x="1624" y="1936"/>
                    <a:pt x="0" y="2811"/>
                  </a:cubicBezTo>
                  <a:close/>
                </a:path>
              </a:pathLst>
            </a:custGeom>
            <a:grpFill/>
            <a:ln w="6246" cap="flat">
              <a:noFill/>
              <a:prstDash val="solid"/>
              <a:miter/>
            </a:ln>
          </p:spPr>
          <p:txBody>
            <a:bodyPr rtlCol="0" anchor="ctr"/>
            <a:lstStyle/>
            <a:p>
              <a:endParaRPr lang="fr-FR" sz="2400"/>
            </a:p>
          </p:txBody>
        </p:sp>
        <p:sp>
          <p:nvSpPr>
            <p:cNvPr id="680" name="Freeform: Shape 679">
              <a:extLst>
                <a:ext uri="{FF2B5EF4-FFF2-40B4-BE49-F238E27FC236}">
                  <a16:creationId xmlns:a16="http://schemas.microsoft.com/office/drawing/2014/main" id="{5A20BB8B-F6F9-40D9-94E3-E06DE15E55E9}"/>
                </a:ext>
              </a:extLst>
            </p:cNvPr>
            <p:cNvSpPr/>
            <p:nvPr/>
          </p:nvSpPr>
          <p:spPr>
            <a:xfrm>
              <a:off x="1240899" y="551738"/>
              <a:ext cx="56215" cy="18738"/>
            </a:xfrm>
            <a:custGeom>
              <a:avLst/>
              <a:gdLst>
                <a:gd name="connsiteX0" fmla="*/ 44509 w 56214"/>
                <a:gd name="connsiteY0" fmla="*/ 13593 h 18738"/>
                <a:gd name="connsiteX1" fmla="*/ 54127 w 56214"/>
                <a:gd name="connsiteY1" fmla="*/ 16591 h 18738"/>
                <a:gd name="connsiteX2" fmla="*/ 57313 w 56214"/>
                <a:gd name="connsiteY2" fmla="*/ 18090 h 18738"/>
                <a:gd name="connsiteX3" fmla="*/ 54565 w 56214"/>
                <a:gd name="connsiteY3" fmla="*/ 20588 h 18738"/>
                <a:gd name="connsiteX4" fmla="*/ 25645 w 56214"/>
                <a:gd name="connsiteY4" fmla="*/ 19839 h 18738"/>
                <a:gd name="connsiteX5" fmla="*/ 599 w 56214"/>
                <a:gd name="connsiteY5" fmla="*/ 2412 h 18738"/>
                <a:gd name="connsiteX6" fmla="*/ 661 w 56214"/>
                <a:gd name="connsiteY6" fmla="*/ 414 h 18738"/>
                <a:gd name="connsiteX7" fmla="*/ 4596 w 56214"/>
                <a:gd name="connsiteY7" fmla="*/ 913 h 18738"/>
                <a:gd name="connsiteX8" fmla="*/ 7594 w 56214"/>
                <a:gd name="connsiteY8" fmla="*/ 4848 h 18738"/>
                <a:gd name="connsiteX9" fmla="*/ 9655 w 56214"/>
                <a:gd name="connsiteY9" fmla="*/ 4349 h 18738"/>
                <a:gd name="connsiteX10" fmla="*/ 11342 w 56214"/>
                <a:gd name="connsiteY10" fmla="*/ 4536 h 18738"/>
                <a:gd name="connsiteX11" fmla="*/ 25520 w 56214"/>
                <a:gd name="connsiteY11" fmla="*/ 10407 h 18738"/>
                <a:gd name="connsiteX12" fmla="*/ 29580 w 56214"/>
                <a:gd name="connsiteY12" fmla="*/ 11282 h 18738"/>
                <a:gd name="connsiteX13" fmla="*/ 30517 w 56214"/>
                <a:gd name="connsiteY13" fmla="*/ 8846 h 18738"/>
                <a:gd name="connsiteX14" fmla="*/ 36951 w 56214"/>
                <a:gd name="connsiteY14" fmla="*/ 10782 h 18738"/>
                <a:gd name="connsiteX15" fmla="*/ 42322 w 56214"/>
                <a:gd name="connsiteY15" fmla="*/ 13655 h 18738"/>
                <a:gd name="connsiteX16" fmla="*/ 44509 w 56214"/>
                <a:gd name="connsiteY16" fmla="*/ 13593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214" h="18738">
                  <a:moveTo>
                    <a:pt x="44509" y="13593"/>
                  </a:moveTo>
                  <a:cubicBezTo>
                    <a:pt x="46382" y="18215"/>
                    <a:pt x="50817" y="15841"/>
                    <a:pt x="54127" y="16591"/>
                  </a:cubicBezTo>
                  <a:cubicBezTo>
                    <a:pt x="55189" y="16841"/>
                    <a:pt x="57438" y="15029"/>
                    <a:pt x="57313" y="18090"/>
                  </a:cubicBezTo>
                  <a:cubicBezTo>
                    <a:pt x="57250" y="20151"/>
                    <a:pt x="56064" y="19901"/>
                    <a:pt x="54565" y="20588"/>
                  </a:cubicBezTo>
                  <a:cubicBezTo>
                    <a:pt x="44758" y="25086"/>
                    <a:pt x="34702" y="22275"/>
                    <a:pt x="25645" y="19839"/>
                  </a:cubicBezTo>
                  <a:cubicBezTo>
                    <a:pt x="15464" y="17091"/>
                    <a:pt x="6220" y="11407"/>
                    <a:pt x="599" y="2412"/>
                  </a:cubicBezTo>
                  <a:cubicBezTo>
                    <a:pt x="161" y="1725"/>
                    <a:pt x="-526" y="913"/>
                    <a:pt x="661" y="414"/>
                  </a:cubicBezTo>
                  <a:cubicBezTo>
                    <a:pt x="1973" y="-148"/>
                    <a:pt x="3534" y="-273"/>
                    <a:pt x="4596" y="913"/>
                  </a:cubicBezTo>
                  <a:cubicBezTo>
                    <a:pt x="5720" y="2163"/>
                    <a:pt x="6470" y="3662"/>
                    <a:pt x="7594" y="4848"/>
                  </a:cubicBezTo>
                  <a:cubicBezTo>
                    <a:pt x="8156" y="5410"/>
                    <a:pt x="9905" y="8221"/>
                    <a:pt x="9655" y="4349"/>
                  </a:cubicBezTo>
                  <a:cubicBezTo>
                    <a:pt x="9593" y="2850"/>
                    <a:pt x="10780" y="4411"/>
                    <a:pt x="11342" y="4536"/>
                  </a:cubicBezTo>
                  <a:cubicBezTo>
                    <a:pt x="16526" y="5660"/>
                    <a:pt x="20649" y="8783"/>
                    <a:pt x="25520" y="10407"/>
                  </a:cubicBezTo>
                  <a:cubicBezTo>
                    <a:pt x="26832" y="10845"/>
                    <a:pt x="28206" y="11219"/>
                    <a:pt x="29580" y="11282"/>
                  </a:cubicBezTo>
                  <a:cubicBezTo>
                    <a:pt x="32516" y="11407"/>
                    <a:pt x="30705" y="9783"/>
                    <a:pt x="30517" y="8846"/>
                  </a:cubicBezTo>
                  <a:cubicBezTo>
                    <a:pt x="32641" y="9470"/>
                    <a:pt x="34827" y="10158"/>
                    <a:pt x="36951" y="10782"/>
                  </a:cubicBezTo>
                  <a:cubicBezTo>
                    <a:pt x="38325" y="12406"/>
                    <a:pt x="40761" y="12406"/>
                    <a:pt x="42322" y="13655"/>
                  </a:cubicBezTo>
                  <a:cubicBezTo>
                    <a:pt x="43072" y="13593"/>
                    <a:pt x="43821" y="13593"/>
                    <a:pt x="44509" y="13593"/>
                  </a:cubicBezTo>
                  <a:close/>
                </a:path>
              </a:pathLst>
            </a:custGeom>
            <a:grpFill/>
            <a:ln w="6246" cap="flat">
              <a:noFill/>
              <a:prstDash val="solid"/>
              <a:miter/>
            </a:ln>
          </p:spPr>
          <p:txBody>
            <a:bodyPr rtlCol="0" anchor="ctr"/>
            <a:lstStyle/>
            <a:p>
              <a:endParaRPr lang="fr-FR" sz="2400"/>
            </a:p>
          </p:txBody>
        </p:sp>
        <p:sp>
          <p:nvSpPr>
            <p:cNvPr id="681" name="Freeform: Shape 680">
              <a:extLst>
                <a:ext uri="{FF2B5EF4-FFF2-40B4-BE49-F238E27FC236}">
                  <a16:creationId xmlns:a16="http://schemas.microsoft.com/office/drawing/2014/main" id="{C52D1D27-82C2-433E-8688-8199B342E6F3}"/>
                </a:ext>
              </a:extLst>
            </p:cNvPr>
            <p:cNvSpPr/>
            <p:nvPr/>
          </p:nvSpPr>
          <p:spPr>
            <a:xfrm>
              <a:off x="1256915" y="507304"/>
              <a:ext cx="49969" cy="12492"/>
            </a:xfrm>
            <a:custGeom>
              <a:avLst/>
              <a:gdLst>
                <a:gd name="connsiteX0" fmla="*/ 23184 w 49968"/>
                <a:gd name="connsiteY0" fmla="*/ 0 h 12492"/>
                <a:gd name="connsiteX1" fmla="*/ 40360 w 49968"/>
                <a:gd name="connsiteY1" fmla="*/ 6746 h 12492"/>
                <a:gd name="connsiteX2" fmla="*/ 45670 w 49968"/>
                <a:gd name="connsiteY2" fmla="*/ 8745 h 12492"/>
                <a:gd name="connsiteX3" fmla="*/ 49979 w 49968"/>
                <a:gd name="connsiteY3" fmla="*/ 14553 h 12492"/>
                <a:gd name="connsiteX4" fmla="*/ 44608 w 49968"/>
                <a:gd name="connsiteY4" fmla="*/ 12055 h 12492"/>
                <a:gd name="connsiteX5" fmla="*/ 23246 w 49968"/>
                <a:gd name="connsiteY5" fmla="*/ 7808 h 12492"/>
                <a:gd name="connsiteX6" fmla="*/ 948 w 49968"/>
                <a:gd name="connsiteY6" fmla="*/ 13929 h 12492"/>
                <a:gd name="connsiteX7" fmla="*/ 3009 w 49968"/>
                <a:gd name="connsiteY7" fmla="*/ 8807 h 12492"/>
                <a:gd name="connsiteX8" fmla="*/ 10629 w 49968"/>
                <a:gd name="connsiteY8" fmla="*/ 4747 h 12492"/>
                <a:gd name="connsiteX9" fmla="*/ 17937 w 49968"/>
                <a:gd name="connsiteY9" fmla="*/ 1062 h 12492"/>
                <a:gd name="connsiteX10" fmla="*/ 20061 w 49968"/>
                <a:gd name="connsiteY10" fmla="*/ 1062 h 12492"/>
                <a:gd name="connsiteX11" fmla="*/ 23184 w 49968"/>
                <a:gd name="connsiteY11"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968" h="12492">
                  <a:moveTo>
                    <a:pt x="23184" y="0"/>
                  </a:moveTo>
                  <a:cubicBezTo>
                    <a:pt x="29367" y="1249"/>
                    <a:pt x="35551" y="2561"/>
                    <a:pt x="40360" y="6746"/>
                  </a:cubicBezTo>
                  <a:cubicBezTo>
                    <a:pt x="41922" y="8057"/>
                    <a:pt x="44108" y="7620"/>
                    <a:pt x="45670" y="8745"/>
                  </a:cubicBezTo>
                  <a:cubicBezTo>
                    <a:pt x="48230" y="9994"/>
                    <a:pt x="50417" y="11493"/>
                    <a:pt x="49979" y="14553"/>
                  </a:cubicBezTo>
                  <a:cubicBezTo>
                    <a:pt x="47543" y="14803"/>
                    <a:pt x="46044" y="13554"/>
                    <a:pt x="44608" y="12055"/>
                  </a:cubicBezTo>
                  <a:cubicBezTo>
                    <a:pt x="40298" y="7558"/>
                    <a:pt x="30117" y="5559"/>
                    <a:pt x="23246" y="7808"/>
                  </a:cubicBezTo>
                  <a:cubicBezTo>
                    <a:pt x="15751" y="9806"/>
                    <a:pt x="9005" y="13804"/>
                    <a:pt x="948" y="13929"/>
                  </a:cubicBezTo>
                  <a:cubicBezTo>
                    <a:pt x="-1301" y="11243"/>
                    <a:pt x="885" y="9994"/>
                    <a:pt x="3009" y="8807"/>
                  </a:cubicBezTo>
                  <a:cubicBezTo>
                    <a:pt x="5507" y="7433"/>
                    <a:pt x="8381" y="6558"/>
                    <a:pt x="10629" y="4747"/>
                  </a:cubicBezTo>
                  <a:cubicBezTo>
                    <a:pt x="12940" y="3310"/>
                    <a:pt x="16001" y="3061"/>
                    <a:pt x="17937" y="1062"/>
                  </a:cubicBezTo>
                  <a:cubicBezTo>
                    <a:pt x="18624" y="1062"/>
                    <a:pt x="19374" y="1062"/>
                    <a:pt x="20061" y="1062"/>
                  </a:cubicBezTo>
                  <a:cubicBezTo>
                    <a:pt x="21123" y="937"/>
                    <a:pt x="22247" y="749"/>
                    <a:pt x="23184" y="0"/>
                  </a:cubicBezTo>
                  <a:close/>
                </a:path>
              </a:pathLst>
            </a:custGeom>
            <a:grpFill/>
            <a:ln w="6246" cap="flat">
              <a:noFill/>
              <a:prstDash val="solid"/>
              <a:miter/>
            </a:ln>
          </p:spPr>
          <p:txBody>
            <a:bodyPr rtlCol="0" anchor="ctr"/>
            <a:lstStyle/>
            <a:p>
              <a:endParaRPr lang="fr-FR" sz="2400"/>
            </a:p>
          </p:txBody>
        </p:sp>
        <p:sp>
          <p:nvSpPr>
            <p:cNvPr id="682" name="Freeform: Shape 681">
              <a:extLst>
                <a:ext uri="{FF2B5EF4-FFF2-40B4-BE49-F238E27FC236}">
                  <a16:creationId xmlns:a16="http://schemas.microsoft.com/office/drawing/2014/main" id="{86F84F5D-5EBB-492D-B360-F9989A2AF61B}"/>
                </a:ext>
              </a:extLst>
            </p:cNvPr>
            <p:cNvSpPr/>
            <p:nvPr/>
          </p:nvSpPr>
          <p:spPr>
            <a:xfrm>
              <a:off x="1273728" y="539205"/>
              <a:ext cx="24984" cy="12492"/>
            </a:xfrm>
            <a:custGeom>
              <a:avLst/>
              <a:gdLst>
                <a:gd name="connsiteX0" fmla="*/ 24547 w 24984"/>
                <a:gd name="connsiteY0" fmla="*/ 954 h 12492"/>
                <a:gd name="connsiteX1" fmla="*/ 22236 w 24984"/>
                <a:gd name="connsiteY1" fmla="*/ 4327 h 12492"/>
                <a:gd name="connsiteX2" fmla="*/ 14678 w 24984"/>
                <a:gd name="connsiteY2" fmla="*/ 5014 h 12492"/>
                <a:gd name="connsiteX3" fmla="*/ 26234 w 24984"/>
                <a:gd name="connsiteY3" fmla="*/ 8824 h 12492"/>
                <a:gd name="connsiteX4" fmla="*/ 28232 w 24984"/>
                <a:gd name="connsiteY4" fmla="*/ 11198 h 12492"/>
                <a:gd name="connsiteX5" fmla="*/ 26858 w 24984"/>
                <a:gd name="connsiteY5" fmla="*/ 12572 h 12492"/>
                <a:gd name="connsiteX6" fmla="*/ 25047 w 24984"/>
                <a:gd name="connsiteY6" fmla="*/ 10761 h 12492"/>
                <a:gd name="connsiteX7" fmla="*/ 20425 w 24984"/>
                <a:gd name="connsiteY7" fmla="*/ 9012 h 12492"/>
                <a:gd name="connsiteX8" fmla="*/ 20300 w 24984"/>
                <a:gd name="connsiteY8" fmla="*/ 12197 h 12492"/>
                <a:gd name="connsiteX9" fmla="*/ 12742 w 24984"/>
                <a:gd name="connsiteY9" fmla="*/ 8637 h 12492"/>
                <a:gd name="connsiteX10" fmla="*/ 8057 w 24984"/>
                <a:gd name="connsiteY10" fmla="*/ 8387 h 12492"/>
                <a:gd name="connsiteX11" fmla="*/ 4185 w 24984"/>
                <a:gd name="connsiteY11" fmla="*/ 8637 h 12492"/>
                <a:gd name="connsiteX12" fmla="*/ 0 w 24984"/>
                <a:gd name="connsiteY12" fmla="*/ 5701 h 12492"/>
                <a:gd name="connsiteX13" fmla="*/ 18114 w 24984"/>
                <a:gd name="connsiteY13" fmla="*/ 767 h 12492"/>
                <a:gd name="connsiteX14" fmla="*/ 24547 w 24984"/>
                <a:gd name="connsiteY14" fmla="*/ 9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84" h="12492">
                  <a:moveTo>
                    <a:pt x="24547" y="954"/>
                  </a:moveTo>
                  <a:cubicBezTo>
                    <a:pt x="25297" y="2953"/>
                    <a:pt x="25359" y="4327"/>
                    <a:pt x="22236" y="4327"/>
                  </a:cubicBezTo>
                  <a:cubicBezTo>
                    <a:pt x="19800" y="4327"/>
                    <a:pt x="17364" y="4764"/>
                    <a:pt x="14678" y="5014"/>
                  </a:cubicBezTo>
                  <a:cubicBezTo>
                    <a:pt x="18801" y="6326"/>
                    <a:pt x="22548" y="7450"/>
                    <a:pt x="26234" y="8824"/>
                  </a:cubicBezTo>
                  <a:cubicBezTo>
                    <a:pt x="27170" y="9199"/>
                    <a:pt x="28857" y="9636"/>
                    <a:pt x="28232" y="11198"/>
                  </a:cubicBezTo>
                  <a:cubicBezTo>
                    <a:pt x="27982" y="11760"/>
                    <a:pt x="27420" y="12447"/>
                    <a:pt x="26858" y="12572"/>
                  </a:cubicBezTo>
                  <a:cubicBezTo>
                    <a:pt x="25234" y="12947"/>
                    <a:pt x="25734" y="11323"/>
                    <a:pt x="25047" y="10761"/>
                  </a:cubicBezTo>
                  <a:cubicBezTo>
                    <a:pt x="23735" y="9636"/>
                    <a:pt x="22236" y="8325"/>
                    <a:pt x="20425" y="9012"/>
                  </a:cubicBezTo>
                  <a:cubicBezTo>
                    <a:pt x="18988" y="9574"/>
                    <a:pt x="21674" y="10823"/>
                    <a:pt x="20300" y="12197"/>
                  </a:cubicBezTo>
                  <a:cubicBezTo>
                    <a:pt x="18488" y="9886"/>
                    <a:pt x="14179" y="12072"/>
                    <a:pt x="12742" y="8637"/>
                  </a:cubicBezTo>
                  <a:cubicBezTo>
                    <a:pt x="11305" y="6701"/>
                    <a:pt x="9681" y="7825"/>
                    <a:pt x="8057" y="8387"/>
                  </a:cubicBezTo>
                  <a:cubicBezTo>
                    <a:pt x="6746" y="8824"/>
                    <a:pt x="5559" y="9886"/>
                    <a:pt x="4185" y="8637"/>
                  </a:cubicBezTo>
                  <a:cubicBezTo>
                    <a:pt x="5871" y="3390"/>
                    <a:pt x="937" y="8325"/>
                    <a:pt x="0" y="5701"/>
                  </a:cubicBezTo>
                  <a:cubicBezTo>
                    <a:pt x="5934" y="3890"/>
                    <a:pt x="10119" y="-2106"/>
                    <a:pt x="18114" y="767"/>
                  </a:cubicBezTo>
                  <a:cubicBezTo>
                    <a:pt x="20050" y="1516"/>
                    <a:pt x="22423" y="954"/>
                    <a:pt x="24547" y="954"/>
                  </a:cubicBezTo>
                  <a:close/>
                </a:path>
              </a:pathLst>
            </a:custGeom>
            <a:grpFill/>
            <a:ln w="6246" cap="flat">
              <a:noFill/>
              <a:prstDash val="solid"/>
              <a:miter/>
            </a:ln>
          </p:spPr>
          <p:txBody>
            <a:bodyPr rtlCol="0" anchor="ctr"/>
            <a:lstStyle/>
            <a:p>
              <a:endParaRPr lang="fr-FR" sz="2400"/>
            </a:p>
          </p:txBody>
        </p:sp>
        <p:sp>
          <p:nvSpPr>
            <p:cNvPr id="683" name="Freeform: Shape 682">
              <a:extLst>
                <a:ext uri="{FF2B5EF4-FFF2-40B4-BE49-F238E27FC236}">
                  <a16:creationId xmlns:a16="http://schemas.microsoft.com/office/drawing/2014/main" id="{A0E09A4A-9D41-4D73-B08D-8395CB7924E0}"/>
                </a:ext>
              </a:extLst>
            </p:cNvPr>
            <p:cNvSpPr/>
            <p:nvPr/>
          </p:nvSpPr>
          <p:spPr>
            <a:xfrm>
              <a:off x="1271051" y="526318"/>
              <a:ext cx="24984" cy="12492"/>
            </a:xfrm>
            <a:custGeom>
              <a:avLst/>
              <a:gdLst>
                <a:gd name="connsiteX0" fmla="*/ 18667 w 24984"/>
                <a:gd name="connsiteY0" fmla="*/ 350 h 12492"/>
                <a:gd name="connsiteX1" fmla="*/ 24038 w 24984"/>
                <a:gd name="connsiteY1" fmla="*/ 2348 h 12492"/>
                <a:gd name="connsiteX2" fmla="*/ 30034 w 24984"/>
                <a:gd name="connsiteY2" fmla="*/ 2099 h 12492"/>
                <a:gd name="connsiteX3" fmla="*/ 15668 w 24984"/>
                <a:gd name="connsiteY3" fmla="*/ 7408 h 12492"/>
                <a:gd name="connsiteX4" fmla="*/ 10609 w 24984"/>
                <a:gd name="connsiteY4" fmla="*/ 10593 h 12492"/>
                <a:gd name="connsiteX5" fmla="*/ 553 w 24984"/>
                <a:gd name="connsiteY5" fmla="*/ 13529 h 12492"/>
                <a:gd name="connsiteX6" fmla="*/ 491 w 24984"/>
                <a:gd name="connsiteY6" fmla="*/ 11967 h 12492"/>
                <a:gd name="connsiteX7" fmla="*/ 1802 w 24984"/>
                <a:gd name="connsiteY7" fmla="*/ 8532 h 12492"/>
                <a:gd name="connsiteX8" fmla="*/ 6362 w 24984"/>
                <a:gd name="connsiteY8" fmla="*/ 4160 h 12492"/>
                <a:gd name="connsiteX9" fmla="*/ 18667 w 24984"/>
                <a:gd name="connsiteY9" fmla="*/ 35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84" h="12492">
                  <a:moveTo>
                    <a:pt x="18667" y="350"/>
                  </a:moveTo>
                  <a:cubicBezTo>
                    <a:pt x="19791" y="2536"/>
                    <a:pt x="21415" y="3035"/>
                    <a:pt x="24038" y="2348"/>
                  </a:cubicBezTo>
                  <a:cubicBezTo>
                    <a:pt x="25787" y="1911"/>
                    <a:pt x="27598" y="600"/>
                    <a:pt x="30034" y="2099"/>
                  </a:cubicBezTo>
                  <a:cubicBezTo>
                    <a:pt x="25537" y="4847"/>
                    <a:pt x="20103" y="5097"/>
                    <a:pt x="15668" y="7408"/>
                  </a:cubicBezTo>
                  <a:cubicBezTo>
                    <a:pt x="13857" y="8345"/>
                    <a:pt x="11983" y="8907"/>
                    <a:pt x="10609" y="10593"/>
                  </a:cubicBezTo>
                  <a:cubicBezTo>
                    <a:pt x="8173" y="13529"/>
                    <a:pt x="4426" y="14029"/>
                    <a:pt x="553" y="13529"/>
                  </a:cubicBezTo>
                  <a:cubicBezTo>
                    <a:pt x="-446" y="13404"/>
                    <a:pt x="428" y="12467"/>
                    <a:pt x="491" y="11967"/>
                  </a:cubicBezTo>
                  <a:cubicBezTo>
                    <a:pt x="-821" y="10281"/>
                    <a:pt x="803" y="9531"/>
                    <a:pt x="1802" y="8532"/>
                  </a:cubicBezTo>
                  <a:cubicBezTo>
                    <a:pt x="3676" y="7408"/>
                    <a:pt x="5363" y="6096"/>
                    <a:pt x="6362" y="4160"/>
                  </a:cubicBezTo>
                  <a:cubicBezTo>
                    <a:pt x="9985" y="1661"/>
                    <a:pt x="13545" y="-962"/>
                    <a:pt x="18667" y="350"/>
                  </a:cubicBezTo>
                  <a:close/>
                </a:path>
              </a:pathLst>
            </a:custGeom>
            <a:grpFill/>
            <a:ln w="6246" cap="flat">
              <a:noFill/>
              <a:prstDash val="solid"/>
              <a:miter/>
            </a:ln>
          </p:spPr>
          <p:txBody>
            <a:bodyPr rtlCol="0" anchor="ctr"/>
            <a:lstStyle/>
            <a:p>
              <a:endParaRPr lang="fr-FR" sz="2400"/>
            </a:p>
          </p:txBody>
        </p:sp>
        <p:sp>
          <p:nvSpPr>
            <p:cNvPr id="684" name="Freeform: Shape 683">
              <a:extLst>
                <a:ext uri="{FF2B5EF4-FFF2-40B4-BE49-F238E27FC236}">
                  <a16:creationId xmlns:a16="http://schemas.microsoft.com/office/drawing/2014/main" id="{C7901E5C-468E-4743-882D-7A292085763F}"/>
                </a:ext>
              </a:extLst>
            </p:cNvPr>
            <p:cNvSpPr/>
            <p:nvPr/>
          </p:nvSpPr>
          <p:spPr>
            <a:xfrm>
              <a:off x="1302522" y="514382"/>
              <a:ext cx="18738" cy="18738"/>
            </a:xfrm>
            <a:custGeom>
              <a:avLst/>
              <a:gdLst>
                <a:gd name="connsiteX0" fmla="*/ 4310 w 18738"/>
                <a:gd name="connsiteY0" fmla="*/ 7414 h 18738"/>
                <a:gd name="connsiteX1" fmla="*/ 0 w 18738"/>
                <a:gd name="connsiteY1" fmla="*/ 1605 h 18738"/>
                <a:gd name="connsiteX2" fmla="*/ 0 w 18738"/>
                <a:gd name="connsiteY2" fmla="*/ 1605 h 18738"/>
                <a:gd name="connsiteX3" fmla="*/ 2873 w 18738"/>
                <a:gd name="connsiteY3" fmla="*/ 43 h 18738"/>
                <a:gd name="connsiteX4" fmla="*/ 6746 w 18738"/>
                <a:gd name="connsiteY4" fmla="*/ 1542 h 18738"/>
                <a:gd name="connsiteX5" fmla="*/ 7995 w 18738"/>
                <a:gd name="connsiteY5" fmla="*/ 2167 h 18738"/>
                <a:gd name="connsiteX6" fmla="*/ 10369 w 18738"/>
                <a:gd name="connsiteY6" fmla="*/ 5852 h 18738"/>
                <a:gd name="connsiteX7" fmla="*/ 13929 w 18738"/>
                <a:gd name="connsiteY7" fmla="*/ 6164 h 18738"/>
                <a:gd name="connsiteX8" fmla="*/ 15678 w 18738"/>
                <a:gd name="connsiteY8" fmla="*/ 8163 h 18738"/>
                <a:gd name="connsiteX9" fmla="*/ 17364 w 18738"/>
                <a:gd name="connsiteY9" fmla="*/ 11911 h 18738"/>
                <a:gd name="connsiteX10" fmla="*/ 18114 w 18738"/>
                <a:gd name="connsiteY10" fmla="*/ 14097 h 18738"/>
                <a:gd name="connsiteX11" fmla="*/ 24547 w 18738"/>
                <a:gd name="connsiteY11" fmla="*/ 18969 h 18738"/>
                <a:gd name="connsiteX12" fmla="*/ 14054 w 18738"/>
                <a:gd name="connsiteY12" fmla="*/ 16533 h 18738"/>
                <a:gd name="connsiteX13" fmla="*/ 6371 w 18738"/>
                <a:gd name="connsiteY13" fmla="*/ 9912 h 18738"/>
                <a:gd name="connsiteX14" fmla="*/ 4310 w 18738"/>
                <a:gd name="connsiteY14" fmla="*/ 741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38" h="18738">
                  <a:moveTo>
                    <a:pt x="4310" y="7414"/>
                  </a:moveTo>
                  <a:cubicBezTo>
                    <a:pt x="3310" y="5227"/>
                    <a:pt x="687" y="4041"/>
                    <a:pt x="0" y="1605"/>
                  </a:cubicBezTo>
                  <a:lnTo>
                    <a:pt x="0" y="1605"/>
                  </a:lnTo>
                  <a:cubicBezTo>
                    <a:pt x="687" y="668"/>
                    <a:pt x="1437" y="-207"/>
                    <a:pt x="2873" y="43"/>
                  </a:cubicBezTo>
                  <a:cubicBezTo>
                    <a:pt x="4247" y="356"/>
                    <a:pt x="5372" y="1230"/>
                    <a:pt x="6746" y="1542"/>
                  </a:cubicBezTo>
                  <a:cubicBezTo>
                    <a:pt x="7183" y="1730"/>
                    <a:pt x="7558" y="1917"/>
                    <a:pt x="7995" y="2167"/>
                  </a:cubicBezTo>
                  <a:cubicBezTo>
                    <a:pt x="9307" y="3166"/>
                    <a:pt x="9994" y="4415"/>
                    <a:pt x="10369" y="5852"/>
                  </a:cubicBezTo>
                  <a:cubicBezTo>
                    <a:pt x="11430" y="7226"/>
                    <a:pt x="12804" y="5477"/>
                    <a:pt x="13929" y="6164"/>
                  </a:cubicBezTo>
                  <a:cubicBezTo>
                    <a:pt x="14803" y="6664"/>
                    <a:pt x="15303" y="7351"/>
                    <a:pt x="15678" y="8163"/>
                  </a:cubicBezTo>
                  <a:cubicBezTo>
                    <a:pt x="16240" y="9412"/>
                    <a:pt x="16115" y="10911"/>
                    <a:pt x="17364" y="11911"/>
                  </a:cubicBezTo>
                  <a:cubicBezTo>
                    <a:pt x="17926" y="12535"/>
                    <a:pt x="18239" y="13285"/>
                    <a:pt x="18114" y="14097"/>
                  </a:cubicBezTo>
                  <a:cubicBezTo>
                    <a:pt x="18676" y="17407"/>
                    <a:pt x="21487" y="18344"/>
                    <a:pt x="24547" y="18969"/>
                  </a:cubicBezTo>
                  <a:cubicBezTo>
                    <a:pt x="20987" y="20843"/>
                    <a:pt x="15553" y="19906"/>
                    <a:pt x="14054" y="16533"/>
                  </a:cubicBezTo>
                  <a:cubicBezTo>
                    <a:pt x="12492" y="13035"/>
                    <a:pt x="11118" y="10224"/>
                    <a:pt x="6371" y="9912"/>
                  </a:cubicBezTo>
                  <a:cubicBezTo>
                    <a:pt x="5684" y="9912"/>
                    <a:pt x="4997" y="8288"/>
                    <a:pt x="4310" y="7414"/>
                  </a:cubicBezTo>
                  <a:close/>
                </a:path>
              </a:pathLst>
            </a:custGeom>
            <a:grpFill/>
            <a:ln w="6246" cap="flat">
              <a:noFill/>
              <a:prstDash val="solid"/>
              <a:miter/>
            </a:ln>
          </p:spPr>
          <p:txBody>
            <a:bodyPr rtlCol="0" anchor="ctr"/>
            <a:lstStyle/>
            <a:p>
              <a:endParaRPr lang="fr-FR" sz="2400"/>
            </a:p>
          </p:txBody>
        </p:sp>
        <p:sp>
          <p:nvSpPr>
            <p:cNvPr id="685" name="Freeform: Shape 684">
              <a:extLst>
                <a:ext uri="{FF2B5EF4-FFF2-40B4-BE49-F238E27FC236}">
                  <a16:creationId xmlns:a16="http://schemas.microsoft.com/office/drawing/2014/main" id="{7A754360-0D3C-4335-854B-7ED5F4AC7C9C}"/>
                </a:ext>
              </a:extLst>
            </p:cNvPr>
            <p:cNvSpPr/>
            <p:nvPr/>
          </p:nvSpPr>
          <p:spPr>
            <a:xfrm>
              <a:off x="1249648" y="515005"/>
              <a:ext cx="31230" cy="12492"/>
            </a:xfrm>
            <a:custGeom>
              <a:avLst/>
              <a:gdLst>
                <a:gd name="connsiteX0" fmla="*/ 7965 w 31230"/>
                <a:gd name="connsiteY0" fmla="*/ 5854 h 12492"/>
                <a:gd name="connsiteX1" fmla="*/ 30451 w 31230"/>
                <a:gd name="connsiteY1" fmla="*/ 45 h 12492"/>
                <a:gd name="connsiteX2" fmla="*/ 30951 w 31230"/>
                <a:gd name="connsiteY2" fmla="*/ 1919 h 12492"/>
                <a:gd name="connsiteX3" fmla="*/ 25079 w 31230"/>
                <a:gd name="connsiteY3" fmla="*/ 3855 h 12492"/>
                <a:gd name="connsiteX4" fmla="*/ 14398 w 31230"/>
                <a:gd name="connsiteY4" fmla="*/ 8664 h 12492"/>
                <a:gd name="connsiteX5" fmla="*/ 11588 w 31230"/>
                <a:gd name="connsiteY5" fmla="*/ 7478 h 12492"/>
                <a:gd name="connsiteX6" fmla="*/ 3718 w 31230"/>
                <a:gd name="connsiteY6" fmla="*/ 12537 h 12492"/>
                <a:gd name="connsiteX7" fmla="*/ 532 w 31230"/>
                <a:gd name="connsiteY7" fmla="*/ 12537 h 12492"/>
                <a:gd name="connsiteX8" fmla="*/ 1157 w 31230"/>
                <a:gd name="connsiteY8" fmla="*/ 9227 h 12492"/>
                <a:gd name="connsiteX9" fmla="*/ 7965 w 31230"/>
                <a:gd name="connsiteY9" fmla="*/ 58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30" h="12492">
                  <a:moveTo>
                    <a:pt x="7965" y="5854"/>
                  </a:moveTo>
                  <a:cubicBezTo>
                    <a:pt x="15585" y="4355"/>
                    <a:pt x="22144" y="-517"/>
                    <a:pt x="30451" y="45"/>
                  </a:cubicBezTo>
                  <a:cubicBezTo>
                    <a:pt x="32012" y="357"/>
                    <a:pt x="33012" y="857"/>
                    <a:pt x="30951" y="1919"/>
                  </a:cubicBezTo>
                  <a:cubicBezTo>
                    <a:pt x="29139" y="2918"/>
                    <a:pt x="26703" y="2418"/>
                    <a:pt x="25079" y="3855"/>
                  </a:cubicBezTo>
                  <a:cubicBezTo>
                    <a:pt x="21956" y="6291"/>
                    <a:pt x="19145" y="9289"/>
                    <a:pt x="14398" y="8664"/>
                  </a:cubicBezTo>
                  <a:cubicBezTo>
                    <a:pt x="13711" y="7790"/>
                    <a:pt x="13586" y="6291"/>
                    <a:pt x="11588" y="7478"/>
                  </a:cubicBezTo>
                  <a:cubicBezTo>
                    <a:pt x="8902" y="9102"/>
                    <a:pt x="5716" y="10039"/>
                    <a:pt x="3718" y="12537"/>
                  </a:cubicBezTo>
                  <a:cubicBezTo>
                    <a:pt x="2656" y="13224"/>
                    <a:pt x="1469" y="13536"/>
                    <a:pt x="532" y="12537"/>
                  </a:cubicBezTo>
                  <a:cubicBezTo>
                    <a:pt x="-592" y="11350"/>
                    <a:pt x="282" y="10226"/>
                    <a:pt x="1157" y="9227"/>
                  </a:cubicBezTo>
                  <a:cubicBezTo>
                    <a:pt x="3093" y="7665"/>
                    <a:pt x="4904" y="5791"/>
                    <a:pt x="7965" y="5854"/>
                  </a:cubicBezTo>
                  <a:close/>
                </a:path>
              </a:pathLst>
            </a:custGeom>
            <a:grpFill/>
            <a:ln w="6246" cap="flat">
              <a:noFill/>
              <a:prstDash val="solid"/>
              <a:miter/>
            </a:ln>
          </p:spPr>
          <p:txBody>
            <a:bodyPr rtlCol="0" anchor="ctr"/>
            <a:lstStyle/>
            <a:p>
              <a:endParaRPr lang="fr-FR" sz="2400"/>
            </a:p>
          </p:txBody>
        </p:sp>
        <p:sp>
          <p:nvSpPr>
            <p:cNvPr id="686" name="Freeform: Shape 685">
              <a:extLst>
                <a:ext uri="{FF2B5EF4-FFF2-40B4-BE49-F238E27FC236}">
                  <a16:creationId xmlns:a16="http://schemas.microsoft.com/office/drawing/2014/main" id="{6CF69490-014B-4FE9-99BB-6A55E6BFE258}"/>
                </a:ext>
              </a:extLst>
            </p:cNvPr>
            <p:cNvSpPr/>
            <p:nvPr/>
          </p:nvSpPr>
          <p:spPr>
            <a:xfrm>
              <a:off x="1273665" y="523054"/>
              <a:ext cx="24984" cy="6246"/>
            </a:xfrm>
            <a:custGeom>
              <a:avLst/>
              <a:gdLst>
                <a:gd name="connsiteX0" fmla="*/ 16052 w 24984"/>
                <a:gd name="connsiteY0" fmla="*/ 3613 h 6246"/>
                <a:gd name="connsiteX1" fmla="*/ 4310 w 24984"/>
                <a:gd name="connsiteY1" fmla="*/ 8423 h 6246"/>
                <a:gd name="connsiteX2" fmla="*/ 687 w 24984"/>
                <a:gd name="connsiteY2" fmla="*/ 10609 h 6246"/>
                <a:gd name="connsiteX3" fmla="*/ 0 w 24984"/>
                <a:gd name="connsiteY3" fmla="*/ 10359 h 6246"/>
                <a:gd name="connsiteX4" fmla="*/ 0 w 24984"/>
                <a:gd name="connsiteY4" fmla="*/ 8423 h 6246"/>
                <a:gd name="connsiteX5" fmla="*/ 9619 w 24984"/>
                <a:gd name="connsiteY5" fmla="*/ 2614 h 6246"/>
                <a:gd name="connsiteX6" fmla="*/ 25109 w 24984"/>
                <a:gd name="connsiteY6" fmla="*/ 303 h 6246"/>
                <a:gd name="connsiteX7" fmla="*/ 16052 w 24984"/>
                <a:gd name="connsiteY7" fmla="*/ 361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6246">
                  <a:moveTo>
                    <a:pt x="16052" y="3613"/>
                  </a:moveTo>
                  <a:cubicBezTo>
                    <a:pt x="11555" y="4051"/>
                    <a:pt x="7870" y="6174"/>
                    <a:pt x="4310" y="8423"/>
                  </a:cubicBezTo>
                  <a:cubicBezTo>
                    <a:pt x="3248" y="9360"/>
                    <a:pt x="2311" y="10422"/>
                    <a:pt x="687" y="10609"/>
                  </a:cubicBezTo>
                  <a:cubicBezTo>
                    <a:pt x="437" y="10547"/>
                    <a:pt x="250" y="10422"/>
                    <a:pt x="0" y="10359"/>
                  </a:cubicBezTo>
                  <a:cubicBezTo>
                    <a:pt x="0" y="9735"/>
                    <a:pt x="0" y="9048"/>
                    <a:pt x="0" y="8423"/>
                  </a:cubicBezTo>
                  <a:cubicBezTo>
                    <a:pt x="1811" y="4613"/>
                    <a:pt x="5372" y="3114"/>
                    <a:pt x="9619" y="2614"/>
                  </a:cubicBezTo>
                  <a:cubicBezTo>
                    <a:pt x="14491" y="2677"/>
                    <a:pt x="18738" y="-1071"/>
                    <a:pt x="25109" y="303"/>
                  </a:cubicBezTo>
                  <a:cubicBezTo>
                    <a:pt x="21549" y="2302"/>
                    <a:pt x="18176" y="1552"/>
                    <a:pt x="16052" y="3613"/>
                  </a:cubicBezTo>
                  <a:close/>
                </a:path>
              </a:pathLst>
            </a:custGeom>
            <a:grpFill/>
            <a:ln w="6246" cap="flat">
              <a:noFill/>
              <a:prstDash val="solid"/>
              <a:miter/>
            </a:ln>
          </p:spPr>
          <p:txBody>
            <a:bodyPr rtlCol="0" anchor="ctr"/>
            <a:lstStyle/>
            <a:p>
              <a:endParaRPr lang="fr-FR" sz="2400"/>
            </a:p>
          </p:txBody>
        </p:sp>
        <p:sp>
          <p:nvSpPr>
            <p:cNvPr id="687" name="Freeform: Shape 686">
              <a:extLst>
                <a:ext uri="{FF2B5EF4-FFF2-40B4-BE49-F238E27FC236}">
                  <a16:creationId xmlns:a16="http://schemas.microsoft.com/office/drawing/2014/main" id="{F6D22659-ADEB-4BC8-845D-41E53ACC99E6}"/>
                </a:ext>
              </a:extLst>
            </p:cNvPr>
            <p:cNvSpPr/>
            <p:nvPr/>
          </p:nvSpPr>
          <p:spPr>
            <a:xfrm>
              <a:off x="1261236" y="518922"/>
              <a:ext cx="12492" cy="6246"/>
            </a:xfrm>
            <a:custGeom>
              <a:avLst/>
              <a:gdLst>
                <a:gd name="connsiteX0" fmla="*/ 2810 w 12492"/>
                <a:gd name="connsiteY0" fmla="*/ 4809 h 6246"/>
                <a:gd name="connsiteX1" fmla="*/ 13491 w 12492"/>
                <a:gd name="connsiteY1" fmla="*/ 0 h 6246"/>
                <a:gd name="connsiteX2" fmla="*/ 14428 w 12492"/>
                <a:gd name="connsiteY2" fmla="*/ 1562 h 6246"/>
                <a:gd name="connsiteX3" fmla="*/ 624 w 12492"/>
                <a:gd name="connsiteY3" fmla="*/ 9681 h 6246"/>
                <a:gd name="connsiteX4" fmla="*/ 2810 w 12492"/>
                <a:gd name="connsiteY4" fmla="*/ 4809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810" y="4809"/>
                  </a:moveTo>
                  <a:cubicBezTo>
                    <a:pt x="6621" y="3623"/>
                    <a:pt x="9431" y="625"/>
                    <a:pt x="13491" y="0"/>
                  </a:cubicBezTo>
                  <a:cubicBezTo>
                    <a:pt x="14303" y="312"/>
                    <a:pt x="17676" y="-500"/>
                    <a:pt x="14428" y="1562"/>
                  </a:cubicBezTo>
                  <a:cubicBezTo>
                    <a:pt x="9931" y="4435"/>
                    <a:pt x="5246" y="6996"/>
                    <a:pt x="624" y="9681"/>
                  </a:cubicBezTo>
                  <a:cubicBezTo>
                    <a:pt x="-1562" y="6996"/>
                    <a:pt x="2686" y="6621"/>
                    <a:pt x="2810" y="4809"/>
                  </a:cubicBezTo>
                  <a:close/>
                </a:path>
              </a:pathLst>
            </a:custGeom>
            <a:grpFill/>
            <a:ln w="6246" cap="flat">
              <a:noFill/>
              <a:prstDash val="solid"/>
              <a:miter/>
            </a:ln>
          </p:spPr>
          <p:txBody>
            <a:bodyPr rtlCol="0" anchor="ctr"/>
            <a:lstStyle/>
            <a:p>
              <a:endParaRPr lang="fr-FR" sz="2400"/>
            </a:p>
          </p:txBody>
        </p:sp>
        <p:sp>
          <p:nvSpPr>
            <p:cNvPr id="688" name="Freeform: Shape 687">
              <a:extLst>
                <a:ext uri="{FF2B5EF4-FFF2-40B4-BE49-F238E27FC236}">
                  <a16:creationId xmlns:a16="http://schemas.microsoft.com/office/drawing/2014/main" id="{70F7B617-1AFF-4380-90FA-7EDB6D80E60E}"/>
                </a:ext>
              </a:extLst>
            </p:cNvPr>
            <p:cNvSpPr/>
            <p:nvPr/>
          </p:nvSpPr>
          <p:spPr>
            <a:xfrm>
              <a:off x="1267044" y="525545"/>
              <a:ext cx="12492" cy="6246"/>
            </a:xfrm>
            <a:custGeom>
              <a:avLst/>
              <a:gdLst>
                <a:gd name="connsiteX0" fmla="*/ 16240 w 12492"/>
                <a:gd name="connsiteY0" fmla="*/ 123 h 6246"/>
                <a:gd name="connsiteX1" fmla="*/ 6621 w 12492"/>
                <a:gd name="connsiteY1" fmla="*/ 5931 h 6246"/>
                <a:gd name="connsiteX2" fmla="*/ 0 w 12492"/>
                <a:gd name="connsiteY2" fmla="*/ 8805 h 6246"/>
                <a:gd name="connsiteX3" fmla="*/ 16240 w 12492"/>
                <a:gd name="connsiteY3" fmla="*/ 123 h 6246"/>
              </a:gdLst>
              <a:ahLst/>
              <a:cxnLst>
                <a:cxn ang="0">
                  <a:pos x="connsiteX0" y="connsiteY0"/>
                </a:cxn>
                <a:cxn ang="0">
                  <a:pos x="connsiteX1" y="connsiteY1"/>
                </a:cxn>
                <a:cxn ang="0">
                  <a:pos x="connsiteX2" y="connsiteY2"/>
                </a:cxn>
                <a:cxn ang="0">
                  <a:pos x="connsiteX3" y="connsiteY3"/>
                </a:cxn>
              </a:cxnLst>
              <a:rect l="l" t="t" r="r" b="b"/>
              <a:pathLst>
                <a:path w="12492" h="6246">
                  <a:moveTo>
                    <a:pt x="16240" y="123"/>
                  </a:moveTo>
                  <a:cubicBezTo>
                    <a:pt x="12680" y="1559"/>
                    <a:pt x="9744" y="3870"/>
                    <a:pt x="6621" y="5931"/>
                  </a:cubicBezTo>
                  <a:cubicBezTo>
                    <a:pt x="3873" y="5432"/>
                    <a:pt x="2374" y="7743"/>
                    <a:pt x="0" y="8805"/>
                  </a:cubicBezTo>
                  <a:cubicBezTo>
                    <a:pt x="1374" y="4432"/>
                    <a:pt x="11680" y="-877"/>
                    <a:pt x="16240" y="123"/>
                  </a:cubicBezTo>
                  <a:close/>
                </a:path>
              </a:pathLst>
            </a:custGeom>
            <a:grpFill/>
            <a:ln w="6246" cap="flat">
              <a:noFill/>
              <a:prstDash val="solid"/>
              <a:miter/>
            </a:ln>
          </p:spPr>
          <p:txBody>
            <a:bodyPr rtlCol="0" anchor="ctr"/>
            <a:lstStyle/>
            <a:p>
              <a:endParaRPr lang="fr-FR" sz="2400"/>
            </a:p>
          </p:txBody>
        </p:sp>
        <p:sp>
          <p:nvSpPr>
            <p:cNvPr id="689" name="Freeform: Shape 688">
              <a:extLst>
                <a:ext uri="{FF2B5EF4-FFF2-40B4-BE49-F238E27FC236}">
                  <a16:creationId xmlns:a16="http://schemas.microsoft.com/office/drawing/2014/main" id="{2E55FF3C-88DA-4A53-934D-4EE83C79D5DD}"/>
                </a:ext>
              </a:extLst>
            </p:cNvPr>
            <p:cNvSpPr/>
            <p:nvPr/>
          </p:nvSpPr>
          <p:spPr>
            <a:xfrm>
              <a:off x="1316598" y="544779"/>
              <a:ext cx="6246" cy="12492"/>
            </a:xfrm>
            <a:custGeom>
              <a:avLst/>
              <a:gdLst>
                <a:gd name="connsiteX0" fmla="*/ 5225 w 6246"/>
                <a:gd name="connsiteY0" fmla="*/ 251 h 12492"/>
                <a:gd name="connsiteX1" fmla="*/ 7224 w 6246"/>
                <a:gd name="connsiteY1" fmla="*/ 1688 h 12492"/>
                <a:gd name="connsiteX2" fmla="*/ 2789 w 6246"/>
                <a:gd name="connsiteY2" fmla="*/ 13930 h 12492"/>
                <a:gd name="connsiteX3" fmla="*/ 853 w 6246"/>
                <a:gd name="connsiteY3" fmla="*/ 15117 h 12492"/>
                <a:gd name="connsiteX4" fmla="*/ 603 w 6246"/>
                <a:gd name="connsiteY4" fmla="*/ 12743 h 12492"/>
                <a:gd name="connsiteX5" fmla="*/ 3101 w 6246"/>
                <a:gd name="connsiteY5" fmla="*/ 5998 h 12492"/>
                <a:gd name="connsiteX6" fmla="*/ 5225 w 6246"/>
                <a:gd name="connsiteY6" fmla="*/ 251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12492">
                  <a:moveTo>
                    <a:pt x="5225" y="251"/>
                  </a:moveTo>
                  <a:cubicBezTo>
                    <a:pt x="6911" y="-373"/>
                    <a:pt x="7723" y="189"/>
                    <a:pt x="7224" y="1688"/>
                  </a:cubicBezTo>
                  <a:cubicBezTo>
                    <a:pt x="5850" y="5810"/>
                    <a:pt x="4288" y="9870"/>
                    <a:pt x="2789" y="13930"/>
                  </a:cubicBezTo>
                  <a:cubicBezTo>
                    <a:pt x="2477" y="14680"/>
                    <a:pt x="1790" y="15492"/>
                    <a:pt x="853" y="15117"/>
                  </a:cubicBezTo>
                  <a:cubicBezTo>
                    <a:pt x="-459" y="14617"/>
                    <a:pt x="-22" y="13493"/>
                    <a:pt x="603" y="12743"/>
                  </a:cubicBezTo>
                  <a:cubicBezTo>
                    <a:pt x="2289" y="10745"/>
                    <a:pt x="2227" y="8246"/>
                    <a:pt x="3101" y="5998"/>
                  </a:cubicBezTo>
                  <a:cubicBezTo>
                    <a:pt x="3976" y="4186"/>
                    <a:pt x="5475" y="2437"/>
                    <a:pt x="5225" y="251"/>
                  </a:cubicBezTo>
                  <a:close/>
                </a:path>
              </a:pathLst>
            </a:custGeom>
            <a:grpFill/>
            <a:ln w="6246" cap="flat">
              <a:noFill/>
              <a:prstDash val="solid"/>
              <a:miter/>
            </a:ln>
          </p:spPr>
          <p:txBody>
            <a:bodyPr rtlCol="0" anchor="ctr"/>
            <a:lstStyle/>
            <a:p>
              <a:endParaRPr lang="fr-FR" sz="2400"/>
            </a:p>
          </p:txBody>
        </p:sp>
        <p:sp>
          <p:nvSpPr>
            <p:cNvPr id="690" name="Freeform: Shape 689">
              <a:extLst>
                <a:ext uri="{FF2B5EF4-FFF2-40B4-BE49-F238E27FC236}">
                  <a16:creationId xmlns:a16="http://schemas.microsoft.com/office/drawing/2014/main" id="{B0E056C7-CE28-44AF-986F-9791FF6F0D6C}"/>
                </a:ext>
              </a:extLst>
            </p:cNvPr>
            <p:cNvSpPr/>
            <p:nvPr/>
          </p:nvSpPr>
          <p:spPr>
            <a:xfrm>
              <a:off x="1272648" y="548523"/>
              <a:ext cx="6246" cy="6246"/>
            </a:xfrm>
            <a:custGeom>
              <a:avLst/>
              <a:gdLst>
                <a:gd name="connsiteX0" fmla="*/ 8512 w 6246"/>
                <a:gd name="connsiteY0" fmla="*/ 380 h 6246"/>
                <a:gd name="connsiteX1" fmla="*/ 4140 w 6246"/>
                <a:gd name="connsiteY1" fmla="*/ 6876 h 6246"/>
                <a:gd name="connsiteX2" fmla="*/ 1017 w 6246"/>
                <a:gd name="connsiteY2" fmla="*/ 8125 h 6246"/>
                <a:gd name="connsiteX3" fmla="*/ 2079 w 6246"/>
                <a:gd name="connsiteY3" fmla="*/ 1379 h 6246"/>
                <a:gd name="connsiteX4" fmla="*/ 8512 w 6246"/>
                <a:gd name="connsiteY4" fmla="*/ 380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8512" y="380"/>
                  </a:moveTo>
                  <a:cubicBezTo>
                    <a:pt x="7013" y="2503"/>
                    <a:pt x="4702" y="4190"/>
                    <a:pt x="4140" y="6876"/>
                  </a:cubicBezTo>
                  <a:cubicBezTo>
                    <a:pt x="3828" y="8562"/>
                    <a:pt x="2579" y="8874"/>
                    <a:pt x="1017" y="8125"/>
                  </a:cubicBezTo>
                  <a:cubicBezTo>
                    <a:pt x="-1294" y="5502"/>
                    <a:pt x="892" y="3503"/>
                    <a:pt x="2079" y="1379"/>
                  </a:cubicBezTo>
                  <a:cubicBezTo>
                    <a:pt x="4140" y="755"/>
                    <a:pt x="6076" y="-682"/>
                    <a:pt x="8512" y="380"/>
                  </a:cubicBezTo>
                  <a:close/>
                </a:path>
              </a:pathLst>
            </a:custGeom>
            <a:grpFill/>
            <a:ln w="6246" cap="flat">
              <a:noFill/>
              <a:prstDash val="solid"/>
              <a:miter/>
            </a:ln>
          </p:spPr>
          <p:txBody>
            <a:bodyPr rtlCol="0" anchor="ctr"/>
            <a:lstStyle/>
            <a:p>
              <a:endParaRPr lang="fr-FR" sz="2400"/>
            </a:p>
          </p:txBody>
        </p:sp>
        <p:sp>
          <p:nvSpPr>
            <p:cNvPr id="691" name="Freeform: Shape 690">
              <a:extLst>
                <a:ext uri="{FF2B5EF4-FFF2-40B4-BE49-F238E27FC236}">
                  <a16:creationId xmlns:a16="http://schemas.microsoft.com/office/drawing/2014/main" id="{13D4570C-8C10-4985-83EE-9D5B2CA7D374}"/>
                </a:ext>
              </a:extLst>
            </p:cNvPr>
            <p:cNvSpPr/>
            <p:nvPr/>
          </p:nvSpPr>
          <p:spPr>
            <a:xfrm>
              <a:off x="1274727" y="545892"/>
              <a:ext cx="12492" cy="6246"/>
            </a:xfrm>
            <a:custGeom>
              <a:avLst/>
              <a:gdLst>
                <a:gd name="connsiteX0" fmla="*/ 6433 w 12492"/>
                <a:gd name="connsiteY0" fmla="*/ 3011 h 0"/>
                <a:gd name="connsiteX1" fmla="*/ 0 w 12492"/>
                <a:gd name="connsiteY1" fmla="*/ 3948 h 0"/>
                <a:gd name="connsiteX2" fmla="*/ 3186 w 12492"/>
                <a:gd name="connsiteY2" fmla="*/ 2012 h 0"/>
                <a:gd name="connsiteX3" fmla="*/ 11555 w 12492"/>
                <a:gd name="connsiteY3" fmla="*/ 76 h 0"/>
                <a:gd name="connsiteX4" fmla="*/ 11743 w 12492"/>
                <a:gd name="connsiteY4" fmla="*/ 2012 h 0"/>
                <a:gd name="connsiteX5" fmla="*/ 6433 w 12492"/>
                <a:gd name="connsiteY5" fmla="*/ 301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a:moveTo>
                    <a:pt x="6433" y="3011"/>
                  </a:moveTo>
                  <a:cubicBezTo>
                    <a:pt x="4247" y="3011"/>
                    <a:pt x="2374" y="4948"/>
                    <a:pt x="0" y="3948"/>
                  </a:cubicBezTo>
                  <a:cubicBezTo>
                    <a:pt x="625" y="2699"/>
                    <a:pt x="1686" y="2012"/>
                    <a:pt x="3186" y="2012"/>
                  </a:cubicBezTo>
                  <a:cubicBezTo>
                    <a:pt x="6059" y="1700"/>
                    <a:pt x="8432" y="-424"/>
                    <a:pt x="11555" y="76"/>
                  </a:cubicBezTo>
                  <a:cubicBezTo>
                    <a:pt x="14366" y="513"/>
                    <a:pt x="11805" y="1387"/>
                    <a:pt x="11743" y="2012"/>
                  </a:cubicBezTo>
                  <a:cubicBezTo>
                    <a:pt x="9869" y="1950"/>
                    <a:pt x="8057" y="2075"/>
                    <a:pt x="6433" y="3011"/>
                  </a:cubicBezTo>
                  <a:close/>
                </a:path>
              </a:pathLst>
            </a:custGeom>
            <a:grpFill/>
            <a:ln w="6246" cap="flat">
              <a:noFill/>
              <a:prstDash val="solid"/>
              <a:miter/>
            </a:ln>
          </p:spPr>
          <p:txBody>
            <a:bodyPr rtlCol="0" anchor="ctr"/>
            <a:lstStyle/>
            <a:p>
              <a:endParaRPr lang="fr-FR" sz="2400"/>
            </a:p>
          </p:txBody>
        </p:sp>
        <p:sp>
          <p:nvSpPr>
            <p:cNvPr id="692" name="Freeform: Shape 691">
              <a:extLst>
                <a:ext uri="{FF2B5EF4-FFF2-40B4-BE49-F238E27FC236}">
                  <a16:creationId xmlns:a16="http://schemas.microsoft.com/office/drawing/2014/main" id="{6661F2B1-35E5-4EB9-A7C4-0675562C04FF}"/>
                </a:ext>
              </a:extLst>
            </p:cNvPr>
            <p:cNvSpPr/>
            <p:nvPr/>
          </p:nvSpPr>
          <p:spPr>
            <a:xfrm>
              <a:off x="1295941" y="554275"/>
              <a:ext cx="6246" cy="6246"/>
            </a:xfrm>
            <a:custGeom>
              <a:avLst/>
              <a:gdLst>
                <a:gd name="connsiteX0" fmla="*/ 210 w 0"/>
                <a:gd name="connsiteY0" fmla="*/ 8120 h 6246"/>
                <a:gd name="connsiteX1" fmla="*/ 3708 w 0"/>
                <a:gd name="connsiteY1" fmla="*/ 0 h 6246"/>
                <a:gd name="connsiteX2" fmla="*/ 1334 w 0"/>
                <a:gd name="connsiteY2" fmla="*/ 7121 h 6246"/>
                <a:gd name="connsiteX3" fmla="*/ 210 w 0"/>
                <a:gd name="connsiteY3" fmla="*/ 8120 h 6246"/>
              </a:gdLst>
              <a:ahLst/>
              <a:cxnLst>
                <a:cxn ang="0">
                  <a:pos x="connsiteX0" y="connsiteY0"/>
                </a:cxn>
                <a:cxn ang="0">
                  <a:pos x="connsiteX1" y="connsiteY1"/>
                </a:cxn>
                <a:cxn ang="0">
                  <a:pos x="connsiteX2" y="connsiteY2"/>
                </a:cxn>
                <a:cxn ang="0">
                  <a:pos x="connsiteX3" y="connsiteY3"/>
                </a:cxn>
              </a:cxnLst>
              <a:rect l="l" t="t" r="r" b="b"/>
              <a:pathLst>
                <a:path h="6246">
                  <a:moveTo>
                    <a:pt x="210" y="8120"/>
                  </a:moveTo>
                  <a:cubicBezTo>
                    <a:pt x="-852" y="4872"/>
                    <a:pt x="2396" y="3435"/>
                    <a:pt x="3708" y="0"/>
                  </a:cubicBezTo>
                  <a:cubicBezTo>
                    <a:pt x="4894" y="3810"/>
                    <a:pt x="2271" y="5184"/>
                    <a:pt x="1334" y="7121"/>
                  </a:cubicBezTo>
                  <a:cubicBezTo>
                    <a:pt x="897" y="7495"/>
                    <a:pt x="522" y="7808"/>
                    <a:pt x="210" y="8120"/>
                  </a:cubicBezTo>
                  <a:close/>
                </a:path>
              </a:pathLst>
            </a:custGeom>
            <a:grpFill/>
            <a:ln w="6246" cap="flat">
              <a:noFill/>
              <a:prstDash val="solid"/>
              <a:miter/>
            </a:ln>
          </p:spPr>
          <p:txBody>
            <a:bodyPr rtlCol="0" anchor="ctr"/>
            <a:lstStyle/>
            <a:p>
              <a:endParaRPr lang="fr-FR" sz="2400"/>
            </a:p>
          </p:txBody>
        </p:sp>
        <p:sp>
          <p:nvSpPr>
            <p:cNvPr id="693" name="Freeform: Shape 692">
              <a:extLst>
                <a:ext uri="{FF2B5EF4-FFF2-40B4-BE49-F238E27FC236}">
                  <a16:creationId xmlns:a16="http://schemas.microsoft.com/office/drawing/2014/main" id="{E428F19E-DEAE-4CF8-BAAD-A532B5E1383A}"/>
                </a:ext>
              </a:extLst>
            </p:cNvPr>
            <p:cNvSpPr/>
            <p:nvPr/>
          </p:nvSpPr>
          <p:spPr>
            <a:xfrm>
              <a:off x="1277913" y="562457"/>
              <a:ext cx="6246" cy="6246"/>
            </a:xfrm>
            <a:custGeom>
              <a:avLst/>
              <a:gdLst>
                <a:gd name="connsiteX0" fmla="*/ 5372 w 0"/>
                <a:gd name="connsiteY0" fmla="*/ 2873 h 0"/>
                <a:gd name="connsiteX1" fmla="*/ 0 w 0"/>
                <a:gd name="connsiteY1" fmla="*/ 0 h 0"/>
                <a:gd name="connsiteX2" fmla="*/ 5372 w 0"/>
                <a:gd name="connsiteY2" fmla="*/ 2873 h 0"/>
              </a:gdLst>
              <a:ahLst/>
              <a:cxnLst>
                <a:cxn ang="0">
                  <a:pos x="connsiteX0" y="connsiteY0"/>
                </a:cxn>
                <a:cxn ang="0">
                  <a:pos x="connsiteX1" y="connsiteY1"/>
                </a:cxn>
                <a:cxn ang="0">
                  <a:pos x="connsiteX2" y="connsiteY2"/>
                </a:cxn>
              </a:cxnLst>
              <a:rect l="l" t="t" r="r" b="b"/>
              <a:pathLst>
                <a:path>
                  <a:moveTo>
                    <a:pt x="5372" y="2873"/>
                  </a:moveTo>
                  <a:cubicBezTo>
                    <a:pt x="3061" y="2748"/>
                    <a:pt x="625" y="2686"/>
                    <a:pt x="0" y="0"/>
                  </a:cubicBezTo>
                  <a:cubicBezTo>
                    <a:pt x="1999" y="625"/>
                    <a:pt x="4685" y="187"/>
                    <a:pt x="5372" y="2873"/>
                  </a:cubicBezTo>
                  <a:close/>
                </a:path>
              </a:pathLst>
            </a:custGeom>
            <a:grpFill/>
            <a:ln w="6246" cap="flat">
              <a:noFill/>
              <a:prstDash val="solid"/>
              <a:miter/>
            </a:ln>
          </p:spPr>
          <p:txBody>
            <a:bodyPr rtlCol="0" anchor="ctr"/>
            <a:lstStyle/>
            <a:p>
              <a:endParaRPr lang="fr-FR" sz="2400"/>
            </a:p>
          </p:txBody>
        </p:sp>
        <p:sp>
          <p:nvSpPr>
            <p:cNvPr id="694" name="Freeform: Shape 693">
              <a:extLst>
                <a:ext uri="{FF2B5EF4-FFF2-40B4-BE49-F238E27FC236}">
                  <a16:creationId xmlns:a16="http://schemas.microsoft.com/office/drawing/2014/main" id="{3ED66EB8-C781-4805-85BF-5CE960BAC66A}"/>
                </a:ext>
              </a:extLst>
            </p:cNvPr>
            <p:cNvSpPr/>
            <p:nvPr/>
          </p:nvSpPr>
          <p:spPr>
            <a:xfrm>
              <a:off x="1270472" y="533413"/>
              <a:ext cx="6246" cy="6246"/>
            </a:xfrm>
            <a:custGeom>
              <a:avLst/>
              <a:gdLst>
                <a:gd name="connsiteX0" fmla="*/ 3194 w 0"/>
                <a:gd name="connsiteY0" fmla="*/ 1936 h 0"/>
                <a:gd name="connsiteX1" fmla="*/ 1070 w 0"/>
                <a:gd name="connsiteY1" fmla="*/ 4809 h 0"/>
                <a:gd name="connsiteX2" fmla="*/ 3194 w 0"/>
                <a:gd name="connsiteY2" fmla="*/ 0 h 0"/>
                <a:gd name="connsiteX3" fmla="*/ 3194 w 0"/>
                <a:gd name="connsiteY3" fmla="*/ 1936 h 0"/>
              </a:gdLst>
              <a:ahLst/>
              <a:cxnLst>
                <a:cxn ang="0">
                  <a:pos x="connsiteX0" y="connsiteY0"/>
                </a:cxn>
                <a:cxn ang="0">
                  <a:pos x="connsiteX1" y="connsiteY1"/>
                </a:cxn>
                <a:cxn ang="0">
                  <a:pos x="connsiteX2" y="connsiteY2"/>
                </a:cxn>
                <a:cxn ang="0">
                  <a:pos x="connsiteX3" y="connsiteY3"/>
                </a:cxn>
              </a:cxnLst>
              <a:rect l="l" t="t" r="r" b="b"/>
              <a:pathLst>
                <a:path>
                  <a:moveTo>
                    <a:pt x="3194" y="1936"/>
                  </a:moveTo>
                  <a:cubicBezTo>
                    <a:pt x="1820" y="2498"/>
                    <a:pt x="1070" y="3435"/>
                    <a:pt x="1070" y="4809"/>
                  </a:cubicBezTo>
                  <a:cubicBezTo>
                    <a:pt x="-679" y="3061"/>
                    <a:pt x="-491" y="2498"/>
                    <a:pt x="3194" y="0"/>
                  </a:cubicBezTo>
                  <a:cubicBezTo>
                    <a:pt x="3818" y="625"/>
                    <a:pt x="3756" y="1312"/>
                    <a:pt x="3194" y="1936"/>
                  </a:cubicBezTo>
                  <a:close/>
                </a:path>
              </a:pathLst>
            </a:custGeom>
            <a:grpFill/>
            <a:ln w="6246" cap="flat">
              <a:noFill/>
              <a:prstDash val="solid"/>
              <a:miter/>
            </a:ln>
          </p:spPr>
          <p:txBody>
            <a:bodyPr rtlCol="0" anchor="ctr"/>
            <a:lstStyle/>
            <a:p>
              <a:endParaRPr lang="fr-FR" sz="2400"/>
            </a:p>
          </p:txBody>
        </p:sp>
        <p:sp>
          <p:nvSpPr>
            <p:cNvPr id="695" name="Freeform: Shape 694">
              <a:extLst>
                <a:ext uri="{FF2B5EF4-FFF2-40B4-BE49-F238E27FC236}">
                  <a16:creationId xmlns:a16="http://schemas.microsoft.com/office/drawing/2014/main" id="{FF4D44EF-814A-4C15-93CC-EE145652BCC8}"/>
                </a:ext>
              </a:extLst>
            </p:cNvPr>
            <p:cNvSpPr/>
            <p:nvPr/>
          </p:nvSpPr>
          <p:spPr>
            <a:xfrm>
              <a:off x="1318699" y="522297"/>
              <a:ext cx="6246" cy="6246"/>
            </a:xfrm>
            <a:custGeom>
              <a:avLst/>
              <a:gdLst>
                <a:gd name="connsiteX0" fmla="*/ 2061 w 6246"/>
                <a:gd name="connsiteY0" fmla="*/ 6245 h 0"/>
                <a:gd name="connsiteX1" fmla="*/ 874 w 6246"/>
                <a:gd name="connsiteY1" fmla="*/ 4371 h 0"/>
                <a:gd name="connsiteX2" fmla="*/ 0 w 6246"/>
                <a:gd name="connsiteY2" fmla="*/ 2497 h 0"/>
                <a:gd name="connsiteX3" fmla="*/ 1187 w 6246"/>
                <a:gd name="connsiteY3" fmla="*/ 186 h 0"/>
                <a:gd name="connsiteX4" fmla="*/ 5871 w 6246"/>
                <a:gd name="connsiteY4" fmla="*/ 998 h 0"/>
                <a:gd name="connsiteX5" fmla="*/ 7808 w 6246"/>
                <a:gd name="connsiteY5" fmla="*/ 3496 h 0"/>
                <a:gd name="connsiteX6" fmla="*/ 6308 w 6246"/>
                <a:gd name="connsiteY6" fmla="*/ 6245 h 0"/>
                <a:gd name="connsiteX7" fmla="*/ 2061 w 6246"/>
                <a:gd name="connsiteY7" fmla="*/ 624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2061" y="6245"/>
                  </a:moveTo>
                  <a:cubicBezTo>
                    <a:pt x="1686" y="5620"/>
                    <a:pt x="1249" y="4995"/>
                    <a:pt x="874" y="4371"/>
                  </a:cubicBezTo>
                  <a:cubicBezTo>
                    <a:pt x="312" y="3809"/>
                    <a:pt x="62" y="3184"/>
                    <a:pt x="0" y="2497"/>
                  </a:cubicBezTo>
                  <a:cubicBezTo>
                    <a:pt x="0" y="1560"/>
                    <a:pt x="250" y="686"/>
                    <a:pt x="1187" y="186"/>
                  </a:cubicBezTo>
                  <a:cubicBezTo>
                    <a:pt x="2936" y="-439"/>
                    <a:pt x="4310" y="686"/>
                    <a:pt x="5871" y="998"/>
                  </a:cubicBezTo>
                  <a:cubicBezTo>
                    <a:pt x="7058" y="1498"/>
                    <a:pt x="7620" y="2372"/>
                    <a:pt x="7808" y="3496"/>
                  </a:cubicBezTo>
                  <a:cubicBezTo>
                    <a:pt x="7870" y="4683"/>
                    <a:pt x="7495" y="5620"/>
                    <a:pt x="6308" y="6245"/>
                  </a:cubicBezTo>
                  <a:cubicBezTo>
                    <a:pt x="4872" y="6245"/>
                    <a:pt x="3435" y="6245"/>
                    <a:pt x="2061" y="6245"/>
                  </a:cubicBezTo>
                  <a:close/>
                </a:path>
              </a:pathLst>
            </a:custGeom>
            <a:grpFill/>
            <a:ln w="6246" cap="flat">
              <a:noFill/>
              <a:prstDash val="solid"/>
              <a:miter/>
            </a:ln>
          </p:spPr>
          <p:txBody>
            <a:bodyPr rtlCol="0" anchor="ctr"/>
            <a:lstStyle/>
            <a:p>
              <a:endParaRPr lang="fr-FR" sz="2400"/>
            </a:p>
          </p:txBody>
        </p:sp>
        <p:sp>
          <p:nvSpPr>
            <p:cNvPr id="696" name="Freeform: Shape 695">
              <a:extLst>
                <a:ext uri="{FF2B5EF4-FFF2-40B4-BE49-F238E27FC236}">
                  <a16:creationId xmlns:a16="http://schemas.microsoft.com/office/drawing/2014/main" id="{9EBD6E77-6781-45BC-8C50-B00102D3ABBA}"/>
                </a:ext>
              </a:extLst>
            </p:cNvPr>
            <p:cNvSpPr/>
            <p:nvPr/>
          </p:nvSpPr>
          <p:spPr>
            <a:xfrm>
              <a:off x="1321874" y="514987"/>
              <a:ext cx="6246" cy="6246"/>
            </a:xfrm>
            <a:custGeom>
              <a:avLst/>
              <a:gdLst>
                <a:gd name="connsiteX0" fmla="*/ 4196 w 0"/>
                <a:gd name="connsiteY0" fmla="*/ 10681 h 6246"/>
                <a:gd name="connsiteX1" fmla="*/ 2072 w 0"/>
                <a:gd name="connsiteY1" fmla="*/ 8745 h 6246"/>
                <a:gd name="connsiteX2" fmla="*/ 386 w 0"/>
                <a:gd name="connsiteY2" fmla="*/ 6808 h 6246"/>
                <a:gd name="connsiteX3" fmla="*/ 11 w 0"/>
                <a:gd name="connsiteY3" fmla="*/ 2374 h 6246"/>
                <a:gd name="connsiteX4" fmla="*/ 1073 w 0"/>
                <a:gd name="connsiteY4" fmla="*/ 0 h 6246"/>
                <a:gd name="connsiteX5" fmla="*/ 3009 w 0"/>
                <a:gd name="connsiteY5" fmla="*/ 1312 h 6246"/>
                <a:gd name="connsiteX6" fmla="*/ 4321 w 0"/>
                <a:gd name="connsiteY6" fmla="*/ 6746 h 6246"/>
                <a:gd name="connsiteX7" fmla="*/ 4758 w 0"/>
                <a:gd name="connsiteY7" fmla="*/ 10181 h 6246"/>
                <a:gd name="connsiteX8" fmla="*/ 4196 w 0"/>
                <a:gd name="connsiteY8" fmla="*/ 10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196" y="10681"/>
                  </a:moveTo>
                  <a:cubicBezTo>
                    <a:pt x="3509" y="10056"/>
                    <a:pt x="2759" y="9369"/>
                    <a:pt x="2072" y="8745"/>
                  </a:cubicBezTo>
                  <a:cubicBezTo>
                    <a:pt x="1135" y="8370"/>
                    <a:pt x="511" y="7808"/>
                    <a:pt x="386" y="6808"/>
                  </a:cubicBezTo>
                  <a:cubicBezTo>
                    <a:pt x="635" y="5309"/>
                    <a:pt x="386" y="3810"/>
                    <a:pt x="11" y="2374"/>
                  </a:cubicBezTo>
                  <a:cubicBezTo>
                    <a:pt x="-51" y="1437"/>
                    <a:pt x="136" y="562"/>
                    <a:pt x="1073" y="0"/>
                  </a:cubicBezTo>
                  <a:cubicBezTo>
                    <a:pt x="1697" y="437"/>
                    <a:pt x="2384" y="874"/>
                    <a:pt x="3009" y="1312"/>
                  </a:cubicBezTo>
                  <a:cubicBezTo>
                    <a:pt x="3446" y="3123"/>
                    <a:pt x="3884" y="4934"/>
                    <a:pt x="4321" y="6746"/>
                  </a:cubicBezTo>
                  <a:cubicBezTo>
                    <a:pt x="4883" y="7870"/>
                    <a:pt x="5133" y="8994"/>
                    <a:pt x="4758" y="10181"/>
                  </a:cubicBezTo>
                  <a:cubicBezTo>
                    <a:pt x="4571" y="10306"/>
                    <a:pt x="4383" y="10493"/>
                    <a:pt x="4196" y="10681"/>
                  </a:cubicBezTo>
                  <a:close/>
                </a:path>
              </a:pathLst>
            </a:custGeom>
            <a:grpFill/>
            <a:ln w="6246" cap="flat">
              <a:noFill/>
              <a:prstDash val="solid"/>
              <a:miter/>
            </a:ln>
          </p:spPr>
          <p:txBody>
            <a:bodyPr rtlCol="0" anchor="ctr"/>
            <a:lstStyle/>
            <a:p>
              <a:endParaRPr lang="fr-FR" sz="2400"/>
            </a:p>
          </p:txBody>
        </p:sp>
        <p:sp>
          <p:nvSpPr>
            <p:cNvPr id="697" name="Freeform: Shape 696">
              <a:extLst>
                <a:ext uri="{FF2B5EF4-FFF2-40B4-BE49-F238E27FC236}">
                  <a16:creationId xmlns:a16="http://schemas.microsoft.com/office/drawing/2014/main" id="{0F26B5B8-A147-4F8B-911C-55F76748E459}"/>
                </a:ext>
              </a:extLst>
            </p:cNvPr>
            <p:cNvSpPr/>
            <p:nvPr/>
          </p:nvSpPr>
          <p:spPr>
            <a:xfrm>
              <a:off x="1325008" y="525325"/>
              <a:ext cx="6246" cy="6246"/>
            </a:xfrm>
            <a:custGeom>
              <a:avLst/>
              <a:gdLst>
                <a:gd name="connsiteX0" fmla="*/ 0 w 0"/>
                <a:gd name="connsiteY0" fmla="*/ 3216 h 0"/>
                <a:gd name="connsiteX1" fmla="*/ 1062 w 0"/>
                <a:gd name="connsiteY1" fmla="*/ 342 h 0"/>
                <a:gd name="connsiteX2" fmla="*/ 1062 w 0"/>
                <a:gd name="connsiteY2" fmla="*/ 280 h 0"/>
                <a:gd name="connsiteX3" fmla="*/ 3311 w 0"/>
                <a:gd name="connsiteY3" fmla="*/ 280 h 0"/>
                <a:gd name="connsiteX4" fmla="*/ 3311 w 0"/>
                <a:gd name="connsiteY4" fmla="*/ 4777 h 0"/>
                <a:gd name="connsiteX5" fmla="*/ 0 w 0"/>
                <a:gd name="connsiteY5" fmla="*/ 321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3216"/>
                  </a:moveTo>
                  <a:cubicBezTo>
                    <a:pt x="375" y="2279"/>
                    <a:pt x="687" y="1279"/>
                    <a:pt x="1062" y="342"/>
                  </a:cubicBezTo>
                  <a:lnTo>
                    <a:pt x="1062" y="280"/>
                  </a:lnTo>
                  <a:cubicBezTo>
                    <a:pt x="1811" y="-282"/>
                    <a:pt x="2561" y="155"/>
                    <a:pt x="3311" y="280"/>
                  </a:cubicBezTo>
                  <a:cubicBezTo>
                    <a:pt x="4685" y="1779"/>
                    <a:pt x="5059" y="3590"/>
                    <a:pt x="3311" y="4777"/>
                  </a:cubicBezTo>
                  <a:cubicBezTo>
                    <a:pt x="1811" y="5714"/>
                    <a:pt x="250" y="5214"/>
                    <a:pt x="0" y="3216"/>
                  </a:cubicBezTo>
                  <a:close/>
                </a:path>
              </a:pathLst>
            </a:custGeom>
            <a:grpFill/>
            <a:ln w="6246" cap="flat">
              <a:noFill/>
              <a:prstDash val="solid"/>
              <a:miter/>
            </a:ln>
          </p:spPr>
          <p:txBody>
            <a:bodyPr rtlCol="0" anchor="ctr"/>
            <a:lstStyle/>
            <a:p>
              <a:endParaRPr lang="fr-FR" sz="2400"/>
            </a:p>
          </p:txBody>
        </p:sp>
        <p:sp>
          <p:nvSpPr>
            <p:cNvPr id="698" name="Freeform: Shape 697">
              <a:extLst>
                <a:ext uri="{FF2B5EF4-FFF2-40B4-BE49-F238E27FC236}">
                  <a16:creationId xmlns:a16="http://schemas.microsoft.com/office/drawing/2014/main" id="{A6F26055-30D5-48AE-B882-D346C9EE42D1}"/>
                </a:ext>
              </a:extLst>
            </p:cNvPr>
            <p:cNvSpPr/>
            <p:nvPr/>
          </p:nvSpPr>
          <p:spPr>
            <a:xfrm>
              <a:off x="1326007" y="521670"/>
              <a:ext cx="6246" cy="6246"/>
            </a:xfrm>
            <a:custGeom>
              <a:avLst/>
              <a:gdLst>
                <a:gd name="connsiteX0" fmla="*/ 2249 w 0"/>
                <a:gd name="connsiteY0" fmla="*/ 3935 h 0"/>
                <a:gd name="connsiteX1" fmla="*/ 0 w 0"/>
                <a:gd name="connsiteY1" fmla="*/ 3935 h 0"/>
                <a:gd name="connsiteX2" fmla="*/ 125 w 0"/>
                <a:gd name="connsiteY2" fmla="*/ 0 h 0"/>
                <a:gd name="connsiteX3" fmla="*/ 2249 w 0"/>
                <a:gd name="connsiteY3" fmla="*/ 3935 h 0"/>
              </a:gdLst>
              <a:ahLst/>
              <a:cxnLst>
                <a:cxn ang="0">
                  <a:pos x="connsiteX0" y="connsiteY0"/>
                </a:cxn>
                <a:cxn ang="0">
                  <a:pos x="connsiteX1" y="connsiteY1"/>
                </a:cxn>
                <a:cxn ang="0">
                  <a:pos x="connsiteX2" y="connsiteY2"/>
                </a:cxn>
                <a:cxn ang="0">
                  <a:pos x="connsiteX3" y="connsiteY3"/>
                </a:cxn>
              </a:cxnLst>
              <a:rect l="l" t="t" r="r" b="b"/>
              <a:pathLst>
                <a:path>
                  <a:moveTo>
                    <a:pt x="2249" y="3935"/>
                  </a:moveTo>
                  <a:cubicBezTo>
                    <a:pt x="1499" y="4997"/>
                    <a:pt x="750" y="4185"/>
                    <a:pt x="0" y="3935"/>
                  </a:cubicBezTo>
                  <a:cubicBezTo>
                    <a:pt x="63" y="2623"/>
                    <a:pt x="63" y="1312"/>
                    <a:pt x="125" y="0"/>
                  </a:cubicBezTo>
                  <a:cubicBezTo>
                    <a:pt x="1312" y="1124"/>
                    <a:pt x="1999" y="2436"/>
                    <a:pt x="2249" y="3935"/>
                  </a:cubicBezTo>
                  <a:close/>
                </a:path>
              </a:pathLst>
            </a:custGeom>
            <a:grpFill/>
            <a:ln w="6246" cap="flat">
              <a:noFill/>
              <a:prstDash val="solid"/>
              <a:miter/>
            </a:ln>
          </p:spPr>
          <p:txBody>
            <a:bodyPr rtlCol="0" anchor="ctr"/>
            <a:lstStyle/>
            <a:p>
              <a:endParaRPr lang="fr-FR" sz="2400"/>
            </a:p>
          </p:txBody>
        </p:sp>
        <p:sp>
          <p:nvSpPr>
            <p:cNvPr id="699" name="Freeform: Shape 698">
              <a:extLst>
                <a:ext uri="{FF2B5EF4-FFF2-40B4-BE49-F238E27FC236}">
                  <a16:creationId xmlns:a16="http://schemas.microsoft.com/office/drawing/2014/main" id="{C47C5CAB-CC9B-4A51-AD42-9B83B6D68D0D}"/>
                </a:ext>
              </a:extLst>
            </p:cNvPr>
            <p:cNvSpPr/>
            <p:nvPr/>
          </p:nvSpPr>
          <p:spPr>
            <a:xfrm>
              <a:off x="1294191" y="490940"/>
              <a:ext cx="24984" cy="18738"/>
            </a:xfrm>
            <a:custGeom>
              <a:avLst/>
              <a:gdLst>
                <a:gd name="connsiteX0" fmla="*/ 1897 w 24984"/>
                <a:gd name="connsiteY0" fmla="*/ 0 h 18738"/>
                <a:gd name="connsiteX1" fmla="*/ 8268 w 24984"/>
                <a:gd name="connsiteY1" fmla="*/ 2124 h 18738"/>
                <a:gd name="connsiteX2" fmla="*/ 21135 w 24984"/>
                <a:gd name="connsiteY2" fmla="*/ 12680 h 18738"/>
                <a:gd name="connsiteX3" fmla="*/ 25070 w 24984"/>
                <a:gd name="connsiteY3" fmla="*/ 20737 h 18738"/>
                <a:gd name="connsiteX4" fmla="*/ 24446 w 24984"/>
                <a:gd name="connsiteY4" fmla="*/ 24610 h 18738"/>
                <a:gd name="connsiteX5" fmla="*/ 23009 w 24984"/>
                <a:gd name="connsiteY5" fmla="*/ 24485 h 18738"/>
                <a:gd name="connsiteX6" fmla="*/ 8081 w 24984"/>
                <a:gd name="connsiteY6" fmla="*/ 10993 h 18738"/>
                <a:gd name="connsiteX7" fmla="*/ 2022 w 24984"/>
                <a:gd name="connsiteY7" fmla="*/ 5809 h 18738"/>
                <a:gd name="connsiteX8" fmla="*/ 1897 w 24984"/>
                <a:gd name="connsiteY8" fmla="*/ 0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h="18738">
                  <a:moveTo>
                    <a:pt x="1897" y="0"/>
                  </a:moveTo>
                  <a:cubicBezTo>
                    <a:pt x="4021" y="687"/>
                    <a:pt x="6145" y="1437"/>
                    <a:pt x="8268" y="2124"/>
                  </a:cubicBezTo>
                  <a:cubicBezTo>
                    <a:pt x="13078" y="5122"/>
                    <a:pt x="17825" y="8182"/>
                    <a:pt x="21135" y="12680"/>
                  </a:cubicBezTo>
                  <a:cubicBezTo>
                    <a:pt x="21697" y="15678"/>
                    <a:pt x="24883" y="17614"/>
                    <a:pt x="25070" y="20737"/>
                  </a:cubicBezTo>
                  <a:cubicBezTo>
                    <a:pt x="23821" y="21861"/>
                    <a:pt x="27381" y="23673"/>
                    <a:pt x="24446" y="24610"/>
                  </a:cubicBezTo>
                  <a:cubicBezTo>
                    <a:pt x="23946" y="24672"/>
                    <a:pt x="23446" y="24610"/>
                    <a:pt x="23009" y="24485"/>
                  </a:cubicBezTo>
                  <a:cubicBezTo>
                    <a:pt x="17263" y="20675"/>
                    <a:pt x="12890" y="15678"/>
                    <a:pt x="8081" y="10993"/>
                  </a:cubicBezTo>
                  <a:cubicBezTo>
                    <a:pt x="6519" y="8807"/>
                    <a:pt x="4083" y="7495"/>
                    <a:pt x="2022" y="5809"/>
                  </a:cubicBezTo>
                  <a:cubicBezTo>
                    <a:pt x="-226" y="3997"/>
                    <a:pt x="-1038" y="1936"/>
                    <a:pt x="1897" y="0"/>
                  </a:cubicBezTo>
                  <a:close/>
                </a:path>
              </a:pathLst>
            </a:custGeom>
            <a:grpFill/>
            <a:ln w="6246" cap="flat">
              <a:noFill/>
              <a:prstDash val="solid"/>
              <a:miter/>
            </a:ln>
          </p:spPr>
          <p:txBody>
            <a:bodyPr rtlCol="0" anchor="ctr"/>
            <a:lstStyle/>
            <a:p>
              <a:endParaRPr lang="fr-FR" sz="2400"/>
            </a:p>
          </p:txBody>
        </p:sp>
        <p:sp>
          <p:nvSpPr>
            <p:cNvPr id="700" name="Freeform: Shape 699">
              <a:extLst>
                <a:ext uri="{FF2B5EF4-FFF2-40B4-BE49-F238E27FC236}">
                  <a16:creationId xmlns:a16="http://schemas.microsoft.com/office/drawing/2014/main" id="{53D40F73-F2F1-462E-AA68-14617994727F}"/>
                </a:ext>
              </a:extLst>
            </p:cNvPr>
            <p:cNvSpPr/>
            <p:nvPr/>
          </p:nvSpPr>
          <p:spPr>
            <a:xfrm>
              <a:off x="1315005" y="503619"/>
              <a:ext cx="6246" cy="6246"/>
            </a:xfrm>
            <a:custGeom>
              <a:avLst/>
              <a:gdLst>
                <a:gd name="connsiteX0" fmla="*/ 3570 w 6246"/>
                <a:gd name="connsiteY0" fmla="*/ 8495 h 6246"/>
                <a:gd name="connsiteX1" fmla="*/ 322 w 6246"/>
                <a:gd name="connsiteY1" fmla="*/ 0 h 6246"/>
                <a:gd name="connsiteX2" fmla="*/ 6880 w 6246"/>
                <a:gd name="connsiteY2" fmla="*/ 9369 h 6246"/>
                <a:gd name="connsiteX3" fmla="*/ 7005 w 6246"/>
                <a:gd name="connsiteY3" fmla="*/ 10618 h 6246"/>
                <a:gd name="connsiteX4" fmla="*/ 3570 w 6246"/>
                <a:gd name="connsiteY4" fmla="*/ 8495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3570" y="8495"/>
                  </a:moveTo>
                  <a:cubicBezTo>
                    <a:pt x="3382" y="5372"/>
                    <a:pt x="-1240" y="3623"/>
                    <a:pt x="322" y="0"/>
                  </a:cubicBezTo>
                  <a:cubicBezTo>
                    <a:pt x="3507" y="2561"/>
                    <a:pt x="5443" y="5809"/>
                    <a:pt x="6880" y="9369"/>
                  </a:cubicBezTo>
                  <a:cubicBezTo>
                    <a:pt x="7192" y="9744"/>
                    <a:pt x="7255" y="10181"/>
                    <a:pt x="7005" y="10618"/>
                  </a:cubicBezTo>
                  <a:cubicBezTo>
                    <a:pt x="5006" y="11056"/>
                    <a:pt x="4382" y="9619"/>
                    <a:pt x="3570" y="8495"/>
                  </a:cubicBezTo>
                  <a:close/>
                </a:path>
              </a:pathLst>
            </a:custGeom>
            <a:grpFill/>
            <a:ln w="6246" cap="flat">
              <a:noFill/>
              <a:prstDash val="solid"/>
              <a:miter/>
            </a:ln>
          </p:spPr>
          <p:txBody>
            <a:bodyPr rtlCol="0" anchor="ctr"/>
            <a:lstStyle/>
            <a:p>
              <a:endParaRPr lang="fr-FR" sz="2400"/>
            </a:p>
          </p:txBody>
        </p:sp>
        <p:sp>
          <p:nvSpPr>
            <p:cNvPr id="701" name="Freeform: Shape 700">
              <a:extLst>
                <a:ext uri="{FF2B5EF4-FFF2-40B4-BE49-F238E27FC236}">
                  <a16:creationId xmlns:a16="http://schemas.microsoft.com/office/drawing/2014/main" id="{C7053573-5A2B-436B-BC10-F4F39A3ECECE}"/>
                </a:ext>
              </a:extLst>
            </p:cNvPr>
            <p:cNvSpPr/>
            <p:nvPr/>
          </p:nvSpPr>
          <p:spPr>
            <a:xfrm>
              <a:off x="1320136" y="512988"/>
              <a:ext cx="6246" cy="6246"/>
            </a:xfrm>
            <a:custGeom>
              <a:avLst/>
              <a:gdLst>
                <a:gd name="connsiteX0" fmla="*/ 1562 w 0"/>
                <a:gd name="connsiteY0" fmla="*/ 1124 h 6246"/>
                <a:gd name="connsiteX1" fmla="*/ 1687 w 0"/>
                <a:gd name="connsiteY1" fmla="*/ 0 h 6246"/>
                <a:gd name="connsiteX2" fmla="*/ 2748 w 0"/>
                <a:gd name="connsiteY2" fmla="*/ 1999 h 6246"/>
                <a:gd name="connsiteX3" fmla="*/ 2748 w 0"/>
                <a:gd name="connsiteY3" fmla="*/ 4934 h 6246"/>
                <a:gd name="connsiteX4" fmla="*/ 1936 w 0"/>
                <a:gd name="connsiteY4" fmla="*/ 7183 h 6246"/>
                <a:gd name="connsiteX5" fmla="*/ 0 w 0"/>
                <a:gd name="connsiteY5" fmla="*/ 5122 h 6246"/>
                <a:gd name="connsiteX6" fmla="*/ 1562 w 0"/>
                <a:gd name="connsiteY6" fmla="*/ 1124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1562" y="1124"/>
                  </a:moveTo>
                  <a:cubicBezTo>
                    <a:pt x="1624" y="750"/>
                    <a:pt x="1687" y="375"/>
                    <a:pt x="1687" y="0"/>
                  </a:cubicBezTo>
                  <a:cubicBezTo>
                    <a:pt x="2061" y="687"/>
                    <a:pt x="2374" y="1312"/>
                    <a:pt x="2748" y="1999"/>
                  </a:cubicBezTo>
                  <a:cubicBezTo>
                    <a:pt x="2748" y="2998"/>
                    <a:pt x="2748" y="3997"/>
                    <a:pt x="2748" y="4934"/>
                  </a:cubicBezTo>
                  <a:cubicBezTo>
                    <a:pt x="3435" y="5996"/>
                    <a:pt x="3310" y="6746"/>
                    <a:pt x="1936" y="7183"/>
                  </a:cubicBezTo>
                  <a:cubicBezTo>
                    <a:pt x="750" y="6933"/>
                    <a:pt x="187" y="6121"/>
                    <a:pt x="0" y="5122"/>
                  </a:cubicBezTo>
                  <a:cubicBezTo>
                    <a:pt x="0" y="3623"/>
                    <a:pt x="312" y="2186"/>
                    <a:pt x="1562" y="1124"/>
                  </a:cubicBezTo>
                  <a:close/>
                </a:path>
              </a:pathLst>
            </a:custGeom>
            <a:grpFill/>
            <a:ln w="6246" cap="flat">
              <a:noFill/>
              <a:prstDash val="solid"/>
              <a:miter/>
            </a:ln>
          </p:spPr>
          <p:txBody>
            <a:bodyPr rtlCol="0" anchor="ctr"/>
            <a:lstStyle/>
            <a:p>
              <a:endParaRPr lang="fr-FR" sz="2400"/>
            </a:p>
          </p:txBody>
        </p:sp>
        <p:sp>
          <p:nvSpPr>
            <p:cNvPr id="702" name="Freeform: Shape 701">
              <a:extLst>
                <a:ext uri="{FF2B5EF4-FFF2-40B4-BE49-F238E27FC236}">
                  <a16:creationId xmlns:a16="http://schemas.microsoft.com/office/drawing/2014/main" id="{A6380F4F-288C-436C-BB61-8C38510F824C}"/>
                </a:ext>
              </a:extLst>
            </p:cNvPr>
            <p:cNvSpPr/>
            <p:nvPr/>
          </p:nvSpPr>
          <p:spPr>
            <a:xfrm>
              <a:off x="1291957" y="489878"/>
              <a:ext cx="6246" cy="12492"/>
            </a:xfrm>
            <a:custGeom>
              <a:avLst/>
              <a:gdLst>
                <a:gd name="connsiteX0" fmla="*/ 4132 w 6246"/>
                <a:gd name="connsiteY0" fmla="*/ 1062 h 12492"/>
                <a:gd name="connsiteX1" fmla="*/ 5756 w 6246"/>
                <a:gd name="connsiteY1" fmla="*/ 6496 h 12492"/>
                <a:gd name="connsiteX2" fmla="*/ 11502 w 6246"/>
                <a:gd name="connsiteY2" fmla="*/ 11743 h 12492"/>
                <a:gd name="connsiteX3" fmla="*/ 9441 w 6246"/>
                <a:gd name="connsiteY3" fmla="*/ 12929 h 12492"/>
                <a:gd name="connsiteX4" fmla="*/ 6630 w 6246"/>
                <a:gd name="connsiteY4" fmla="*/ 11305 h 12492"/>
                <a:gd name="connsiteX5" fmla="*/ 2945 w 6246"/>
                <a:gd name="connsiteY5" fmla="*/ 7870 h 12492"/>
                <a:gd name="connsiteX6" fmla="*/ 2196 w 6246"/>
                <a:gd name="connsiteY6" fmla="*/ 250 h 12492"/>
                <a:gd name="connsiteX7" fmla="*/ 3133 w 6246"/>
                <a:gd name="connsiteY7" fmla="*/ 0 h 12492"/>
                <a:gd name="connsiteX8" fmla="*/ 4132 w 6246"/>
                <a:gd name="connsiteY8" fmla="*/ 1062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6" h="12492">
                  <a:moveTo>
                    <a:pt x="4132" y="1062"/>
                  </a:moveTo>
                  <a:cubicBezTo>
                    <a:pt x="1634" y="3623"/>
                    <a:pt x="3945" y="5059"/>
                    <a:pt x="5756" y="6496"/>
                  </a:cubicBezTo>
                  <a:cubicBezTo>
                    <a:pt x="7817" y="8120"/>
                    <a:pt x="10441" y="9244"/>
                    <a:pt x="11502" y="11743"/>
                  </a:cubicBezTo>
                  <a:cubicBezTo>
                    <a:pt x="11190" y="12680"/>
                    <a:pt x="10441" y="13054"/>
                    <a:pt x="9441" y="12929"/>
                  </a:cubicBezTo>
                  <a:cubicBezTo>
                    <a:pt x="8317" y="12617"/>
                    <a:pt x="7505" y="11930"/>
                    <a:pt x="6630" y="11305"/>
                  </a:cubicBezTo>
                  <a:cubicBezTo>
                    <a:pt x="5131" y="10431"/>
                    <a:pt x="3757" y="9432"/>
                    <a:pt x="2945" y="7870"/>
                  </a:cubicBezTo>
                  <a:cubicBezTo>
                    <a:pt x="-3176" y="5809"/>
                    <a:pt x="2133" y="2811"/>
                    <a:pt x="2196" y="250"/>
                  </a:cubicBezTo>
                  <a:cubicBezTo>
                    <a:pt x="2508" y="187"/>
                    <a:pt x="2820" y="62"/>
                    <a:pt x="3133" y="0"/>
                  </a:cubicBezTo>
                  <a:cubicBezTo>
                    <a:pt x="3445" y="375"/>
                    <a:pt x="3757" y="750"/>
                    <a:pt x="4132" y="1062"/>
                  </a:cubicBezTo>
                  <a:close/>
                </a:path>
              </a:pathLst>
            </a:custGeom>
            <a:grpFill/>
            <a:ln w="6246" cap="flat">
              <a:noFill/>
              <a:prstDash val="solid"/>
              <a:miter/>
            </a:ln>
          </p:spPr>
          <p:txBody>
            <a:bodyPr rtlCol="0" anchor="ctr"/>
            <a:lstStyle/>
            <a:p>
              <a:endParaRPr lang="fr-FR" sz="2400"/>
            </a:p>
          </p:txBody>
        </p:sp>
        <p:sp>
          <p:nvSpPr>
            <p:cNvPr id="703" name="Freeform: Shape 702">
              <a:extLst>
                <a:ext uri="{FF2B5EF4-FFF2-40B4-BE49-F238E27FC236}">
                  <a16:creationId xmlns:a16="http://schemas.microsoft.com/office/drawing/2014/main" id="{84578422-B582-4CBD-90C4-907BCE5ADFA4}"/>
                </a:ext>
              </a:extLst>
            </p:cNvPr>
            <p:cNvSpPr/>
            <p:nvPr/>
          </p:nvSpPr>
          <p:spPr>
            <a:xfrm>
              <a:off x="1280099" y="621448"/>
              <a:ext cx="31230" cy="12492"/>
            </a:xfrm>
            <a:custGeom>
              <a:avLst/>
              <a:gdLst>
                <a:gd name="connsiteX0" fmla="*/ 24610 w 31230"/>
                <a:gd name="connsiteY0" fmla="*/ 8654 h 12492"/>
                <a:gd name="connsiteX1" fmla="*/ 10681 w 31230"/>
                <a:gd name="connsiteY1" fmla="*/ 14463 h 12492"/>
                <a:gd name="connsiteX2" fmla="*/ 10681 w 31230"/>
                <a:gd name="connsiteY2" fmla="*/ 13526 h 12492"/>
                <a:gd name="connsiteX3" fmla="*/ 5372 w 31230"/>
                <a:gd name="connsiteY3" fmla="*/ 13714 h 12492"/>
                <a:gd name="connsiteX4" fmla="*/ 0 w 31230"/>
                <a:gd name="connsiteY4" fmla="*/ 13526 h 12492"/>
                <a:gd name="connsiteX5" fmla="*/ 1374 w 31230"/>
                <a:gd name="connsiteY5" fmla="*/ 12152 h 12492"/>
                <a:gd name="connsiteX6" fmla="*/ 25422 w 31230"/>
                <a:gd name="connsiteY6" fmla="*/ 1534 h 12492"/>
                <a:gd name="connsiteX7" fmla="*/ 29919 w 31230"/>
                <a:gd name="connsiteY7" fmla="*/ 972 h 12492"/>
                <a:gd name="connsiteX8" fmla="*/ 35290 w 31230"/>
                <a:gd name="connsiteY8" fmla="*/ 35 h 12492"/>
                <a:gd name="connsiteX9" fmla="*/ 26796 w 31230"/>
                <a:gd name="connsiteY9" fmla="*/ 5906 h 12492"/>
                <a:gd name="connsiteX10" fmla="*/ 36415 w 31230"/>
                <a:gd name="connsiteY10" fmla="*/ 3907 h 12492"/>
                <a:gd name="connsiteX11" fmla="*/ 24610 w 31230"/>
                <a:gd name="connsiteY11" fmla="*/ 8654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30" h="12492">
                  <a:moveTo>
                    <a:pt x="24610" y="8654"/>
                  </a:moveTo>
                  <a:cubicBezTo>
                    <a:pt x="18551" y="7842"/>
                    <a:pt x="13929" y="9779"/>
                    <a:pt x="10681" y="14463"/>
                  </a:cubicBezTo>
                  <a:cubicBezTo>
                    <a:pt x="10681" y="14151"/>
                    <a:pt x="10681" y="13839"/>
                    <a:pt x="10681" y="13526"/>
                  </a:cubicBezTo>
                  <a:cubicBezTo>
                    <a:pt x="8869" y="11590"/>
                    <a:pt x="7058" y="13401"/>
                    <a:pt x="5372" y="13714"/>
                  </a:cubicBezTo>
                  <a:cubicBezTo>
                    <a:pt x="3560" y="14026"/>
                    <a:pt x="1749" y="15275"/>
                    <a:pt x="0" y="13526"/>
                  </a:cubicBezTo>
                  <a:cubicBezTo>
                    <a:pt x="312" y="12964"/>
                    <a:pt x="687" y="12340"/>
                    <a:pt x="1374" y="12152"/>
                  </a:cubicBezTo>
                  <a:cubicBezTo>
                    <a:pt x="10181" y="10029"/>
                    <a:pt x="17427" y="5094"/>
                    <a:pt x="25422" y="1534"/>
                  </a:cubicBezTo>
                  <a:cubicBezTo>
                    <a:pt x="26858" y="909"/>
                    <a:pt x="28232" y="160"/>
                    <a:pt x="29919" y="972"/>
                  </a:cubicBezTo>
                  <a:cubicBezTo>
                    <a:pt x="31605" y="97"/>
                    <a:pt x="33416" y="-90"/>
                    <a:pt x="35290" y="35"/>
                  </a:cubicBezTo>
                  <a:cubicBezTo>
                    <a:pt x="33479" y="2596"/>
                    <a:pt x="30044" y="3345"/>
                    <a:pt x="26796" y="5906"/>
                  </a:cubicBezTo>
                  <a:cubicBezTo>
                    <a:pt x="30855" y="5469"/>
                    <a:pt x="33292" y="3283"/>
                    <a:pt x="36415" y="3907"/>
                  </a:cubicBezTo>
                  <a:cubicBezTo>
                    <a:pt x="33354" y="7218"/>
                    <a:pt x="28357" y="6718"/>
                    <a:pt x="24610" y="8654"/>
                  </a:cubicBezTo>
                  <a:close/>
                </a:path>
              </a:pathLst>
            </a:custGeom>
            <a:grpFill/>
            <a:ln w="6246" cap="flat">
              <a:noFill/>
              <a:prstDash val="solid"/>
              <a:miter/>
            </a:ln>
          </p:spPr>
          <p:txBody>
            <a:bodyPr rtlCol="0" anchor="ctr"/>
            <a:lstStyle/>
            <a:p>
              <a:endParaRPr lang="fr-FR" sz="2400"/>
            </a:p>
          </p:txBody>
        </p:sp>
        <p:sp>
          <p:nvSpPr>
            <p:cNvPr id="704" name="Freeform: Shape 703">
              <a:extLst>
                <a:ext uri="{FF2B5EF4-FFF2-40B4-BE49-F238E27FC236}">
                  <a16:creationId xmlns:a16="http://schemas.microsoft.com/office/drawing/2014/main" id="{9D36C93E-E06B-4D1A-B5B6-909704B97929}"/>
                </a:ext>
              </a:extLst>
            </p:cNvPr>
            <p:cNvSpPr/>
            <p:nvPr/>
          </p:nvSpPr>
          <p:spPr>
            <a:xfrm>
              <a:off x="1262922" y="620421"/>
              <a:ext cx="43722" cy="12492"/>
            </a:xfrm>
            <a:custGeom>
              <a:avLst/>
              <a:gdLst>
                <a:gd name="connsiteX0" fmla="*/ 47095 w 43722"/>
                <a:gd name="connsiteY0" fmla="*/ 1936 h 12492"/>
                <a:gd name="connsiteX1" fmla="*/ 17114 w 43722"/>
                <a:gd name="connsiteY1" fmla="*/ 14491 h 12492"/>
                <a:gd name="connsiteX2" fmla="*/ 3185 w 43722"/>
                <a:gd name="connsiteY2" fmla="*/ 17364 h 12492"/>
                <a:gd name="connsiteX3" fmla="*/ 0 w 43722"/>
                <a:gd name="connsiteY3" fmla="*/ 16427 h 12492"/>
                <a:gd name="connsiteX4" fmla="*/ 21424 w 43722"/>
                <a:gd name="connsiteY4" fmla="*/ 10618 h 12492"/>
                <a:gd name="connsiteX5" fmla="*/ 33167 w 43722"/>
                <a:gd name="connsiteY5" fmla="*/ 4809 h 12492"/>
                <a:gd name="connsiteX6" fmla="*/ 46034 w 43722"/>
                <a:gd name="connsiteY6" fmla="*/ 0 h 12492"/>
                <a:gd name="connsiteX7" fmla="*/ 47095 w 43722"/>
                <a:gd name="connsiteY7" fmla="*/ 193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2" h="12492">
                  <a:moveTo>
                    <a:pt x="47095" y="1936"/>
                  </a:moveTo>
                  <a:cubicBezTo>
                    <a:pt x="37227" y="6371"/>
                    <a:pt x="27982" y="11930"/>
                    <a:pt x="17114" y="14491"/>
                  </a:cubicBezTo>
                  <a:cubicBezTo>
                    <a:pt x="12367" y="15115"/>
                    <a:pt x="8120" y="17427"/>
                    <a:pt x="3185" y="17364"/>
                  </a:cubicBezTo>
                  <a:cubicBezTo>
                    <a:pt x="1874" y="17739"/>
                    <a:pt x="250" y="18801"/>
                    <a:pt x="0" y="16427"/>
                  </a:cubicBezTo>
                  <a:cubicBezTo>
                    <a:pt x="7308" y="15053"/>
                    <a:pt x="14491" y="13179"/>
                    <a:pt x="21424" y="10618"/>
                  </a:cubicBezTo>
                  <a:cubicBezTo>
                    <a:pt x="26421" y="10493"/>
                    <a:pt x="29981" y="7932"/>
                    <a:pt x="33167" y="4809"/>
                  </a:cubicBezTo>
                  <a:cubicBezTo>
                    <a:pt x="36664" y="1562"/>
                    <a:pt x="41661" y="1437"/>
                    <a:pt x="46034" y="0"/>
                  </a:cubicBezTo>
                  <a:cubicBezTo>
                    <a:pt x="46846" y="437"/>
                    <a:pt x="47095" y="1124"/>
                    <a:pt x="47095" y="1936"/>
                  </a:cubicBezTo>
                  <a:close/>
                </a:path>
              </a:pathLst>
            </a:custGeom>
            <a:grpFill/>
            <a:ln w="6246" cap="flat">
              <a:noFill/>
              <a:prstDash val="solid"/>
              <a:miter/>
            </a:ln>
          </p:spPr>
          <p:txBody>
            <a:bodyPr rtlCol="0" anchor="ctr"/>
            <a:lstStyle/>
            <a:p>
              <a:endParaRPr lang="fr-FR" sz="2400"/>
            </a:p>
          </p:txBody>
        </p:sp>
        <p:sp>
          <p:nvSpPr>
            <p:cNvPr id="705" name="Freeform: Shape 704">
              <a:extLst>
                <a:ext uri="{FF2B5EF4-FFF2-40B4-BE49-F238E27FC236}">
                  <a16:creationId xmlns:a16="http://schemas.microsoft.com/office/drawing/2014/main" id="{B34C67FC-1269-4F54-980F-28C5A1F6122D}"/>
                </a:ext>
              </a:extLst>
            </p:cNvPr>
            <p:cNvSpPr/>
            <p:nvPr/>
          </p:nvSpPr>
          <p:spPr>
            <a:xfrm>
              <a:off x="1291779" y="619787"/>
              <a:ext cx="12492" cy="6246"/>
            </a:xfrm>
            <a:custGeom>
              <a:avLst/>
              <a:gdLst>
                <a:gd name="connsiteX0" fmla="*/ 17177 w 12492"/>
                <a:gd name="connsiteY0" fmla="*/ 634 h 0"/>
                <a:gd name="connsiteX1" fmla="*/ 4310 w 12492"/>
                <a:gd name="connsiteY1" fmla="*/ 5444 h 0"/>
                <a:gd name="connsiteX2" fmla="*/ 0 w 12492"/>
                <a:gd name="connsiteY2" fmla="*/ 3507 h 0"/>
                <a:gd name="connsiteX3" fmla="*/ 14803 w 12492"/>
                <a:gd name="connsiteY3" fmla="*/ 197 h 0"/>
                <a:gd name="connsiteX4" fmla="*/ 17177 w 12492"/>
                <a:gd name="connsiteY4" fmla="*/ 63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177" y="634"/>
                  </a:moveTo>
                  <a:cubicBezTo>
                    <a:pt x="13117" y="2695"/>
                    <a:pt x="8807" y="4319"/>
                    <a:pt x="4310" y="5444"/>
                  </a:cubicBezTo>
                  <a:cubicBezTo>
                    <a:pt x="2623" y="5319"/>
                    <a:pt x="437" y="6006"/>
                    <a:pt x="0" y="3507"/>
                  </a:cubicBezTo>
                  <a:cubicBezTo>
                    <a:pt x="4997" y="2570"/>
                    <a:pt x="10056" y="2008"/>
                    <a:pt x="14803" y="197"/>
                  </a:cubicBezTo>
                  <a:cubicBezTo>
                    <a:pt x="15803" y="-115"/>
                    <a:pt x="16552" y="-115"/>
                    <a:pt x="17177" y="634"/>
                  </a:cubicBezTo>
                  <a:close/>
                </a:path>
              </a:pathLst>
            </a:custGeom>
            <a:grpFill/>
            <a:ln w="6246" cap="flat">
              <a:noFill/>
              <a:prstDash val="solid"/>
              <a:miter/>
            </a:ln>
          </p:spPr>
          <p:txBody>
            <a:bodyPr rtlCol="0" anchor="ctr"/>
            <a:lstStyle/>
            <a:p>
              <a:endParaRPr lang="fr-FR" sz="2400"/>
            </a:p>
          </p:txBody>
        </p:sp>
        <p:sp>
          <p:nvSpPr>
            <p:cNvPr id="706" name="Freeform: Shape 705">
              <a:extLst>
                <a:ext uri="{FF2B5EF4-FFF2-40B4-BE49-F238E27FC236}">
                  <a16:creationId xmlns:a16="http://schemas.microsoft.com/office/drawing/2014/main" id="{B7C6D199-0A72-4408-ACA4-084789CC5F6C}"/>
                </a:ext>
              </a:extLst>
            </p:cNvPr>
            <p:cNvSpPr/>
            <p:nvPr/>
          </p:nvSpPr>
          <p:spPr>
            <a:xfrm>
              <a:off x="1250930" y="635862"/>
              <a:ext cx="12492" cy="6246"/>
            </a:xfrm>
            <a:custGeom>
              <a:avLst/>
              <a:gdLst>
                <a:gd name="connsiteX0" fmla="*/ 11992 w 12492"/>
                <a:gd name="connsiteY0" fmla="*/ 986 h 0"/>
                <a:gd name="connsiteX1" fmla="*/ 15178 w 12492"/>
                <a:gd name="connsiteY1" fmla="*/ 1923 h 0"/>
                <a:gd name="connsiteX2" fmla="*/ 0 w 12492"/>
                <a:gd name="connsiteY2" fmla="*/ 3734 h 0"/>
                <a:gd name="connsiteX3" fmla="*/ 11992 w 12492"/>
                <a:gd name="connsiteY3" fmla="*/ 986 h 0"/>
              </a:gdLst>
              <a:ahLst/>
              <a:cxnLst>
                <a:cxn ang="0">
                  <a:pos x="connsiteX0" y="connsiteY0"/>
                </a:cxn>
                <a:cxn ang="0">
                  <a:pos x="connsiteX1" y="connsiteY1"/>
                </a:cxn>
                <a:cxn ang="0">
                  <a:pos x="connsiteX2" y="connsiteY2"/>
                </a:cxn>
                <a:cxn ang="0">
                  <a:pos x="connsiteX3" y="connsiteY3"/>
                </a:cxn>
              </a:cxnLst>
              <a:rect l="l" t="t" r="r" b="b"/>
              <a:pathLst>
                <a:path w="12492">
                  <a:moveTo>
                    <a:pt x="11992" y="986"/>
                  </a:moveTo>
                  <a:cubicBezTo>
                    <a:pt x="12804" y="2048"/>
                    <a:pt x="13991" y="1923"/>
                    <a:pt x="15178" y="1923"/>
                  </a:cubicBezTo>
                  <a:cubicBezTo>
                    <a:pt x="10431" y="3984"/>
                    <a:pt x="5434" y="4047"/>
                    <a:pt x="0" y="3734"/>
                  </a:cubicBezTo>
                  <a:cubicBezTo>
                    <a:pt x="2748" y="-2699"/>
                    <a:pt x="7933" y="1173"/>
                    <a:pt x="11992" y="986"/>
                  </a:cubicBezTo>
                  <a:close/>
                </a:path>
              </a:pathLst>
            </a:custGeom>
            <a:grpFill/>
            <a:ln w="6246" cap="flat">
              <a:noFill/>
              <a:prstDash val="solid"/>
              <a:miter/>
            </a:ln>
          </p:spPr>
          <p:txBody>
            <a:bodyPr rtlCol="0" anchor="ctr"/>
            <a:lstStyle/>
            <a:p>
              <a:endParaRPr lang="fr-FR" sz="2400"/>
            </a:p>
          </p:txBody>
        </p:sp>
        <p:sp>
          <p:nvSpPr>
            <p:cNvPr id="707" name="Freeform: Shape 706">
              <a:extLst>
                <a:ext uri="{FF2B5EF4-FFF2-40B4-BE49-F238E27FC236}">
                  <a16:creationId xmlns:a16="http://schemas.microsoft.com/office/drawing/2014/main" id="{258C02A3-CE96-4573-93E1-7B00AFFA71A6}"/>
                </a:ext>
              </a:extLst>
            </p:cNvPr>
            <p:cNvSpPr/>
            <p:nvPr/>
          </p:nvSpPr>
          <p:spPr>
            <a:xfrm>
              <a:off x="1226888" y="510764"/>
              <a:ext cx="37476" cy="31230"/>
            </a:xfrm>
            <a:custGeom>
              <a:avLst/>
              <a:gdLst>
                <a:gd name="connsiteX0" fmla="*/ 25353 w 37476"/>
                <a:gd name="connsiteY0" fmla="*/ 13967 h 31230"/>
                <a:gd name="connsiteX1" fmla="*/ 23854 w 37476"/>
                <a:gd name="connsiteY1" fmla="*/ 16090 h 31230"/>
                <a:gd name="connsiteX2" fmla="*/ 26477 w 37476"/>
                <a:gd name="connsiteY2" fmla="*/ 16902 h 31230"/>
                <a:gd name="connsiteX3" fmla="*/ 21980 w 37476"/>
                <a:gd name="connsiteY3" fmla="*/ 30456 h 31230"/>
                <a:gd name="connsiteX4" fmla="*/ 17608 w 37476"/>
                <a:gd name="connsiteY4" fmla="*/ 35141 h 31230"/>
                <a:gd name="connsiteX5" fmla="*/ 14110 w 37476"/>
                <a:gd name="connsiteY5" fmla="*/ 36078 h 31230"/>
                <a:gd name="connsiteX6" fmla="*/ 7052 w 37476"/>
                <a:gd name="connsiteY6" fmla="*/ 34954 h 31230"/>
                <a:gd name="connsiteX7" fmla="*/ 5116 w 37476"/>
                <a:gd name="connsiteY7" fmla="*/ 34391 h 31230"/>
                <a:gd name="connsiteX8" fmla="*/ 4366 w 37476"/>
                <a:gd name="connsiteY8" fmla="*/ 33767 h 31230"/>
                <a:gd name="connsiteX9" fmla="*/ 369 w 37476"/>
                <a:gd name="connsiteY9" fmla="*/ 18776 h 31230"/>
                <a:gd name="connsiteX10" fmla="*/ 2680 w 37476"/>
                <a:gd name="connsiteY10" fmla="*/ 9282 h 31230"/>
                <a:gd name="connsiteX11" fmla="*/ 6178 w 37476"/>
                <a:gd name="connsiteY11" fmla="*/ 2474 h 31230"/>
                <a:gd name="connsiteX12" fmla="*/ 9301 w 37476"/>
                <a:gd name="connsiteY12" fmla="*/ 3036 h 31230"/>
                <a:gd name="connsiteX13" fmla="*/ 16921 w 37476"/>
                <a:gd name="connsiteY13" fmla="*/ 1475 h 31230"/>
                <a:gd name="connsiteX14" fmla="*/ 19044 w 37476"/>
                <a:gd name="connsiteY14" fmla="*/ 3411 h 31230"/>
                <a:gd name="connsiteX15" fmla="*/ 15234 w 37476"/>
                <a:gd name="connsiteY15" fmla="*/ 10719 h 31230"/>
                <a:gd name="connsiteX16" fmla="*/ 25478 w 37476"/>
                <a:gd name="connsiteY16" fmla="*/ 5347 h 31230"/>
                <a:gd name="connsiteX17" fmla="*/ 37096 w 37476"/>
                <a:gd name="connsiteY17" fmla="*/ 100 h 31230"/>
                <a:gd name="connsiteX18" fmla="*/ 38782 w 37476"/>
                <a:gd name="connsiteY18" fmla="*/ 1225 h 31230"/>
                <a:gd name="connsiteX19" fmla="*/ 34472 w 37476"/>
                <a:gd name="connsiteY19" fmla="*/ 4910 h 31230"/>
                <a:gd name="connsiteX20" fmla="*/ 25353 w 37476"/>
                <a:gd name="connsiteY20" fmla="*/ 13967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76" h="31230">
                  <a:moveTo>
                    <a:pt x="25353" y="13967"/>
                  </a:moveTo>
                  <a:cubicBezTo>
                    <a:pt x="24978" y="14779"/>
                    <a:pt x="23417" y="15029"/>
                    <a:pt x="23854" y="16090"/>
                  </a:cubicBezTo>
                  <a:cubicBezTo>
                    <a:pt x="24229" y="17152"/>
                    <a:pt x="25540" y="16777"/>
                    <a:pt x="26477" y="16902"/>
                  </a:cubicBezTo>
                  <a:cubicBezTo>
                    <a:pt x="24166" y="21150"/>
                    <a:pt x="19919" y="24710"/>
                    <a:pt x="21980" y="30456"/>
                  </a:cubicBezTo>
                  <a:cubicBezTo>
                    <a:pt x="22730" y="32642"/>
                    <a:pt x="20044" y="34329"/>
                    <a:pt x="17608" y="35141"/>
                  </a:cubicBezTo>
                  <a:cubicBezTo>
                    <a:pt x="16484" y="35516"/>
                    <a:pt x="15110" y="35516"/>
                    <a:pt x="14110" y="36078"/>
                  </a:cubicBezTo>
                  <a:cubicBezTo>
                    <a:pt x="11299" y="37639"/>
                    <a:pt x="8863" y="38264"/>
                    <a:pt x="7052" y="34954"/>
                  </a:cubicBezTo>
                  <a:cubicBezTo>
                    <a:pt x="6865" y="34579"/>
                    <a:pt x="5803" y="34579"/>
                    <a:pt x="5116" y="34391"/>
                  </a:cubicBezTo>
                  <a:cubicBezTo>
                    <a:pt x="4866" y="34204"/>
                    <a:pt x="4304" y="33892"/>
                    <a:pt x="4366" y="33767"/>
                  </a:cubicBezTo>
                  <a:cubicBezTo>
                    <a:pt x="6865" y="28020"/>
                    <a:pt x="619" y="24085"/>
                    <a:pt x="369" y="18776"/>
                  </a:cubicBezTo>
                  <a:cubicBezTo>
                    <a:pt x="181" y="15216"/>
                    <a:pt x="-1130" y="12030"/>
                    <a:pt x="2680" y="9282"/>
                  </a:cubicBezTo>
                  <a:cubicBezTo>
                    <a:pt x="4866" y="7658"/>
                    <a:pt x="3554" y="4160"/>
                    <a:pt x="6178" y="2474"/>
                  </a:cubicBezTo>
                  <a:cubicBezTo>
                    <a:pt x="6240" y="6784"/>
                    <a:pt x="8051" y="3848"/>
                    <a:pt x="9301" y="3036"/>
                  </a:cubicBezTo>
                  <a:cubicBezTo>
                    <a:pt x="11612" y="1475"/>
                    <a:pt x="13361" y="-1961"/>
                    <a:pt x="16921" y="1475"/>
                  </a:cubicBezTo>
                  <a:cubicBezTo>
                    <a:pt x="16921" y="2786"/>
                    <a:pt x="17670" y="3411"/>
                    <a:pt x="19044" y="3411"/>
                  </a:cubicBezTo>
                  <a:cubicBezTo>
                    <a:pt x="19857" y="6659"/>
                    <a:pt x="14110" y="6909"/>
                    <a:pt x="15234" y="10719"/>
                  </a:cubicBezTo>
                  <a:cubicBezTo>
                    <a:pt x="18357" y="8095"/>
                    <a:pt x="20231" y="3848"/>
                    <a:pt x="25478" y="5347"/>
                  </a:cubicBezTo>
                  <a:cubicBezTo>
                    <a:pt x="28601" y="2224"/>
                    <a:pt x="32723" y="975"/>
                    <a:pt x="37096" y="100"/>
                  </a:cubicBezTo>
                  <a:cubicBezTo>
                    <a:pt x="37970" y="100"/>
                    <a:pt x="38470" y="538"/>
                    <a:pt x="38782" y="1225"/>
                  </a:cubicBezTo>
                  <a:cubicBezTo>
                    <a:pt x="38720" y="3723"/>
                    <a:pt x="36221" y="4035"/>
                    <a:pt x="34472" y="4910"/>
                  </a:cubicBezTo>
                  <a:cubicBezTo>
                    <a:pt x="30038" y="6846"/>
                    <a:pt x="27664" y="10344"/>
                    <a:pt x="25353" y="13967"/>
                  </a:cubicBezTo>
                  <a:close/>
                </a:path>
              </a:pathLst>
            </a:custGeom>
            <a:grpFill/>
            <a:ln w="6246" cap="flat">
              <a:noFill/>
              <a:prstDash val="solid"/>
              <a:miter/>
            </a:ln>
          </p:spPr>
          <p:txBody>
            <a:bodyPr rtlCol="0" anchor="ctr"/>
            <a:lstStyle/>
            <a:p>
              <a:endParaRPr lang="fr-FR" sz="2400"/>
            </a:p>
          </p:txBody>
        </p:sp>
        <p:sp>
          <p:nvSpPr>
            <p:cNvPr id="708" name="Freeform: Shape 707">
              <a:extLst>
                <a:ext uri="{FF2B5EF4-FFF2-40B4-BE49-F238E27FC236}">
                  <a16:creationId xmlns:a16="http://schemas.microsoft.com/office/drawing/2014/main" id="{80D8887B-DD47-442B-983A-FF8DFC07A221}"/>
                </a:ext>
              </a:extLst>
            </p:cNvPr>
            <p:cNvSpPr/>
            <p:nvPr/>
          </p:nvSpPr>
          <p:spPr>
            <a:xfrm>
              <a:off x="1241548" y="564394"/>
              <a:ext cx="24984" cy="12492"/>
            </a:xfrm>
            <a:custGeom>
              <a:avLst/>
              <a:gdLst>
                <a:gd name="connsiteX0" fmla="*/ 12 w 24984"/>
                <a:gd name="connsiteY0" fmla="*/ 2873 h 12492"/>
                <a:gd name="connsiteX1" fmla="*/ 2448 w 24984"/>
                <a:gd name="connsiteY1" fmla="*/ 4185 h 12492"/>
                <a:gd name="connsiteX2" fmla="*/ 2261 w 24984"/>
                <a:gd name="connsiteY2" fmla="*/ 0 h 12492"/>
                <a:gd name="connsiteX3" fmla="*/ 25683 w 24984"/>
                <a:gd name="connsiteY3" fmla="*/ 18301 h 12492"/>
                <a:gd name="connsiteX4" fmla="*/ 5384 w 24984"/>
                <a:gd name="connsiteY4" fmla="*/ 13491 h 12492"/>
                <a:gd name="connsiteX5" fmla="*/ 5134 w 24984"/>
                <a:gd name="connsiteY5" fmla="*/ 9994 h 12492"/>
                <a:gd name="connsiteX6" fmla="*/ 12 w 24984"/>
                <a:gd name="connsiteY6" fmla="*/ 4809 h 12492"/>
                <a:gd name="connsiteX7" fmla="*/ 12 w 24984"/>
                <a:gd name="connsiteY7" fmla="*/ 2873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4" h="12492">
                  <a:moveTo>
                    <a:pt x="12" y="2873"/>
                  </a:moveTo>
                  <a:cubicBezTo>
                    <a:pt x="762" y="3310"/>
                    <a:pt x="1511" y="3685"/>
                    <a:pt x="2448" y="4185"/>
                  </a:cubicBezTo>
                  <a:cubicBezTo>
                    <a:pt x="3635" y="2686"/>
                    <a:pt x="574" y="1874"/>
                    <a:pt x="2261" y="0"/>
                  </a:cubicBezTo>
                  <a:cubicBezTo>
                    <a:pt x="10131" y="5996"/>
                    <a:pt x="15877" y="14366"/>
                    <a:pt x="25683" y="18301"/>
                  </a:cubicBezTo>
                  <a:cubicBezTo>
                    <a:pt x="19063" y="16115"/>
                    <a:pt x="11692" y="16552"/>
                    <a:pt x="5384" y="13491"/>
                  </a:cubicBezTo>
                  <a:cubicBezTo>
                    <a:pt x="7695" y="12180"/>
                    <a:pt x="6321" y="11243"/>
                    <a:pt x="5134" y="9994"/>
                  </a:cubicBezTo>
                  <a:cubicBezTo>
                    <a:pt x="3447" y="8245"/>
                    <a:pt x="-238" y="8120"/>
                    <a:pt x="12" y="4809"/>
                  </a:cubicBezTo>
                  <a:cubicBezTo>
                    <a:pt x="12" y="4122"/>
                    <a:pt x="12" y="3498"/>
                    <a:pt x="12" y="2873"/>
                  </a:cubicBezTo>
                  <a:close/>
                </a:path>
              </a:pathLst>
            </a:custGeom>
            <a:grpFill/>
            <a:ln w="6246" cap="flat">
              <a:noFill/>
              <a:prstDash val="solid"/>
              <a:miter/>
            </a:ln>
          </p:spPr>
          <p:txBody>
            <a:bodyPr rtlCol="0" anchor="ctr"/>
            <a:lstStyle/>
            <a:p>
              <a:endParaRPr lang="fr-FR" sz="2400"/>
            </a:p>
          </p:txBody>
        </p:sp>
        <p:sp>
          <p:nvSpPr>
            <p:cNvPr id="709" name="Freeform: Shape 708">
              <a:extLst>
                <a:ext uri="{FF2B5EF4-FFF2-40B4-BE49-F238E27FC236}">
                  <a16:creationId xmlns:a16="http://schemas.microsoft.com/office/drawing/2014/main" id="{446908BC-9834-4EA7-B342-98BD687C67BE}"/>
                </a:ext>
              </a:extLst>
            </p:cNvPr>
            <p:cNvSpPr/>
            <p:nvPr/>
          </p:nvSpPr>
          <p:spPr>
            <a:xfrm>
              <a:off x="1237688" y="568204"/>
              <a:ext cx="12492" cy="6246"/>
            </a:xfrm>
            <a:custGeom>
              <a:avLst/>
              <a:gdLst>
                <a:gd name="connsiteX0" fmla="*/ 3873 w 12492"/>
                <a:gd name="connsiteY0" fmla="*/ 999 h 6246"/>
                <a:gd name="connsiteX1" fmla="*/ 13741 w 12492"/>
                <a:gd name="connsiteY1" fmla="*/ 9119 h 6246"/>
                <a:gd name="connsiteX2" fmla="*/ 9244 w 12492"/>
                <a:gd name="connsiteY2" fmla="*/ 9681 h 6246"/>
                <a:gd name="connsiteX3" fmla="*/ 8182 w 12492"/>
                <a:gd name="connsiteY3" fmla="*/ 9681 h 6246"/>
                <a:gd name="connsiteX4" fmla="*/ 4872 w 12492"/>
                <a:gd name="connsiteY4" fmla="*/ 5809 h 6246"/>
                <a:gd name="connsiteX5" fmla="*/ 1374 w 12492"/>
                <a:gd name="connsiteY5" fmla="*/ 3498 h 6246"/>
                <a:gd name="connsiteX6" fmla="*/ 0 w 12492"/>
                <a:gd name="connsiteY6" fmla="*/ 1187 h 6246"/>
                <a:gd name="connsiteX7" fmla="*/ 625 w 12492"/>
                <a:gd name="connsiteY7" fmla="*/ 0 h 6246"/>
                <a:gd name="connsiteX8" fmla="*/ 3873 w 12492"/>
                <a:gd name="connsiteY8" fmla="*/ 99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92" h="6246">
                  <a:moveTo>
                    <a:pt x="3873" y="999"/>
                  </a:moveTo>
                  <a:cubicBezTo>
                    <a:pt x="6933" y="3873"/>
                    <a:pt x="11493" y="5309"/>
                    <a:pt x="13741" y="9119"/>
                  </a:cubicBezTo>
                  <a:cubicBezTo>
                    <a:pt x="12367" y="10244"/>
                    <a:pt x="10743" y="9494"/>
                    <a:pt x="9244" y="9681"/>
                  </a:cubicBezTo>
                  <a:cubicBezTo>
                    <a:pt x="8869" y="9681"/>
                    <a:pt x="8557" y="9681"/>
                    <a:pt x="8182" y="9681"/>
                  </a:cubicBezTo>
                  <a:cubicBezTo>
                    <a:pt x="9307" y="6871"/>
                    <a:pt x="5996" y="7058"/>
                    <a:pt x="4872" y="5809"/>
                  </a:cubicBezTo>
                  <a:cubicBezTo>
                    <a:pt x="3873" y="4809"/>
                    <a:pt x="2311" y="4622"/>
                    <a:pt x="1374" y="3498"/>
                  </a:cubicBezTo>
                  <a:cubicBezTo>
                    <a:pt x="625" y="2873"/>
                    <a:pt x="62" y="2186"/>
                    <a:pt x="0" y="1187"/>
                  </a:cubicBezTo>
                  <a:cubicBezTo>
                    <a:pt x="62" y="749"/>
                    <a:pt x="250" y="312"/>
                    <a:pt x="625" y="0"/>
                  </a:cubicBezTo>
                  <a:cubicBezTo>
                    <a:pt x="1749" y="312"/>
                    <a:pt x="2811" y="687"/>
                    <a:pt x="3873" y="999"/>
                  </a:cubicBezTo>
                  <a:close/>
                </a:path>
              </a:pathLst>
            </a:custGeom>
            <a:grpFill/>
            <a:ln w="6246" cap="flat">
              <a:noFill/>
              <a:prstDash val="solid"/>
              <a:miter/>
            </a:ln>
          </p:spPr>
          <p:txBody>
            <a:bodyPr rtlCol="0" anchor="ctr"/>
            <a:lstStyle/>
            <a:p>
              <a:endParaRPr lang="fr-FR" sz="2400"/>
            </a:p>
          </p:txBody>
        </p:sp>
        <p:sp>
          <p:nvSpPr>
            <p:cNvPr id="710" name="Freeform: Shape 709">
              <a:extLst>
                <a:ext uri="{FF2B5EF4-FFF2-40B4-BE49-F238E27FC236}">
                  <a16:creationId xmlns:a16="http://schemas.microsoft.com/office/drawing/2014/main" id="{36A924B8-3C3B-4FFB-BEE9-8E76C26D0BE8}"/>
                </a:ext>
              </a:extLst>
            </p:cNvPr>
            <p:cNvSpPr/>
            <p:nvPr/>
          </p:nvSpPr>
          <p:spPr>
            <a:xfrm>
              <a:off x="1228012" y="558253"/>
              <a:ext cx="6246" cy="6246"/>
            </a:xfrm>
            <a:custGeom>
              <a:avLst/>
              <a:gdLst>
                <a:gd name="connsiteX0" fmla="*/ 10363 w 6246"/>
                <a:gd name="connsiteY0" fmla="*/ 9951 h 6246"/>
                <a:gd name="connsiteX1" fmla="*/ 10301 w 6246"/>
                <a:gd name="connsiteY1" fmla="*/ 11013 h 6246"/>
                <a:gd name="connsiteX2" fmla="*/ 7053 w 6246"/>
                <a:gd name="connsiteY2" fmla="*/ 10888 h 6246"/>
                <a:gd name="connsiteX3" fmla="*/ 120 w 6246"/>
                <a:gd name="connsiteY3" fmla="*/ 769 h 6246"/>
                <a:gd name="connsiteX4" fmla="*/ 1806 w 6246"/>
                <a:gd name="connsiteY4" fmla="*/ 269 h 6246"/>
                <a:gd name="connsiteX5" fmla="*/ 4992 w 6246"/>
                <a:gd name="connsiteY5" fmla="*/ 3143 h 6246"/>
                <a:gd name="connsiteX6" fmla="*/ 10363 w 6246"/>
                <a:gd name="connsiteY6" fmla="*/ 995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363" y="9951"/>
                  </a:moveTo>
                  <a:cubicBezTo>
                    <a:pt x="10363" y="10326"/>
                    <a:pt x="10363" y="10638"/>
                    <a:pt x="10301" y="11013"/>
                  </a:cubicBezTo>
                  <a:cubicBezTo>
                    <a:pt x="9177" y="11825"/>
                    <a:pt x="8115" y="11575"/>
                    <a:pt x="7053" y="10888"/>
                  </a:cubicBezTo>
                  <a:cubicBezTo>
                    <a:pt x="2368" y="8889"/>
                    <a:pt x="1681" y="4517"/>
                    <a:pt x="120" y="769"/>
                  </a:cubicBezTo>
                  <a:cubicBezTo>
                    <a:pt x="-442" y="-543"/>
                    <a:pt x="1119" y="207"/>
                    <a:pt x="1806" y="269"/>
                  </a:cubicBezTo>
                  <a:cubicBezTo>
                    <a:pt x="2868" y="1269"/>
                    <a:pt x="3618" y="2518"/>
                    <a:pt x="4992" y="3143"/>
                  </a:cubicBezTo>
                  <a:cubicBezTo>
                    <a:pt x="4804" y="6703"/>
                    <a:pt x="7802" y="8202"/>
                    <a:pt x="10363" y="9951"/>
                  </a:cubicBezTo>
                  <a:close/>
                </a:path>
              </a:pathLst>
            </a:custGeom>
            <a:grpFill/>
            <a:ln w="6246" cap="flat">
              <a:noFill/>
              <a:prstDash val="solid"/>
              <a:miter/>
            </a:ln>
          </p:spPr>
          <p:txBody>
            <a:bodyPr rtlCol="0" anchor="ctr"/>
            <a:lstStyle/>
            <a:p>
              <a:endParaRPr lang="fr-FR" sz="2400"/>
            </a:p>
          </p:txBody>
        </p:sp>
        <p:sp>
          <p:nvSpPr>
            <p:cNvPr id="711" name="Freeform: Shape 710">
              <a:extLst>
                <a:ext uri="{FF2B5EF4-FFF2-40B4-BE49-F238E27FC236}">
                  <a16:creationId xmlns:a16="http://schemas.microsoft.com/office/drawing/2014/main" id="{9C0B515C-A2EE-4C7A-B16A-4F7ADAB17F47}"/>
                </a:ext>
              </a:extLst>
            </p:cNvPr>
            <p:cNvSpPr/>
            <p:nvPr/>
          </p:nvSpPr>
          <p:spPr>
            <a:xfrm>
              <a:off x="1235065" y="569141"/>
              <a:ext cx="6246" cy="6246"/>
            </a:xfrm>
            <a:custGeom>
              <a:avLst/>
              <a:gdLst>
                <a:gd name="connsiteX0" fmla="*/ 0 w 0"/>
                <a:gd name="connsiteY0" fmla="*/ 0 h 0"/>
                <a:gd name="connsiteX1" fmla="*/ 3248 w 0"/>
                <a:gd name="connsiteY1" fmla="*/ 125 h 0"/>
                <a:gd name="connsiteX2" fmla="*/ 4560 w 0"/>
                <a:gd name="connsiteY2" fmla="*/ 1811 h 0"/>
                <a:gd name="connsiteX3" fmla="*/ 3185 w 0"/>
                <a:gd name="connsiteY3" fmla="*/ 3061 h 0"/>
                <a:gd name="connsiteX4" fmla="*/ 62 w 0"/>
                <a:gd name="connsiteY4" fmla="*/ 999 h 0"/>
                <a:gd name="connsiteX5" fmla="*/ 0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0"/>
                  </a:moveTo>
                  <a:cubicBezTo>
                    <a:pt x="1062" y="62"/>
                    <a:pt x="2124" y="62"/>
                    <a:pt x="3248" y="125"/>
                  </a:cubicBezTo>
                  <a:cubicBezTo>
                    <a:pt x="3685" y="687"/>
                    <a:pt x="4122" y="1249"/>
                    <a:pt x="4560" y="1811"/>
                  </a:cubicBezTo>
                  <a:cubicBezTo>
                    <a:pt x="4372" y="2498"/>
                    <a:pt x="3935" y="2936"/>
                    <a:pt x="3185" y="3061"/>
                  </a:cubicBezTo>
                  <a:cubicBezTo>
                    <a:pt x="2124" y="2373"/>
                    <a:pt x="1124" y="1686"/>
                    <a:pt x="62" y="999"/>
                  </a:cubicBezTo>
                  <a:cubicBezTo>
                    <a:pt x="62" y="625"/>
                    <a:pt x="62" y="312"/>
                    <a:pt x="0" y="0"/>
                  </a:cubicBezTo>
                  <a:close/>
                </a:path>
              </a:pathLst>
            </a:custGeom>
            <a:grpFill/>
            <a:ln w="6246" cap="flat">
              <a:noFill/>
              <a:prstDash val="solid"/>
              <a:miter/>
            </a:ln>
          </p:spPr>
          <p:txBody>
            <a:bodyPr rtlCol="0" anchor="ctr"/>
            <a:lstStyle/>
            <a:p>
              <a:endParaRPr lang="fr-FR" sz="2400"/>
            </a:p>
          </p:txBody>
        </p:sp>
        <p:sp>
          <p:nvSpPr>
            <p:cNvPr id="712" name="Freeform: Shape 711">
              <a:extLst>
                <a:ext uri="{FF2B5EF4-FFF2-40B4-BE49-F238E27FC236}">
                  <a16:creationId xmlns:a16="http://schemas.microsoft.com/office/drawing/2014/main" id="{AC2A948C-C105-4801-A718-7405C6F678DE}"/>
                </a:ext>
              </a:extLst>
            </p:cNvPr>
            <p:cNvSpPr/>
            <p:nvPr/>
          </p:nvSpPr>
          <p:spPr>
            <a:xfrm>
              <a:off x="1229818" y="558585"/>
              <a:ext cx="6246" cy="6246"/>
            </a:xfrm>
            <a:custGeom>
              <a:avLst/>
              <a:gdLst>
                <a:gd name="connsiteX0" fmla="*/ 3186 w 0"/>
                <a:gd name="connsiteY0" fmla="*/ 2873 h 0"/>
                <a:gd name="connsiteX1" fmla="*/ 0 w 0"/>
                <a:gd name="connsiteY1" fmla="*/ 0 h 0"/>
                <a:gd name="connsiteX2" fmla="*/ 3186 w 0"/>
                <a:gd name="connsiteY2" fmla="*/ 2873 h 0"/>
              </a:gdLst>
              <a:ahLst/>
              <a:cxnLst>
                <a:cxn ang="0">
                  <a:pos x="connsiteX0" y="connsiteY0"/>
                </a:cxn>
                <a:cxn ang="0">
                  <a:pos x="connsiteX1" y="connsiteY1"/>
                </a:cxn>
                <a:cxn ang="0">
                  <a:pos x="connsiteX2" y="connsiteY2"/>
                </a:cxn>
              </a:cxnLst>
              <a:rect l="l" t="t" r="r" b="b"/>
              <a:pathLst>
                <a:path>
                  <a:moveTo>
                    <a:pt x="3186" y="2873"/>
                  </a:moveTo>
                  <a:cubicBezTo>
                    <a:pt x="1187" y="2748"/>
                    <a:pt x="125" y="1811"/>
                    <a:pt x="0" y="0"/>
                  </a:cubicBezTo>
                  <a:cubicBezTo>
                    <a:pt x="1999" y="62"/>
                    <a:pt x="2436" y="1624"/>
                    <a:pt x="3186" y="2873"/>
                  </a:cubicBezTo>
                  <a:close/>
                </a:path>
              </a:pathLst>
            </a:custGeom>
            <a:grpFill/>
            <a:ln w="6246" cap="flat">
              <a:noFill/>
              <a:prstDash val="solid"/>
              <a:miter/>
            </a:ln>
          </p:spPr>
          <p:txBody>
            <a:bodyPr rtlCol="0" anchor="ctr"/>
            <a:lstStyle/>
            <a:p>
              <a:endParaRPr lang="fr-FR" sz="2400"/>
            </a:p>
          </p:txBody>
        </p:sp>
        <p:sp>
          <p:nvSpPr>
            <p:cNvPr id="713" name="Freeform: Shape 712">
              <a:extLst>
                <a:ext uri="{FF2B5EF4-FFF2-40B4-BE49-F238E27FC236}">
                  <a16:creationId xmlns:a16="http://schemas.microsoft.com/office/drawing/2014/main" id="{FD1C2C8C-DF29-49C0-BDE2-FE742648C07B}"/>
                </a:ext>
              </a:extLst>
            </p:cNvPr>
            <p:cNvSpPr/>
            <p:nvPr/>
          </p:nvSpPr>
          <p:spPr>
            <a:xfrm>
              <a:off x="1235400" y="561458"/>
              <a:ext cx="6246" cy="6246"/>
            </a:xfrm>
            <a:custGeom>
              <a:avLst/>
              <a:gdLst>
                <a:gd name="connsiteX0" fmla="*/ 789 w 0"/>
                <a:gd name="connsiteY0" fmla="*/ 0 h 0"/>
                <a:gd name="connsiteX1" fmla="*/ 1851 w 0"/>
                <a:gd name="connsiteY1" fmla="*/ 937 h 0"/>
                <a:gd name="connsiteX2" fmla="*/ 851 w 0"/>
                <a:gd name="connsiteY2" fmla="*/ 2061 h 0"/>
                <a:gd name="connsiteX3" fmla="*/ 78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789" y="0"/>
                  </a:moveTo>
                  <a:cubicBezTo>
                    <a:pt x="1163" y="312"/>
                    <a:pt x="1476" y="625"/>
                    <a:pt x="1851" y="937"/>
                  </a:cubicBezTo>
                  <a:cubicBezTo>
                    <a:pt x="1726" y="1499"/>
                    <a:pt x="1788" y="2436"/>
                    <a:pt x="851" y="2061"/>
                  </a:cubicBezTo>
                  <a:cubicBezTo>
                    <a:pt x="-273" y="1624"/>
                    <a:pt x="-273" y="750"/>
                    <a:pt x="789" y="0"/>
                  </a:cubicBezTo>
                  <a:close/>
                </a:path>
              </a:pathLst>
            </a:custGeom>
            <a:grpFill/>
            <a:ln w="6246" cap="flat">
              <a:noFill/>
              <a:prstDash val="solid"/>
              <a:miter/>
            </a:ln>
          </p:spPr>
          <p:txBody>
            <a:bodyPr rtlCol="0" anchor="ctr"/>
            <a:lstStyle/>
            <a:p>
              <a:endParaRPr lang="fr-FR" sz="2400"/>
            </a:p>
          </p:txBody>
        </p:sp>
        <p:sp>
          <p:nvSpPr>
            <p:cNvPr id="714" name="Freeform: Shape 713">
              <a:extLst>
                <a:ext uri="{FF2B5EF4-FFF2-40B4-BE49-F238E27FC236}">
                  <a16:creationId xmlns:a16="http://schemas.microsoft.com/office/drawing/2014/main" id="{4BFB8879-0725-4288-BE0A-95C6FB949E22}"/>
                </a:ext>
              </a:extLst>
            </p:cNvPr>
            <p:cNvSpPr/>
            <p:nvPr/>
          </p:nvSpPr>
          <p:spPr>
            <a:xfrm>
              <a:off x="1225258" y="553463"/>
              <a:ext cx="6246" cy="6246"/>
            </a:xfrm>
            <a:custGeom>
              <a:avLst/>
              <a:gdLst>
                <a:gd name="connsiteX0" fmla="*/ 0 w 0"/>
                <a:gd name="connsiteY0" fmla="*/ 999 h 0"/>
                <a:gd name="connsiteX1" fmla="*/ 1187 w 0"/>
                <a:gd name="connsiteY1" fmla="*/ 0 h 0"/>
                <a:gd name="connsiteX2" fmla="*/ 2623 w 0"/>
                <a:gd name="connsiteY2" fmla="*/ 1187 h 0"/>
                <a:gd name="connsiteX3" fmla="*/ 1811 w 0"/>
                <a:gd name="connsiteY3" fmla="*/ 1811 h 0"/>
                <a:gd name="connsiteX4" fmla="*/ 0 w 0"/>
                <a:gd name="connsiteY4" fmla="*/ 99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999"/>
                  </a:moveTo>
                  <a:cubicBezTo>
                    <a:pt x="812" y="312"/>
                    <a:pt x="1124" y="0"/>
                    <a:pt x="1187" y="0"/>
                  </a:cubicBezTo>
                  <a:cubicBezTo>
                    <a:pt x="1686" y="375"/>
                    <a:pt x="2311" y="687"/>
                    <a:pt x="2623" y="1187"/>
                  </a:cubicBezTo>
                  <a:cubicBezTo>
                    <a:pt x="2936" y="1811"/>
                    <a:pt x="2436" y="1999"/>
                    <a:pt x="1811" y="1811"/>
                  </a:cubicBezTo>
                  <a:cubicBezTo>
                    <a:pt x="1187" y="1624"/>
                    <a:pt x="625" y="1312"/>
                    <a:pt x="0" y="999"/>
                  </a:cubicBezTo>
                  <a:close/>
                </a:path>
              </a:pathLst>
            </a:custGeom>
            <a:grpFill/>
            <a:ln w="6246" cap="flat">
              <a:noFill/>
              <a:prstDash val="solid"/>
              <a:miter/>
            </a:ln>
          </p:spPr>
          <p:txBody>
            <a:bodyPr rtlCol="0" anchor="ctr"/>
            <a:lstStyle/>
            <a:p>
              <a:endParaRPr lang="fr-FR" sz="2400"/>
            </a:p>
          </p:txBody>
        </p:sp>
        <p:sp>
          <p:nvSpPr>
            <p:cNvPr id="715" name="Freeform: Shape 714">
              <a:extLst>
                <a:ext uri="{FF2B5EF4-FFF2-40B4-BE49-F238E27FC236}">
                  <a16:creationId xmlns:a16="http://schemas.microsoft.com/office/drawing/2014/main" id="{3541EF5B-CD29-4073-9258-B93A8ACED723}"/>
                </a:ext>
              </a:extLst>
            </p:cNvPr>
            <p:cNvSpPr/>
            <p:nvPr/>
          </p:nvSpPr>
          <p:spPr>
            <a:xfrm>
              <a:off x="1267698" y="444937"/>
              <a:ext cx="12492" cy="6246"/>
            </a:xfrm>
            <a:custGeom>
              <a:avLst/>
              <a:gdLst>
                <a:gd name="connsiteX0" fmla="*/ 17897 w 12492"/>
                <a:gd name="connsiteY0" fmla="*/ 969 h 0"/>
                <a:gd name="connsiteX1" fmla="*/ 2282 w 12492"/>
                <a:gd name="connsiteY1" fmla="*/ 4591 h 0"/>
                <a:gd name="connsiteX2" fmla="*/ 96 w 12492"/>
                <a:gd name="connsiteY2" fmla="*/ 3904 h 0"/>
                <a:gd name="connsiteX3" fmla="*/ 908 w 12492"/>
                <a:gd name="connsiteY3" fmla="*/ 2405 h 0"/>
                <a:gd name="connsiteX4" fmla="*/ 17897 w 12492"/>
                <a:gd name="connsiteY4" fmla="*/ 969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a:moveTo>
                    <a:pt x="17897" y="969"/>
                  </a:moveTo>
                  <a:cubicBezTo>
                    <a:pt x="12713" y="2155"/>
                    <a:pt x="7466" y="3342"/>
                    <a:pt x="2282" y="4591"/>
                  </a:cubicBezTo>
                  <a:cubicBezTo>
                    <a:pt x="1345" y="4779"/>
                    <a:pt x="533" y="4841"/>
                    <a:pt x="96" y="3904"/>
                  </a:cubicBezTo>
                  <a:cubicBezTo>
                    <a:pt x="-217" y="3155"/>
                    <a:pt x="283" y="2530"/>
                    <a:pt x="908" y="2405"/>
                  </a:cubicBezTo>
                  <a:cubicBezTo>
                    <a:pt x="6467" y="1031"/>
                    <a:pt x="11901" y="-1342"/>
                    <a:pt x="17897" y="969"/>
                  </a:cubicBezTo>
                  <a:close/>
                </a:path>
              </a:pathLst>
            </a:custGeom>
            <a:grpFill/>
            <a:ln w="6246" cap="flat">
              <a:noFill/>
              <a:prstDash val="solid"/>
              <a:miter/>
            </a:ln>
          </p:spPr>
          <p:txBody>
            <a:bodyPr rtlCol="0" anchor="ctr"/>
            <a:lstStyle/>
            <a:p>
              <a:endParaRPr lang="fr-FR" sz="2400"/>
            </a:p>
          </p:txBody>
        </p:sp>
        <p:sp>
          <p:nvSpPr>
            <p:cNvPr id="716" name="Freeform: Shape 715">
              <a:extLst>
                <a:ext uri="{FF2B5EF4-FFF2-40B4-BE49-F238E27FC236}">
                  <a16:creationId xmlns:a16="http://schemas.microsoft.com/office/drawing/2014/main" id="{77A738D3-53EC-42A0-9F50-76F9B25F777E}"/>
                </a:ext>
              </a:extLst>
            </p:cNvPr>
            <p:cNvSpPr/>
            <p:nvPr/>
          </p:nvSpPr>
          <p:spPr>
            <a:xfrm>
              <a:off x="1260525" y="450278"/>
              <a:ext cx="24984" cy="6246"/>
            </a:xfrm>
            <a:custGeom>
              <a:avLst/>
              <a:gdLst>
                <a:gd name="connsiteX0" fmla="*/ 274 w 24984"/>
                <a:gd name="connsiteY0" fmla="*/ 3873 h 0"/>
                <a:gd name="connsiteX1" fmla="*/ 15826 w 24984"/>
                <a:gd name="connsiteY1" fmla="*/ 0 h 0"/>
                <a:gd name="connsiteX2" fmla="*/ 29131 w 24984"/>
                <a:gd name="connsiteY2" fmla="*/ 0 h 0"/>
                <a:gd name="connsiteX3" fmla="*/ 28881 w 24984"/>
                <a:gd name="connsiteY3" fmla="*/ 1437 h 0"/>
                <a:gd name="connsiteX4" fmla="*/ 15077 w 24984"/>
                <a:gd name="connsiteY4" fmla="*/ 2811 h 0"/>
                <a:gd name="connsiteX5" fmla="*/ 11142 w 24984"/>
                <a:gd name="connsiteY5" fmla="*/ 3810 h 0"/>
                <a:gd name="connsiteX6" fmla="*/ 6582 w 24984"/>
                <a:gd name="connsiteY6" fmla="*/ 4872 h 0"/>
                <a:gd name="connsiteX7" fmla="*/ 336 w 24984"/>
                <a:gd name="connsiteY7" fmla="*/ 5184 h 0"/>
                <a:gd name="connsiteX8" fmla="*/ 274 w 24984"/>
                <a:gd name="connsiteY8" fmla="*/ 3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4">
                  <a:moveTo>
                    <a:pt x="274" y="3873"/>
                  </a:moveTo>
                  <a:cubicBezTo>
                    <a:pt x="5021" y="1187"/>
                    <a:pt x="10267" y="0"/>
                    <a:pt x="15826" y="0"/>
                  </a:cubicBezTo>
                  <a:cubicBezTo>
                    <a:pt x="20261" y="0"/>
                    <a:pt x="24696" y="0"/>
                    <a:pt x="29131" y="0"/>
                  </a:cubicBezTo>
                  <a:cubicBezTo>
                    <a:pt x="29505" y="562"/>
                    <a:pt x="29380" y="999"/>
                    <a:pt x="28881" y="1437"/>
                  </a:cubicBezTo>
                  <a:cubicBezTo>
                    <a:pt x="24446" y="3435"/>
                    <a:pt x="19574" y="1562"/>
                    <a:pt x="15077" y="2811"/>
                  </a:cubicBezTo>
                  <a:cubicBezTo>
                    <a:pt x="13765" y="3248"/>
                    <a:pt x="12454" y="3373"/>
                    <a:pt x="11142" y="3810"/>
                  </a:cubicBezTo>
                  <a:cubicBezTo>
                    <a:pt x="9643" y="4185"/>
                    <a:pt x="8019" y="4310"/>
                    <a:pt x="6582" y="4872"/>
                  </a:cubicBezTo>
                  <a:cubicBezTo>
                    <a:pt x="4521" y="5059"/>
                    <a:pt x="2460" y="6121"/>
                    <a:pt x="336" y="5184"/>
                  </a:cubicBezTo>
                  <a:cubicBezTo>
                    <a:pt x="-101" y="4747"/>
                    <a:pt x="-101" y="4310"/>
                    <a:pt x="274" y="3873"/>
                  </a:cubicBezTo>
                  <a:close/>
                </a:path>
              </a:pathLst>
            </a:custGeom>
            <a:grpFill/>
            <a:ln w="6246" cap="flat">
              <a:noFill/>
              <a:prstDash val="solid"/>
              <a:miter/>
            </a:ln>
          </p:spPr>
          <p:txBody>
            <a:bodyPr rtlCol="0" anchor="ctr"/>
            <a:lstStyle/>
            <a:p>
              <a:endParaRPr lang="fr-FR" sz="2400"/>
            </a:p>
          </p:txBody>
        </p:sp>
        <p:sp>
          <p:nvSpPr>
            <p:cNvPr id="717" name="Freeform: Shape 716">
              <a:extLst>
                <a:ext uri="{FF2B5EF4-FFF2-40B4-BE49-F238E27FC236}">
                  <a16:creationId xmlns:a16="http://schemas.microsoft.com/office/drawing/2014/main" id="{5DFBDF20-626B-4A5F-9838-D74735B60BA9}"/>
                </a:ext>
              </a:extLst>
            </p:cNvPr>
            <p:cNvSpPr/>
            <p:nvPr/>
          </p:nvSpPr>
          <p:spPr>
            <a:xfrm>
              <a:off x="1289718" y="450278"/>
              <a:ext cx="12492" cy="6246"/>
            </a:xfrm>
            <a:custGeom>
              <a:avLst/>
              <a:gdLst>
                <a:gd name="connsiteX0" fmla="*/ 0 w 12492"/>
                <a:gd name="connsiteY0" fmla="*/ 937 h 0"/>
                <a:gd name="connsiteX1" fmla="*/ 0 w 12492"/>
                <a:gd name="connsiteY1" fmla="*/ 0 h 0"/>
                <a:gd name="connsiteX2" fmla="*/ 13929 w 12492"/>
                <a:gd name="connsiteY2" fmla="*/ 1936 h 0"/>
                <a:gd name="connsiteX3" fmla="*/ 7495 w 12492"/>
                <a:gd name="connsiteY3" fmla="*/ 4809 h 0"/>
                <a:gd name="connsiteX4" fmla="*/ 2124 w 12492"/>
                <a:gd name="connsiteY4" fmla="*/ 1936 h 0"/>
                <a:gd name="connsiteX5" fmla="*/ 1062 w 12492"/>
                <a:gd name="connsiteY5" fmla="*/ 2249 h 0"/>
                <a:gd name="connsiteX6" fmla="*/ 0 w 12492"/>
                <a:gd name="connsiteY6" fmla="*/ 93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0" y="937"/>
                  </a:moveTo>
                  <a:cubicBezTo>
                    <a:pt x="0" y="625"/>
                    <a:pt x="0" y="312"/>
                    <a:pt x="0" y="0"/>
                  </a:cubicBezTo>
                  <a:cubicBezTo>
                    <a:pt x="4747" y="0"/>
                    <a:pt x="9307" y="1124"/>
                    <a:pt x="13929" y="1936"/>
                  </a:cubicBezTo>
                  <a:cubicBezTo>
                    <a:pt x="13554" y="6121"/>
                    <a:pt x="9556" y="3685"/>
                    <a:pt x="7495" y="4809"/>
                  </a:cubicBezTo>
                  <a:cubicBezTo>
                    <a:pt x="6808" y="2124"/>
                    <a:pt x="4497" y="1999"/>
                    <a:pt x="2124" y="1936"/>
                  </a:cubicBezTo>
                  <a:cubicBezTo>
                    <a:pt x="1811" y="2249"/>
                    <a:pt x="1437" y="2311"/>
                    <a:pt x="1062" y="2249"/>
                  </a:cubicBezTo>
                  <a:cubicBezTo>
                    <a:pt x="375" y="1936"/>
                    <a:pt x="62" y="1562"/>
                    <a:pt x="0" y="937"/>
                  </a:cubicBezTo>
                  <a:close/>
                </a:path>
              </a:pathLst>
            </a:custGeom>
            <a:grpFill/>
            <a:ln w="6246" cap="flat">
              <a:noFill/>
              <a:prstDash val="solid"/>
              <a:miter/>
            </a:ln>
          </p:spPr>
          <p:txBody>
            <a:bodyPr rtlCol="0" anchor="ctr"/>
            <a:lstStyle/>
            <a:p>
              <a:endParaRPr lang="fr-FR" sz="2400"/>
            </a:p>
          </p:txBody>
        </p:sp>
        <p:sp>
          <p:nvSpPr>
            <p:cNvPr id="718" name="Freeform: Shape 717">
              <a:extLst>
                <a:ext uri="{FF2B5EF4-FFF2-40B4-BE49-F238E27FC236}">
                  <a16:creationId xmlns:a16="http://schemas.microsoft.com/office/drawing/2014/main" id="{6774DE72-D027-4263-97D0-8B5825DD72A6}"/>
                </a:ext>
              </a:extLst>
            </p:cNvPr>
            <p:cNvSpPr/>
            <p:nvPr/>
          </p:nvSpPr>
          <p:spPr>
            <a:xfrm>
              <a:off x="1255489" y="454145"/>
              <a:ext cx="6246" cy="6246"/>
            </a:xfrm>
            <a:custGeom>
              <a:avLst/>
              <a:gdLst>
                <a:gd name="connsiteX0" fmla="*/ 5309 w 0"/>
                <a:gd name="connsiteY0" fmla="*/ 6 h 0"/>
                <a:gd name="connsiteX1" fmla="*/ 5309 w 0"/>
                <a:gd name="connsiteY1" fmla="*/ 818 h 0"/>
                <a:gd name="connsiteX2" fmla="*/ 3373 w 0"/>
                <a:gd name="connsiteY2" fmla="*/ 2629 h 0"/>
                <a:gd name="connsiteX3" fmla="*/ 0 w 0"/>
                <a:gd name="connsiteY3" fmla="*/ 2754 h 0"/>
                <a:gd name="connsiteX4" fmla="*/ 0 w 0"/>
                <a:gd name="connsiteY4" fmla="*/ 1880 h 0"/>
                <a:gd name="connsiteX5" fmla="*/ 5309 w 0"/>
                <a:gd name="connsiteY5" fmla="*/ 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6"/>
                  </a:moveTo>
                  <a:cubicBezTo>
                    <a:pt x="5309" y="256"/>
                    <a:pt x="5309" y="568"/>
                    <a:pt x="5309" y="818"/>
                  </a:cubicBezTo>
                  <a:cubicBezTo>
                    <a:pt x="4997" y="1755"/>
                    <a:pt x="4185" y="2192"/>
                    <a:pt x="3373" y="2629"/>
                  </a:cubicBezTo>
                  <a:cubicBezTo>
                    <a:pt x="2249" y="3004"/>
                    <a:pt x="1124" y="3628"/>
                    <a:pt x="0" y="2754"/>
                  </a:cubicBezTo>
                  <a:cubicBezTo>
                    <a:pt x="0" y="2442"/>
                    <a:pt x="0" y="2192"/>
                    <a:pt x="0" y="1880"/>
                  </a:cubicBezTo>
                  <a:cubicBezTo>
                    <a:pt x="1374" y="380"/>
                    <a:pt x="3248" y="-57"/>
                    <a:pt x="5309" y="6"/>
                  </a:cubicBezTo>
                  <a:close/>
                </a:path>
              </a:pathLst>
            </a:custGeom>
            <a:grpFill/>
            <a:ln w="6246" cap="flat">
              <a:noFill/>
              <a:prstDash val="solid"/>
              <a:miter/>
            </a:ln>
          </p:spPr>
          <p:txBody>
            <a:bodyPr rtlCol="0" anchor="ctr"/>
            <a:lstStyle/>
            <a:p>
              <a:endParaRPr lang="fr-FR" sz="2400"/>
            </a:p>
          </p:txBody>
        </p:sp>
        <p:sp>
          <p:nvSpPr>
            <p:cNvPr id="719" name="Freeform: Shape 718">
              <a:extLst>
                <a:ext uri="{FF2B5EF4-FFF2-40B4-BE49-F238E27FC236}">
                  <a16:creationId xmlns:a16="http://schemas.microsoft.com/office/drawing/2014/main" id="{6FAE93ED-BBE6-426B-AF2D-FBE4EF67EEB2}"/>
                </a:ext>
              </a:extLst>
            </p:cNvPr>
            <p:cNvSpPr/>
            <p:nvPr/>
          </p:nvSpPr>
          <p:spPr>
            <a:xfrm>
              <a:off x="1228694" y="488815"/>
              <a:ext cx="6246" cy="6246"/>
            </a:xfrm>
            <a:custGeom>
              <a:avLst/>
              <a:gdLst>
                <a:gd name="connsiteX0" fmla="*/ 1062 w 6246"/>
                <a:gd name="connsiteY0" fmla="*/ 11744 h 6246"/>
                <a:gd name="connsiteX1" fmla="*/ 0 w 6246"/>
                <a:gd name="connsiteY1" fmla="*/ 11744 h 6246"/>
                <a:gd name="connsiteX2" fmla="*/ 9619 w 6246"/>
                <a:gd name="connsiteY2" fmla="*/ 126 h 6246"/>
                <a:gd name="connsiteX3" fmla="*/ 10681 w 6246"/>
                <a:gd name="connsiteY3" fmla="*/ 1125 h 6246"/>
                <a:gd name="connsiteX4" fmla="*/ 1062 w 6246"/>
                <a:gd name="connsiteY4" fmla="*/ 11744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1062" y="11744"/>
                  </a:moveTo>
                  <a:cubicBezTo>
                    <a:pt x="687" y="11744"/>
                    <a:pt x="375" y="11744"/>
                    <a:pt x="0" y="11744"/>
                  </a:cubicBezTo>
                  <a:cubicBezTo>
                    <a:pt x="1686" y="6872"/>
                    <a:pt x="5559" y="3436"/>
                    <a:pt x="9619" y="126"/>
                  </a:cubicBezTo>
                  <a:cubicBezTo>
                    <a:pt x="10743" y="-249"/>
                    <a:pt x="10931" y="251"/>
                    <a:pt x="10681" y="1125"/>
                  </a:cubicBezTo>
                  <a:cubicBezTo>
                    <a:pt x="7995" y="4998"/>
                    <a:pt x="2936" y="7184"/>
                    <a:pt x="1062" y="11744"/>
                  </a:cubicBezTo>
                  <a:close/>
                </a:path>
              </a:pathLst>
            </a:custGeom>
            <a:grpFill/>
            <a:ln w="6246" cap="flat">
              <a:noFill/>
              <a:prstDash val="solid"/>
              <a:miter/>
            </a:ln>
          </p:spPr>
          <p:txBody>
            <a:bodyPr rtlCol="0" anchor="ctr"/>
            <a:lstStyle/>
            <a:p>
              <a:endParaRPr lang="fr-FR" sz="2400"/>
            </a:p>
          </p:txBody>
        </p:sp>
        <p:sp>
          <p:nvSpPr>
            <p:cNvPr id="720" name="Freeform: Shape 719">
              <a:extLst>
                <a:ext uri="{FF2B5EF4-FFF2-40B4-BE49-F238E27FC236}">
                  <a16:creationId xmlns:a16="http://schemas.microsoft.com/office/drawing/2014/main" id="{0B0A46C7-8C78-41C4-AC1C-B140A0B6A6AB}"/>
                </a:ext>
              </a:extLst>
            </p:cNvPr>
            <p:cNvSpPr/>
            <p:nvPr/>
          </p:nvSpPr>
          <p:spPr>
            <a:xfrm>
              <a:off x="1238375" y="480197"/>
              <a:ext cx="6246" cy="6246"/>
            </a:xfrm>
            <a:custGeom>
              <a:avLst/>
              <a:gdLst>
                <a:gd name="connsiteX0" fmla="*/ 1062 w 6246"/>
                <a:gd name="connsiteY0" fmla="*/ 9681 h 6246"/>
                <a:gd name="connsiteX1" fmla="*/ 0 w 6246"/>
                <a:gd name="connsiteY1" fmla="*/ 8682 h 6246"/>
                <a:gd name="connsiteX2" fmla="*/ 4310 w 6246"/>
                <a:gd name="connsiteY2" fmla="*/ 2873 h 6246"/>
                <a:gd name="connsiteX3" fmla="*/ 4310 w 6246"/>
                <a:gd name="connsiteY3" fmla="*/ 2873 h 6246"/>
                <a:gd name="connsiteX4" fmla="*/ 6433 w 6246"/>
                <a:gd name="connsiteY4" fmla="*/ 937 h 6246"/>
                <a:gd name="connsiteX5" fmla="*/ 8557 w 6246"/>
                <a:gd name="connsiteY5" fmla="*/ 0 h 6246"/>
                <a:gd name="connsiteX6" fmla="*/ 1062 w 6246"/>
                <a:gd name="connsiteY6" fmla="*/ 968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062" y="9681"/>
                  </a:moveTo>
                  <a:cubicBezTo>
                    <a:pt x="687" y="9369"/>
                    <a:pt x="375" y="9057"/>
                    <a:pt x="0" y="8682"/>
                  </a:cubicBezTo>
                  <a:cubicBezTo>
                    <a:pt x="1249" y="6683"/>
                    <a:pt x="5934" y="6683"/>
                    <a:pt x="4310" y="2873"/>
                  </a:cubicBezTo>
                  <a:lnTo>
                    <a:pt x="4310" y="2873"/>
                  </a:lnTo>
                  <a:cubicBezTo>
                    <a:pt x="4997" y="2249"/>
                    <a:pt x="5746" y="1562"/>
                    <a:pt x="6433" y="937"/>
                  </a:cubicBezTo>
                  <a:cubicBezTo>
                    <a:pt x="7121" y="625"/>
                    <a:pt x="7870" y="312"/>
                    <a:pt x="8557" y="0"/>
                  </a:cubicBezTo>
                  <a:cubicBezTo>
                    <a:pt x="7995" y="4497"/>
                    <a:pt x="5372" y="7620"/>
                    <a:pt x="1062" y="9681"/>
                  </a:cubicBezTo>
                  <a:close/>
                </a:path>
              </a:pathLst>
            </a:custGeom>
            <a:grpFill/>
            <a:ln w="6246" cap="flat">
              <a:noFill/>
              <a:prstDash val="solid"/>
              <a:miter/>
            </a:ln>
          </p:spPr>
          <p:txBody>
            <a:bodyPr rtlCol="0" anchor="ctr"/>
            <a:lstStyle/>
            <a:p>
              <a:endParaRPr lang="fr-FR" sz="2400"/>
            </a:p>
          </p:txBody>
        </p:sp>
        <p:sp>
          <p:nvSpPr>
            <p:cNvPr id="721" name="Freeform: Shape 720">
              <a:extLst>
                <a:ext uri="{FF2B5EF4-FFF2-40B4-BE49-F238E27FC236}">
                  <a16:creationId xmlns:a16="http://schemas.microsoft.com/office/drawing/2014/main" id="{4294FFE7-3323-458B-8478-6DDBE481E182}"/>
                </a:ext>
              </a:extLst>
            </p:cNvPr>
            <p:cNvSpPr/>
            <p:nvPr/>
          </p:nvSpPr>
          <p:spPr>
            <a:xfrm>
              <a:off x="1238313" y="483132"/>
              <a:ext cx="6246" cy="6246"/>
            </a:xfrm>
            <a:custGeom>
              <a:avLst/>
              <a:gdLst>
                <a:gd name="connsiteX0" fmla="*/ 4310 w 0"/>
                <a:gd name="connsiteY0" fmla="*/ 0 h 0"/>
                <a:gd name="connsiteX1" fmla="*/ 0 w 0"/>
                <a:gd name="connsiteY1" fmla="*/ 3310 h 0"/>
                <a:gd name="connsiteX2" fmla="*/ 4310 w 0"/>
                <a:gd name="connsiteY2" fmla="*/ 0 h 0"/>
                <a:gd name="connsiteX3" fmla="*/ 431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310" y="0"/>
                  </a:moveTo>
                  <a:cubicBezTo>
                    <a:pt x="3310" y="1499"/>
                    <a:pt x="2124" y="2811"/>
                    <a:pt x="0" y="3310"/>
                  </a:cubicBezTo>
                  <a:cubicBezTo>
                    <a:pt x="874" y="1624"/>
                    <a:pt x="1874" y="125"/>
                    <a:pt x="4310" y="0"/>
                  </a:cubicBezTo>
                  <a:lnTo>
                    <a:pt x="4310" y="0"/>
                  </a:lnTo>
                  <a:close/>
                </a:path>
              </a:pathLst>
            </a:custGeom>
            <a:grpFill/>
            <a:ln w="6246" cap="flat">
              <a:noFill/>
              <a:prstDash val="solid"/>
              <a:miter/>
            </a:ln>
          </p:spPr>
          <p:txBody>
            <a:bodyPr rtlCol="0" anchor="ctr"/>
            <a:lstStyle/>
            <a:p>
              <a:endParaRPr lang="fr-FR" sz="2400"/>
            </a:p>
          </p:txBody>
        </p:sp>
        <p:sp>
          <p:nvSpPr>
            <p:cNvPr id="722" name="Freeform: Shape 721">
              <a:extLst>
                <a:ext uri="{FF2B5EF4-FFF2-40B4-BE49-F238E27FC236}">
                  <a16:creationId xmlns:a16="http://schemas.microsoft.com/office/drawing/2014/main" id="{EBE64328-EAA9-4FC7-BC53-22332698C591}"/>
                </a:ext>
              </a:extLst>
            </p:cNvPr>
            <p:cNvSpPr/>
            <p:nvPr/>
          </p:nvSpPr>
          <p:spPr>
            <a:xfrm>
              <a:off x="1251242" y="454525"/>
              <a:ext cx="31230" cy="18738"/>
            </a:xfrm>
            <a:custGeom>
              <a:avLst/>
              <a:gdLst>
                <a:gd name="connsiteX0" fmla="*/ 35228 w 31230"/>
                <a:gd name="connsiteY0" fmla="*/ 562 h 18738"/>
                <a:gd name="connsiteX1" fmla="*/ 37414 w 31230"/>
                <a:gd name="connsiteY1" fmla="*/ 2498 h 18738"/>
                <a:gd name="connsiteX2" fmla="*/ 27545 w 31230"/>
                <a:gd name="connsiteY2" fmla="*/ 5684 h 18738"/>
                <a:gd name="connsiteX3" fmla="*/ 8307 w 31230"/>
                <a:gd name="connsiteY3" fmla="*/ 16864 h 18738"/>
                <a:gd name="connsiteX4" fmla="*/ 0 w 31230"/>
                <a:gd name="connsiteY4" fmla="*/ 20862 h 18738"/>
                <a:gd name="connsiteX5" fmla="*/ 3248 w 31230"/>
                <a:gd name="connsiteY5" fmla="*/ 17489 h 18738"/>
                <a:gd name="connsiteX6" fmla="*/ 4310 w 31230"/>
                <a:gd name="connsiteY6" fmla="*/ 13117 h 18738"/>
                <a:gd name="connsiteX7" fmla="*/ 5372 w 31230"/>
                <a:gd name="connsiteY7" fmla="*/ 12180 h 18738"/>
                <a:gd name="connsiteX8" fmla="*/ 6496 w 31230"/>
                <a:gd name="connsiteY8" fmla="*/ 11680 h 18738"/>
                <a:gd name="connsiteX9" fmla="*/ 10244 w 31230"/>
                <a:gd name="connsiteY9" fmla="*/ 9557 h 18738"/>
                <a:gd name="connsiteX10" fmla="*/ 8557 w 31230"/>
                <a:gd name="connsiteY10" fmla="*/ 8307 h 18738"/>
                <a:gd name="connsiteX11" fmla="*/ 8557 w 31230"/>
                <a:gd name="connsiteY11" fmla="*/ 5497 h 18738"/>
                <a:gd name="connsiteX12" fmla="*/ 9869 w 31230"/>
                <a:gd name="connsiteY12" fmla="*/ 3685 h 18738"/>
                <a:gd name="connsiteX13" fmla="*/ 16927 w 31230"/>
                <a:gd name="connsiteY13" fmla="*/ 2186 h 18738"/>
                <a:gd name="connsiteX14" fmla="*/ 22361 w 31230"/>
                <a:gd name="connsiteY14" fmla="*/ 1499 h 18738"/>
                <a:gd name="connsiteX15" fmla="*/ 28482 w 31230"/>
                <a:gd name="connsiteY15" fmla="*/ 312 h 18738"/>
                <a:gd name="connsiteX16" fmla="*/ 33854 w 31230"/>
                <a:gd name="connsiteY16" fmla="*/ 0 h 18738"/>
                <a:gd name="connsiteX17" fmla="*/ 35228 w 31230"/>
                <a:gd name="connsiteY17" fmla="*/ 562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30" h="18738">
                  <a:moveTo>
                    <a:pt x="35228" y="562"/>
                  </a:moveTo>
                  <a:cubicBezTo>
                    <a:pt x="36539" y="687"/>
                    <a:pt x="37351" y="1249"/>
                    <a:pt x="37414" y="2498"/>
                  </a:cubicBezTo>
                  <a:cubicBezTo>
                    <a:pt x="34353" y="4185"/>
                    <a:pt x="30793" y="4747"/>
                    <a:pt x="27545" y="5684"/>
                  </a:cubicBezTo>
                  <a:cubicBezTo>
                    <a:pt x="19800" y="7808"/>
                    <a:pt x="13679" y="11680"/>
                    <a:pt x="8307" y="16864"/>
                  </a:cubicBezTo>
                  <a:cubicBezTo>
                    <a:pt x="5996" y="19113"/>
                    <a:pt x="2873" y="19738"/>
                    <a:pt x="0" y="20862"/>
                  </a:cubicBezTo>
                  <a:cubicBezTo>
                    <a:pt x="62" y="18926"/>
                    <a:pt x="2061" y="18551"/>
                    <a:pt x="3248" y="17489"/>
                  </a:cubicBezTo>
                  <a:cubicBezTo>
                    <a:pt x="4747" y="16177"/>
                    <a:pt x="5684" y="14928"/>
                    <a:pt x="4310" y="13117"/>
                  </a:cubicBezTo>
                  <a:cubicBezTo>
                    <a:pt x="4685" y="12804"/>
                    <a:pt x="4997" y="12492"/>
                    <a:pt x="5372" y="12180"/>
                  </a:cubicBezTo>
                  <a:cubicBezTo>
                    <a:pt x="5684" y="11868"/>
                    <a:pt x="6059" y="11743"/>
                    <a:pt x="6496" y="11680"/>
                  </a:cubicBezTo>
                  <a:cubicBezTo>
                    <a:pt x="8120" y="11493"/>
                    <a:pt x="9057" y="10306"/>
                    <a:pt x="10244" y="9557"/>
                  </a:cubicBezTo>
                  <a:cubicBezTo>
                    <a:pt x="10306" y="8432"/>
                    <a:pt x="8682" y="9182"/>
                    <a:pt x="8557" y="8307"/>
                  </a:cubicBezTo>
                  <a:cubicBezTo>
                    <a:pt x="8557" y="7370"/>
                    <a:pt x="8557" y="6433"/>
                    <a:pt x="8557" y="5497"/>
                  </a:cubicBezTo>
                  <a:cubicBezTo>
                    <a:pt x="8682" y="4685"/>
                    <a:pt x="9119" y="4122"/>
                    <a:pt x="9869" y="3685"/>
                  </a:cubicBezTo>
                  <a:cubicBezTo>
                    <a:pt x="12180" y="2873"/>
                    <a:pt x="14553" y="2623"/>
                    <a:pt x="16927" y="2186"/>
                  </a:cubicBezTo>
                  <a:cubicBezTo>
                    <a:pt x="18738" y="2061"/>
                    <a:pt x="20612" y="2186"/>
                    <a:pt x="22361" y="1499"/>
                  </a:cubicBezTo>
                  <a:cubicBezTo>
                    <a:pt x="24422" y="1124"/>
                    <a:pt x="26421" y="687"/>
                    <a:pt x="28482" y="312"/>
                  </a:cubicBezTo>
                  <a:cubicBezTo>
                    <a:pt x="30293" y="187"/>
                    <a:pt x="32042" y="187"/>
                    <a:pt x="33854" y="0"/>
                  </a:cubicBezTo>
                  <a:cubicBezTo>
                    <a:pt x="34353" y="62"/>
                    <a:pt x="34791" y="250"/>
                    <a:pt x="35228" y="562"/>
                  </a:cubicBezTo>
                  <a:close/>
                </a:path>
              </a:pathLst>
            </a:custGeom>
            <a:grpFill/>
            <a:ln w="6246" cap="flat">
              <a:noFill/>
              <a:prstDash val="solid"/>
              <a:miter/>
            </a:ln>
          </p:spPr>
          <p:txBody>
            <a:bodyPr rtlCol="0" anchor="ctr"/>
            <a:lstStyle/>
            <a:p>
              <a:endParaRPr lang="fr-FR" sz="2400"/>
            </a:p>
          </p:txBody>
        </p:sp>
        <p:sp>
          <p:nvSpPr>
            <p:cNvPr id="723" name="Freeform: Shape 722">
              <a:extLst>
                <a:ext uri="{FF2B5EF4-FFF2-40B4-BE49-F238E27FC236}">
                  <a16:creationId xmlns:a16="http://schemas.microsoft.com/office/drawing/2014/main" id="{BCA087BB-FD19-4D4B-97D6-0F48F98F97D4}"/>
                </a:ext>
              </a:extLst>
            </p:cNvPr>
            <p:cNvSpPr/>
            <p:nvPr/>
          </p:nvSpPr>
          <p:spPr>
            <a:xfrm>
              <a:off x="1263625" y="507367"/>
              <a:ext cx="6246" cy="6246"/>
            </a:xfrm>
            <a:custGeom>
              <a:avLst/>
              <a:gdLst>
                <a:gd name="connsiteX0" fmla="*/ 1483 w 6246"/>
                <a:gd name="connsiteY0" fmla="*/ 4747 h 0"/>
                <a:gd name="connsiteX1" fmla="*/ 422 w 6246"/>
                <a:gd name="connsiteY1" fmla="*/ 3810 h 0"/>
                <a:gd name="connsiteX2" fmla="*/ 47 w 6246"/>
                <a:gd name="connsiteY2" fmla="*/ 3185 h 0"/>
                <a:gd name="connsiteX3" fmla="*/ 422 w 6246"/>
                <a:gd name="connsiteY3" fmla="*/ 2873 h 0"/>
                <a:gd name="connsiteX4" fmla="*/ 7917 w 6246"/>
                <a:gd name="connsiteY4" fmla="*/ 0 h 0"/>
                <a:gd name="connsiteX5" fmla="*/ 11102 w 6246"/>
                <a:gd name="connsiteY5" fmla="*/ 937 h 0"/>
                <a:gd name="connsiteX6" fmla="*/ 4669 w 6246"/>
                <a:gd name="connsiteY6" fmla="*/ 4809 h 0"/>
                <a:gd name="connsiteX7" fmla="*/ 1483 w 6246"/>
                <a:gd name="connsiteY7" fmla="*/ 4747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a:moveTo>
                    <a:pt x="1483" y="4747"/>
                  </a:moveTo>
                  <a:cubicBezTo>
                    <a:pt x="1109" y="4435"/>
                    <a:pt x="796" y="4122"/>
                    <a:pt x="422" y="3810"/>
                  </a:cubicBezTo>
                  <a:cubicBezTo>
                    <a:pt x="47" y="3623"/>
                    <a:pt x="-78" y="3373"/>
                    <a:pt x="47" y="3185"/>
                  </a:cubicBezTo>
                  <a:cubicBezTo>
                    <a:pt x="172" y="2998"/>
                    <a:pt x="297" y="2873"/>
                    <a:pt x="422" y="2873"/>
                  </a:cubicBezTo>
                  <a:cubicBezTo>
                    <a:pt x="2358" y="687"/>
                    <a:pt x="5731" y="1562"/>
                    <a:pt x="7917" y="0"/>
                  </a:cubicBezTo>
                  <a:cubicBezTo>
                    <a:pt x="8979" y="312"/>
                    <a:pt x="10041" y="625"/>
                    <a:pt x="11102" y="937"/>
                  </a:cubicBezTo>
                  <a:cubicBezTo>
                    <a:pt x="10915" y="4872"/>
                    <a:pt x="7355" y="4185"/>
                    <a:pt x="4669" y="4809"/>
                  </a:cubicBezTo>
                  <a:cubicBezTo>
                    <a:pt x="3607" y="5559"/>
                    <a:pt x="2545" y="5621"/>
                    <a:pt x="1483" y="4747"/>
                  </a:cubicBezTo>
                  <a:close/>
                </a:path>
              </a:pathLst>
            </a:custGeom>
            <a:grpFill/>
            <a:ln w="6246" cap="flat">
              <a:noFill/>
              <a:prstDash val="solid"/>
              <a:miter/>
            </a:ln>
          </p:spPr>
          <p:txBody>
            <a:bodyPr rtlCol="0" anchor="ctr"/>
            <a:lstStyle/>
            <a:p>
              <a:endParaRPr lang="fr-FR" sz="2400"/>
            </a:p>
          </p:txBody>
        </p:sp>
        <p:sp>
          <p:nvSpPr>
            <p:cNvPr id="724" name="Freeform: Shape 723">
              <a:extLst>
                <a:ext uri="{FF2B5EF4-FFF2-40B4-BE49-F238E27FC236}">
                  <a16:creationId xmlns:a16="http://schemas.microsoft.com/office/drawing/2014/main" id="{659ED4FC-D814-49D9-9CB0-A22C004E4598}"/>
                </a:ext>
              </a:extLst>
            </p:cNvPr>
            <p:cNvSpPr/>
            <p:nvPr/>
          </p:nvSpPr>
          <p:spPr>
            <a:xfrm>
              <a:off x="1289531" y="497686"/>
              <a:ext cx="12492" cy="12492"/>
            </a:xfrm>
            <a:custGeom>
              <a:avLst/>
              <a:gdLst>
                <a:gd name="connsiteX0" fmla="*/ 1249 w 12492"/>
                <a:gd name="connsiteY0" fmla="*/ 5746 h 12492"/>
                <a:gd name="connsiteX1" fmla="*/ 187 w 12492"/>
                <a:gd name="connsiteY1" fmla="*/ 0 h 12492"/>
                <a:gd name="connsiteX2" fmla="*/ 1311 w 12492"/>
                <a:gd name="connsiteY2" fmla="*/ 62 h 12492"/>
                <a:gd name="connsiteX3" fmla="*/ 3310 w 12492"/>
                <a:gd name="connsiteY3" fmla="*/ 2249 h 12492"/>
                <a:gd name="connsiteX4" fmla="*/ 6496 w 12492"/>
                <a:gd name="connsiteY4" fmla="*/ 5184 h 12492"/>
                <a:gd name="connsiteX5" fmla="*/ 12617 w 12492"/>
                <a:gd name="connsiteY5" fmla="*/ 10493 h 12492"/>
                <a:gd name="connsiteX6" fmla="*/ 12929 w 12492"/>
                <a:gd name="connsiteY6" fmla="*/ 11805 h 12492"/>
                <a:gd name="connsiteX7" fmla="*/ 10868 w 12492"/>
                <a:gd name="connsiteY7" fmla="*/ 14491 h 12492"/>
                <a:gd name="connsiteX8" fmla="*/ 7682 w 12492"/>
                <a:gd name="connsiteY8" fmla="*/ 11618 h 12492"/>
                <a:gd name="connsiteX9" fmla="*/ 2373 w 12492"/>
                <a:gd name="connsiteY9" fmla="*/ 7433 h 12492"/>
                <a:gd name="connsiteX10" fmla="*/ 1249 w 12492"/>
                <a:gd name="connsiteY10" fmla="*/ 5746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h="12492">
                  <a:moveTo>
                    <a:pt x="1249" y="5746"/>
                  </a:moveTo>
                  <a:cubicBezTo>
                    <a:pt x="2186" y="3623"/>
                    <a:pt x="-750" y="2061"/>
                    <a:pt x="187" y="0"/>
                  </a:cubicBezTo>
                  <a:cubicBezTo>
                    <a:pt x="562" y="0"/>
                    <a:pt x="937" y="0"/>
                    <a:pt x="1311" y="62"/>
                  </a:cubicBezTo>
                  <a:cubicBezTo>
                    <a:pt x="1936" y="812"/>
                    <a:pt x="2311" y="1749"/>
                    <a:pt x="3310" y="2249"/>
                  </a:cubicBezTo>
                  <a:cubicBezTo>
                    <a:pt x="4434" y="3186"/>
                    <a:pt x="5246" y="4372"/>
                    <a:pt x="6496" y="5184"/>
                  </a:cubicBezTo>
                  <a:cubicBezTo>
                    <a:pt x="8744" y="6746"/>
                    <a:pt x="11118" y="8182"/>
                    <a:pt x="12617" y="10493"/>
                  </a:cubicBezTo>
                  <a:cubicBezTo>
                    <a:pt x="12804" y="10931"/>
                    <a:pt x="12929" y="11368"/>
                    <a:pt x="12929" y="11805"/>
                  </a:cubicBezTo>
                  <a:cubicBezTo>
                    <a:pt x="12867" y="13054"/>
                    <a:pt x="12367" y="14116"/>
                    <a:pt x="10868" y="14491"/>
                  </a:cubicBezTo>
                  <a:cubicBezTo>
                    <a:pt x="9431" y="13866"/>
                    <a:pt x="8369" y="12867"/>
                    <a:pt x="7682" y="11618"/>
                  </a:cubicBezTo>
                  <a:cubicBezTo>
                    <a:pt x="6995" y="9119"/>
                    <a:pt x="4684" y="8307"/>
                    <a:pt x="2373" y="7433"/>
                  </a:cubicBezTo>
                  <a:cubicBezTo>
                    <a:pt x="1686" y="6996"/>
                    <a:pt x="1311" y="6433"/>
                    <a:pt x="1249" y="5746"/>
                  </a:cubicBezTo>
                  <a:close/>
                </a:path>
              </a:pathLst>
            </a:custGeom>
            <a:grpFill/>
            <a:ln w="6246" cap="flat">
              <a:noFill/>
              <a:prstDash val="solid"/>
              <a:miter/>
            </a:ln>
          </p:spPr>
          <p:txBody>
            <a:bodyPr rtlCol="0" anchor="ctr"/>
            <a:lstStyle/>
            <a:p>
              <a:endParaRPr lang="fr-FR" sz="2400"/>
            </a:p>
          </p:txBody>
        </p:sp>
        <p:sp>
          <p:nvSpPr>
            <p:cNvPr id="725" name="Freeform: Shape 724">
              <a:extLst>
                <a:ext uri="{FF2B5EF4-FFF2-40B4-BE49-F238E27FC236}">
                  <a16:creationId xmlns:a16="http://schemas.microsoft.com/office/drawing/2014/main" id="{C2C0530E-5AAC-4D91-A351-74818C4101F4}"/>
                </a:ext>
              </a:extLst>
            </p:cNvPr>
            <p:cNvSpPr/>
            <p:nvPr/>
          </p:nvSpPr>
          <p:spPr>
            <a:xfrm>
              <a:off x="1300398" y="509064"/>
              <a:ext cx="6246" cy="6246"/>
            </a:xfrm>
            <a:custGeom>
              <a:avLst/>
              <a:gdLst>
                <a:gd name="connsiteX0" fmla="*/ 0 w 0"/>
                <a:gd name="connsiteY0" fmla="*/ 3050 h 6246"/>
                <a:gd name="connsiteX1" fmla="*/ 1062 w 0"/>
                <a:gd name="connsiteY1" fmla="*/ 114 h 6246"/>
                <a:gd name="connsiteX2" fmla="*/ 5247 w 0"/>
                <a:gd name="connsiteY2" fmla="*/ 2550 h 6246"/>
                <a:gd name="connsiteX3" fmla="*/ 5372 w 0"/>
                <a:gd name="connsiteY3" fmla="*/ 5923 h 6246"/>
                <a:gd name="connsiteX4" fmla="*/ 2186 w 0"/>
                <a:gd name="connsiteY4" fmla="*/ 6860 h 6246"/>
                <a:gd name="connsiteX5" fmla="*/ 0 w 0"/>
                <a:gd name="connsiteY5" fmla="*/ 305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h="6246">
                  <a:moveTo>
                    <a:pt x="0" y="3050"/>
                  </a:moveTo>
                  <a:cubicBezTo>
                    <a:pt x="375" y="2051"/>
                    <a:pt x="749" y="1114"/>
                    <a:pt x="1062" y="114"/>
                  </a:cubicBezTo>
                  <a:cubicBezTo>
                    <a:pt x="3435" y="-448"/>
                    <a:pt x="4247" y="1176"/>
                    <a:pt x="5247" y="2550"/>
                  </a:cubicBezTo>
                  <a:cubicBezTo>
                    <a:pt x="5684" y="3674"/>
                    <a:pt x="6121" y="4799"/>
                    <a:pt x="5372" y="5923"/>
                  </a:cubicBezTo>
                  <a:cubicBezTo>
                    <a:pt x="4310" y="6235"/>
                    <a:pt x="3248" y="6548"/>
                    <a:pt x="2186" y="6860"/>
                  </a:cubicBezTo>
                  <a:cubicBezTo>
                    <a:pt x="2249" y="5298"/>
                    <a:pt x="625" y="4424"/>
                    <a:pt x="0" y="3050"/>
                  </a:cubicBezTo>
                  <a:close/>
                </a:path>
              </a:pathLst>
            </a:custGeom>
            <a:grpFill/>
            <a:ln w="6246" cap="flat">
              <a:noFill/>
              <a:prstDash val="solid"/>
              <a:miter/>
            </a:ln>
          </p:spPr>
          <p:txBody>
            <a:bodyPr rtlCol="0" anchor="ctr"/>
            <a:lstStyle/>
            <a:p>
              <a:endParaRPr lang="fr-FR" sz="2400"/>
            </a:p>
          </p:txBody>
        </p:sp>
        <p:sp>
          <p:nvSpPr>
            <p:cNvPr id="726" name="Freeform: Shape 725">
              <a:extLst>
                <a:ext uri="{FF2B5EF4-FFF2-40B4-BE49-F238E27FC236}">
                  <a16:creationId xmlns:a16="http://schemas.microsoft.com/office/drawing/2014/main" id="{40521B45-7B08-4D5A-8AFD-564ECA1624E4}"/>
                </a:ext>
              </a:extLst>
            </p:cNvPr>
            <p:cNvSpPr/>
            <p:nvPr/>
          </p:nvSpPr>
          <p:spPr>
            <a:xfrm>
              <a:off x="1291363" y="504431"/>
              <a:ext cx="6246" cy="6246"/>
            </a:xfrm>
            <a:custGeom>
              <a:avLst/>
              <a:gdLst>
                <a:gd name="connsiteX0" fmla="*/ 479 w 0"/>
                <a:gd name="connsiteY0" fmla="*/ 0 h 0"/>
                <a:gd name="connsiteX1" fmla="*/ 5850 w 0"/>
                <a:gd name="connsiteY1" fmla="*/ 4809 h 0"/>
                <a:gd name="connsiteX2" fmla="*/ 604 w 0"/>
                <a:gd name="connsiteY2" fmla="*/ 1811 h 0"/>
                <a:gd name="connsiteX3" fmla="*/ 479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479" y="0"/>
                  </a:moveTo>
                  <a:cubicBezTo>
                    <a:pt x="2915" y="999"/>
                    <a:pt x="6912" y="625"/>
                    <a:pt x="5850" y="4809"/>
                  </a:cubicBezTo>
                  <a:cubicBezTo>
                    <a:pt x="3976" y="4060"/>
                    <a:pt x="2915" y="1936"/>
                    <a:pt x="604" y="1811"/>
                  </a:cubicBezTo>
                  <a:cubicBezTo>
                    <a:pt x="-146" y="1249"/>
                    <a:pt x="-209" y="625"/>
                    <a:pt x="479" y="0"/>
                  </a:cubicBezTo>
                  <a:close/>
                </a:path>
              </a:pathLst>
            </a:custGeom>
            <a:grpFill/>
            <a:ln w="6246" cap="flat">
              <a:noFill/>
              <a:prstDash val="solid"/>
              <a:miter/>
            </a:ln>
          </p:spPr>
          <p:txBody>
            <a:bodyPr rtlCol="0" anchor="ctr"/>
            <a:lstStyle/>
            <a:p>
              <a:endParaRPr lang="fr-FR" sz="2400"/>
            </a:p>
          </p:txBody>
        </p:sp>
        <p:sp>
          <p:nvSpPr>
            <p:cNvPr id="727" name="Freeform: Shape 726">
              <a:extLst>
                <a:ext uri="{FF2B5EF4-FFF2-40B4-BE49-F238E27FC236}">
                  <a16:creationId xmlns:a16="http://schemas.microsoft.com/office/drawing/2014/main" id="{08AC3311-9652-4508-89FC-F4D6AD3758D4}"/>
                </a:ext>
              </a:extLst>
            </p:cNvPr>
            <p:cNvSpPr/>
            <p:nvPr/>
          </p:nvSpPr>
          <p:spPr>
            <a:xfrm>
              <a:off x="1286470" y="502411"/>
              <a:ext cx="6246" cy="6246"/>
            </a:xfrm>
            <a:custGeom>
              <a:avLst/>
              <a:gdLst>
                <a:gd name="connsiteX0" fmla="*/ 5372 w 0"/>
                <a:gd name="connsiteY0" fmla="*/ 2020 h 0"/>
                <a:gd name="connsiteX1" fmla="*/ 5434 w 0"/>
                <a:gd name="connsiteY1" fmla="*/ 3831 h 0"/>
                <a:gd name="connsiteX2" fmla="*/ 0 w 0"/>
                <a:gd name="connsiteY2" fmla="*/ 21 h 0"/>
                <a:gd name="connsiteX3" fmla="*/ 4247 w 0"/>
                <a:gd name="connsiteY3" fmla="*/ 958 h 0"/>
                <a:gd name="connsiteX4" fmla="*/ 5372 w 0"/>
                <a:gd name="connsiteY4" fmla="*/ 2020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5372" y="2020"/>
                  </a:moveTo>
                  <a:cubicBezTo>
                    <a:pt x="5372" y="2645"/>
                    <a:pt x="5434" y="3269"/>
                    <a:pt x="5434" y="3831"/>
                  </a:cubicBezTo>
                  <a:cubicBezTo>
                    <a:pt x="3373" y="2832"/>
                    <a:pt x="749" y="2582"/>
                    <a:pt x="0" y="21"/>
                  </a:cubicBezTo>
                  <a:cubicBezTo>
                    <a:pt x="1562" y="-104"/>
                    <a:pt x="2936" y="334"/>
                    <a:pt x="4247" y="958"/>
                  </a:cubicBezTo>
                  <a:cubicBezTo>
                    <a:pt x="4622" y="1333"/>
                    <a:pt x="4997" y="1708"/>
                    <a:pt x="5372" y="2020"/>
                  </a:cubicBezTo>
                  <a:close/>
                </a:path>
              </a:pathLst>
            </a:custGeom>
            <a:grpFill/>
            <a:ln w="6246" cap="flat">
              <a:noFill/>
              <a:prstDash val="solid"/>
              <a:miter/>
            </a:ln>
          </p:spPr>
          <p:txBody>
            <a:bodyPr rtlCol="0" anchor="ctr"/>
            <a:lstStyle/>
            <a:p>
              <a:endParaRPr lang="fr-FR" sz="2400"/>
            </a:p>
          </p:txBody>
        </p:sp>
        <p:sp>
          <p:nvSpPr>
            <p:cNvPr id="728" name="Freeform: Shape 727">
              <a:extLst>
                <a:ext uri="{FF2B5EF4-FFF2-40B4-BE49-F238E27FC236}">
                  <a16:creationId xmlns:a16="http://schemas.microsoft.com/office/drawing/2014/main" id="{CFBA3B3D-D0E4-4743-8EBB-2D221833E818}"/>
                </a:ext>
              </a:extLst>
            </p:cNvPr>
            <p:cNvSpPr/>
            <p:nvPr/>
          </p:nvSpPr>
          <p:spPr>
            <a:xfrm>
              <a:off x="1273665" y="497203"/>
              <a:ext cx="6246" cy="6246"/>
            </a:xfrm>
            <a:custGeom>
              <a:avLst/>
              <a:gdLst>
                <a:gd name="connsiteX0" fmla="*/ 1062 w 0"/>
                <a:gd name="connsiteY0" fmla="*/ 2356 h 0"/>
                <a:gd name="connsiteX1" fmla="*/ 0 w 0"/>
                <a:gd name="connsiteY1" fmla="*/ 420 h 0"/>
                <a:gd name="connsiteX2" fmla="*/ 2623 w 0"/>
                <a:gd name="connsiteY2" fmla="*/ 670 h 0"/>
                <a:gd name="connsiteX3" fmla="*/ 1062 w 0"/>
                <a:gd name="connsiteY3" fmla="*/ 2356 h 0"/>
              </a:gdLst>
              <a:ahLst/>
              <a:cxnLst>
                <a:cxn ang="0">
                  <a:pos x="connsiteX0" y="connsiteY0"/>
                </a:cxn>
                <a:cxn ang="0">
                  <a:pos x="connsiteX1" y="connsiteY1"/>
                </a:cxn>
                <a:cxn ang="0">
                  <a:pos x="connsiteX2" y="connsiteY2"/>
                </a:cxn>
                <a:cxn ang="0">
                  <a:pos x="connsiteX3" y="connsiteY3"/>
                </a:cxn>
              </a:cxnLst>
              <a:rect l="l" t="t" r="r" b="b"/>
              <a:pathLst>
                <a:path>
                  <a:moveTo>
                    <a:pt x="1062" y="2356"/>
                  </a:moveTo>
                  <a:cubicBezTo>
                    <a:pt x="687" y="1732"/>
                    <a:pt x="375" y="1044"/>
                    <a:pt x="0" y="420"/>
                  </a:cubicBezTo>
                  <a:cubicBezTo>
                    <a:pt x="937" y="108"/>
                    <a:pt x="2061" y="-455"/>
                    <a:pt x="2623" y="670"/>
                  </a:cubicBezTo>
                  <a:cubicBezTo>
                    <a:pt x="3310" y="1981"/>
                    <a:pt x="2124" y="2231"/>
                    <a:pt x="1062" y="2356"/>
                  </a:cubicBezTo>
                  <a:close/>
                </a:path>
              </a:pathLst>
            </a:custGeom>
            <a:grpFill/>
            <a:ln w="6246" cap="flat">
              <a:noFill/>
              <a:prstDash val="solid"/>
              <a:miter/>
            </a:ln>
          </p:spPr>
          <p:txBody>
            <a:bodyPr rtlCol="0" anchor="ctr"/>
            <a:lstStyle/>
            <a:p>
              <a:endParaRPr lang="fr-FR" sz="2400"/>
            </a:p>
          </p:txBody>
        </p:sp>
        <p:sp>
          <p:nvSpPr>
            <p:cNvPr id="729" name="Freeform: Shape 728">
              <a:extLst>
                <a:ext uri="{FF2B5EF4-FFF2-40B4-BE49-F238E27FC236}">
                  <a16:creationId xmlns:a16="http://schemas.microsoft.com/office/drawing/2014/main" id="{ACD850D8-322F-4F59-8701-A7E44BE34158}"/>
                </a:ext>
              </a:extLst>
            </p:cNvPr>
            <p:cNvSpPr/>
            <p:nvPr/>
          </p:nvSpPr>
          <p:spPr>
            <a:xfrm>
              <a:off x="1274227" y="503415"/>
              <a:ext cx="6246" cy="6246"/>
            </a:xfrm>
            <a:custGeom>
              <a:avLst/>
              <a:gdLst>
                <a:gd name="connsiteX0" fmla="*/ 3685 w 0"/>
                <a:gd name="connsiteY0" fmla="*/ 17 h 0"/>
                <a:gd name="connsiteX1" fmla="*/ 4747 w 0"/>
                <a:gd name="connsiteY1" fmla="*/ 1016 h 0"/>
                <a:gd name="connsiteX2" fmla="*/ 0 w 0"/>
                <a:gd name="connsiteY2" fmla="*/ 1016 h 0"/>
                <a:gd name="connsiteX3" fmla="*/ 3685 w 0"/>
                <a:gd name="connsiteY3" fmla="*/ 17 h 0"/>
              </a:gdLst>
              <a:ahLst/>
              <a:cxnLst>
                <a:cxn ang="0">
                  <a:pos x="connsiteX0" y="connsiteY0"/>
                </a:cxn>
                <a:cxn ang="0">
                  <a:pos x="connsiteX1" y="connsiteY1"/>
                </a:cxn>
                <a:cxn ang="0">
                  <a:pos x="connsiteX2" y="connsiteY2"/>
                </a:cxn>
                <a:cxn ang="0">
                  <a:pos x="connsiteX3" y="connsiteY3"/>
                </a:cxn>
              </a:cxnLst>
              <a:rect l="l" t="t" r="r" b="b"/>
              <a:pathLst>
                <a:path>
                  <a:moveTo>
                    <a:pt x="3685" y="17"/>
                  </a:moveTo>
                  <a:cubicBezTo>
                    <a:pt x="4060" y="329"/>
                    <a:pt x="4372" y="641"/>
                    <a:pt x="4747" y="1016"/>
                  </a:cubicBezTo>
                  <a:cubicBezTo>
                    <a:pt x="3186" y="1016"/>
                    <a:pt x="1624" y="1016"/>
                    <a:pt x="0" y="1016"/>
                  </a:cubicBezTo>
                  <a:cubicBezTo>
                    <a:pt x="874" y="-608"/>
                    <a:pt x="2498" y="267"/>
                    <a:pt x="3685" y="17"/>
                  </a:cubicBezTo>
                  <a:close/>
                </a:path>
              </a:pathLst>
            </a:custGeom>
            <a:grpFill/>
            <a:ln w="6246" cap="flat">
              <a:noFill/>
              <a:prstDash val="solid"/>
              <a:miter/>
            </a:ln>
          </p:spPr>
          <p:txBody>
            <a:bodyPr rtlCol="0" anchor="ctr"/>
            <a:lstStyle/>
            <a:p>
              <a:endParaRPr lang="fr-FR" sz="2400"/>
            </a:p>
          </p:txBody>
        </p:sp>
        <p:sp>
          <p:nvSpPr>
            <p:cNvPr id="730" name="Freeform: Shape 729">
              <a:extLst>
                <a:ext uri="{FF2B5EF4-FFF2-40B4-BE49-F238E27FC236}">
                  <a16:creationId xmlns:a16="http://schemas.microsoft.com/office/drawing/2014/main" id="{85495732-0449-4BDC-8CEA-4EAA53F2E50F}"/>
                </a:ext>
              </a:extLst>
            </p:cNvPr>
            <p:cNvSpPr/>
            <p:nvPr/>
          </p:nvSpPr>
          <p:spPr>
            <a:xfrm>
              <a:off x="1276913" y="507300"/>
              <a:ext cx="6246" cy="6246"/>
            </a:xfrm>
            <a:custGeom>
              <a:avLst/>
              <a:gdLst>
                <a:gd name="connsiteX0" fmla="*/ 3185 w 0"/>
                <a:gd name="connsiteY0" fmla="*/ 5 h 0"/>
                <a:gd name="connsiteX1" fmla="*/ 0 w 0"/>
                <a:gd name="connsiteY1" fmla="*/ 941 h 0"/>
                <a:gd name="connsiteX2" fmla="*/ 3185 w 0"/>
                <a:gd name="connsiteY2" fmla="*/ 5 h 0"/>
              </a:gdLst>
              <a:ahLst/>
              <a:cxnLst>
                <a:cxn ang="0">
                  <a:pos x="connsiteX0" y="connsiteY0"/>
                </a:cxn>
                <a:cxn ang="0">
                  <a:pos x="connsiteX1" y="connsiteY1"/>
                </a:cxn>
                <a:cxn ang="0">
                  <a:pos x="connsiteX2" y="connsiteY2"/>
                </a:cxn>
              </a:cxnLst>
              <a:rect l="l" t="t" r="r" b="b"/>
              <a:pathLst>
                <a:path>
                  <a:moveTo>
                    <a:pt x="3185" y="5"/>
                  </a:moveTo>
                  <a:cubicBezTo>
                    <a:pt x="2373" y="1066"/>
                    <a:pt x="1749" y="2628"/>
                    <a:pt x="0" y="941"/>
                  </a:cubicBezTo>
                  <a:cubicBezTo>
                    <a:pt x="749" y="-120"/>
                    <a:pt x="1999" y="5"/>
                    <a:pt x="3185" y="5"/>
                  </a:cubicBezTo>
                  <a:close/>
                </a:path>
              </a:pathLst>
            </a:custGeom>
            <a:grpFill/>
            <a:ln w="6246" cap="flat">
              <a:noFill/>
              <a:prstDash val="solid"/>
              <a:miter/>
            </a:ln>
          </p:spPr>
          <p:txBody>
            <a:bodyPr rtlCol="0" anchor="ctr"/>
            <a:lstStyle/>
            <a:p>
              <a:endParaRPr lang="fr-FR" sz="2400"/>
            </a:p>
          </p:txBody>
        </p:sp>
        <p:sp>
          <p:nvSpPr>
            <p:cNvPr id="731" name="Freeform: Shape 730">
              <a:extLst>
                <a:ext uri="{FF2B5EF4-FFF2-40B4-BE49-F238E27FC236}">
                  <a16:creationId xmlns:a16="http://schemas.microsoft.com/office/drawing/2014/main" id="{DD12A120-5486-4BDA-B43E-0665C4E434A5}"/>
                </a:ext>
              </a:extLst>
            </p:cNvPr>
            <p:cNvSpPr/>
            <p:nvPr/>
          </p:nvSpPr>
          <p:spPr>
            <a:xfrm>
              <a:off x="1246787" y="457204"/>
              <a:ext cx="12492" cy="6246"/>
            </a:xfrm>
            <a:custGeom>
              <a:avLst/>
              <a:gdLst>
                <a:gd name="connsiteX0" fmla="*/ 14074 w 12492"/>
                <a:gd name="connsiteY0" fmla="*/ 1818 h 0"/>
                <a:gd name="connsiteX1" fmla="*/ 12950 w 12492"/>
                <a:gd name="connsiteY1" fmla="*/ 2880 h 0"/>
                <a:gd name="connsiteX2" fmla="*/ 2269 w 12492"/>
                <a:gd name="connsiteY2" fmla="*/ 5628 h 0"/>
                <a:gd name="connsiteX3" fmla="*/ 83 w 12492"/>
                <a:gd name="connsiteY3" fmla="*/ 3692 h 0"/>
                <a:gd name="connsiteX4" fmla="*/ 7578 w 12492"/>
                <a:gd name="connsiteY4" fmla="*/ 819 h 0"/>
                <a:gd name="connsiteX5" fmla="*/ 12513 w 12492"/>
                <a:gd name="connsiteY5" fmla="*/ 132 h 0"/>
                <a:gd name="connsiteX6" fmla="*/ 14074 w 12492"/>
                <a:gd name="connsiteY6" fmla="*/ 181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4074" y="1818"/>
                  </a:moveTo>
                  <a:cubicBezTo>
                    <a:pt x="13699" y="2193"/>
                    <a:pt x="13325" y="2505"/>
                    <a:pt x="12950" y="2880"/>
                  </a:cubicBezTo>
                  <a:cubicBezTo>
                    <a:pt x="9390" y="3817"/>
                    <a:pt x="5829" y="4691"/>
                    <a:pt x="2269" y="5628"/>
                  </a:cubicBezTo>
                  <a:cubicBezTo>
                    <a:pt x="1020" y="5441"/>
                    <a:pt x="-354" y="5441"/>
                    <a:pt x="83" y="3692"/>
                  </a:cubicBezTo>
                  <a:cubicBezTo>
                    <a:pt x="2769" y="3130"/>
                    <a:pt x="4643" y="756"/>
                    <a:pt x="7578" y="819"/>
                  </a:cubicBezTo>
                  <a:cubicBezTo>
                    <a:pt x="9140" y="69"/>
                    <a:pt x="10764" y="-181"/>
                    <a:pt x="12513" y="132"/>
                  </a:cubicBezTo>
                  <a:cubicBezTo>
                    <a:pt x="13387" y="381"/>
                    <a:pt x="13887" y="943"/>
                    <a:pt x="14074" y="1818"/>
                  </a:cubicBezTo>
                  <a:close/>
                </a:path>
              </a:pathLst>
            </a:custGeom>
            <a:grpFill/>
            <a:ln w="6246" cap="flat">
              <a:noFill/>
              <a:prstDash val="solid"/>
              <a:miter/>
            </a:ln>
          </p:spPr>
          <p:txBody>
            <a:bodyPr rtlCol="0" anchor="ctr"/>
            <a:lstStyle/>
            <a:p>
              <a:endParaRPr lang="fr-FR" sz="2400"/>
            </a:p>
          </p:txBody>
        </p:sp>
        <p:sp>
          <p:nvSpPr>
            <p:cNvPr id="732" name="Freeform: Shape 731">
              <a:extLst>
                <a:ext uri="{FF2B5EF4-FFF2-40B4-BE49-F238E27FC236}">
                  <a16:creationId xmlns:a16="http://schemas.microsoft.com/office/drawing/2014/main" id="{3A363223-B04B-4DC0-83A0-B0B0D5238812}"/>
                </a:ext>
              </a:extLst>
            </p:cNvPr>
            <p:cNvSpPr/>
            <p:nvPr/>
          </p:nvSpPr>
          <p:spPr>
            <a:xfrm>
              <a:off x="1239437" y="460896"/>
              <a:ext cx="6246" cy="6246"/>
            </a:xfrm>
            <a:custGeom>
              <a:avLst/>
              <a:gdLst>
                <a:gd name="connsiteX0" fmla="*/ 7433 w 6246"/>
                <a:gd name="connsiteY0" fmla="*/ 0 h 0"/>
                <a:gd name="connsiteX1" fmla="*/ 9619 w 6246"/>
                <a:gd name="connsiteY1" fmla="*/ 1936 h 0"/>
                <a:gd name="connsiteX2" fmla="*/ 0 w 6246"/>
                <a:gd name="connsiteY2" fmla="*/ 4872 h 0"/>
                <a:gd name="connsiteX3" fmla="*/ 743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7433" y="0"/>
                  </a:moveTo>
                  <a:cubicBezTo>
                    <a:pt x="8182" y="625"/>
                    <a:pt x="8869" y="1249"/>
                    <a:pt x="9619" y="1936"/>
                  </a:cubicBezTo>
                  <a:cubicBezTo>
                    <a:pt x="6746" y="3873"/>
                    <a:pt x="3935" y="5871"/>
                    <a:pt x="0" y="4872"/>
                  </a:cubicBezTo>
                  <a:cubicBezTo>
                    <a:pt x="1874" y="2498"/>
                    <a:pt x="4747" y="1374"/>
                    <a:pt x="7433" y="0"/>
                  </a:cubicBezTo>
                  <a:close/>
                </a:path>
              </a:pathLst>
            </a:custGeom>
            <a:grpFill/>
            <a:ln w="6246" cap="flat">
              <a:noFill/>
              <a:prstDash val="solid"/>
              <a:miter/>
            </a:ln>
          </p:spPr>
          <p:txBody>
            <a:bodyPr rtlCol="0" anchor="ctr"/>
            <a:lstStyle/>
            <a:p>
              <a:endParaRPr lang="fr-FR" sz="2400"/>
            </a:p>
          </p:txBody>
        </p:sp>
        <p:sp>
          <p:nvSpPr>
            <p:cNvPr id="733" name="Freeform: Shape 732">
              <a:extLst>
                <a:ext uri="{FF2B5EF4-FFF2-40B4-BE49-F238E27FC236}">
                  <a16:creationId xmlns:a16="http://schemas.microsoft.com/office/drawing/2014/main" id="{564CAAA0-6FCF-48D9-A733-103C0A19B049}"/>
                </a:ext>
              </a:extLst>
            </p:cNvPr>
            <p:cNvSpPr/>
            <p:nvPr/>
          </p:nvSpPr>
          <p:spPr>
            <a:xfrm>
              <a:off x="1255489" y="462020"/>
              <a:ext cx="6246" cy="6246"/>
            </a:xfrm>
            <a:custGeom>
              <a:avLst/>
              <a:gdLst>
                <a:gd name="connsiteX0" fmla="*/ 2124 w 6246"/>
                <a:gd name="connsiteY0" fmla="*/ 4685 h 0"/>
                <a:gd name="connsiteX1" fmla="*/ 1062 w 6246"/>
                <a:gd name="connsiteY1" fmla="*/ 4685 h 0"/>
                <a:gd name="connsiteX2" fmla="*/ 0 w 6246"/>
                <a:gd name="connsiteY2" fmla="*/ 2748 h 0"/>
                <a:gd name="connsiteX3" fmla="*/ 4310 w 6246"/>
                <a:gd name="connsiteY3" fmla="*/ 812 h 0"/>
                <a:gd name="connsiteX4" fmla="*/ 9931 w 6246"/>
                <a:gd name="connsiteY4" fmla="*/ 0 h 0"/>
                <a:gd name="connsiteX5" fmla="*/ 6433 w 6246"/>
                <a:gd name="connsiteY5" fmla="*/ 2748 h 0"/>
                <a:gd name="connsiteX6" fmla="*/ 2124 w 6246"/>
                <a:gd name="connsiteY6" fmla="*/ 4685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2124" y="4685"/>
                  </a:moveTo>
                  <a:cubicBezTo>
                    <a:pt x="1749" y="4685"/>
                    <a:pt x="1437" y="4685"/>
                    <a:pt x="1062" y="4685"/>
                  </a:cubicBezTo>
                  <a:cubicBezTo>
                    <a:pt x="1624" y="3623"/>
                    <a:pt x="1811" y="2748"/>
                    <a:pt x="0" y="2748"/>
                  </a:cubicBezTo>
                  <a:cubicBezTo>
                    <a:pt x="1437" y="2124"/>
                    <a:pt x="2873" y="1437"/>
                    <a:pt x="4310" y="812"/>
                  </a:cubicBezTo>
                  <a:cubicBezTo>
                    <a:pt x="6121" y="562"/>
                    <a:pt x="7995" y="312"/>
                    <a:pt x="9931" y="0"/>
                  </a:cubicBezTo>
                  <a:cubicBezTo>
                    <a:pt x="9494" y="1999"/>
                    <a:pt x="7620" y="1936"/>
                    <a:pt x="6433" y="2748"/>
                  </a:cubicBezTo>
                  <a:cubicBezTo>
                    <a:pt x="4872" y="3186"/>
                    <a:pt x="4185" y="5247"/>
                    <a:pt x="2124" y="4685"/>
                  </a:cubicBezTo>
                  <a:close/>
                </a:path>
              </a:pathLst>
            </a:custGeom>
            <a:grpFill/>
            <a:ln w="6246" cap="flat">
              <a:noFill/>
              <a:prstDash val="solid"/>
              <a:miter/>
            </a:ln>
          </p:spPr>
          <p:txBody>
            <a:bodyPr rtlCol="0" anchor="ctr"/>
            <a:lstStyle/>
            <a:p>
              <a:endParaRPr lang="fr-FR" sz="2400"/>
            </a:p>
          </p:txBody>
        </p:sp>
        <p:sp>
          <p:nvSpPr>
            <p:cNvPr id="734" name="Freeform: Shape 733">
              <a:extLst>
                <a:ext uri="{FF2B5EF4-FFF2-40B4-BE49-F238E27FC236}">
                  <a16:creationId xmlns:a16="http://schemas.microsoft.com/office/drawing/2014/main" id="{49B80976-82CD-4834-95A8-CD18CA8883E3}"/>
                </a:ext>
              </a:extLst>
            </p:cNvPr>
            <p:cNvSpPr/>
            <p:nvPr/>
          </p:nvSpPr>
          <p:spPr>
            <a:xfrm>
              <a:off x="1240999" y="506295"/>
              <a:ext cx="12492" cy="6246"/>
            </a:xfrm>
            <a:custGeom>
              <a:avLst/>
              <a:gdLst>
                <a:gd name="connsiteX0" fmla="*/ 4809 w 12492"/>
                <a:gd name="connsiteY0" fmla="*/ 7755 h 6246"/>
                <a:gd name="connsiteX1" fmla="*/ 62 w 12492"/>
                <a:gd name="connsiteY1" fmla="*/ 10129 h 6246"/>
                <a:gd name="connsiteX2" fmla="*/ 2685 w 12492"/>
                <a:gd name="connsiteY2" fmla="*/ 5819 h 6246"/>
                <a:gd name="connsiteX3" fmla="*/ 14428 w 12492"/>
                <a:gd name="connsiteY3" fmla="*/ 10 h 6246"/>
                <a:gd name="connsiteX4" fmla="*/ 15989 w 12492"/>
                <a:gd name="connsiteY4" fmla="*/ 135 h 6246"/>
                <a:gd name="connsiteX5" fmla="*/ 15864 w 12492"/>
                <a:gd name="connsiteY5" fmla="*/ 1259 h 6246"/>
                <a:gd name="connsiteX6" fmla="*/ 4809 w 12492"/>
                <a:gd name="connsiteY6" fmla="*/ 7755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6246">
                  <a:moveTo>
                    <a:pt x="4809" y="7755"/>
                  </a:moveTo>
                  <a:cubicBezTo>
                    <a:pt x="2997" y="8130"/>
                    <a:pt x="2435" y="10566"/>
                    <a:pt x="62" y="10129"/>
                  </a:cubicBezTo>
                  <a:cubicBezTo>
                    <a:pt x="-438" y="7943"/>
                    <a:pt x="2248" y="7443"/>
                    <a:pt x="2685" y="5819"/>
                  </a:cubicBezTo>
                  <a:cubicBezTo>
                    <a:pt x="6495" y="3758"/>
                    <a:pt x="9868" y="822"/>
                    <a:pt x="14428" y="10"/>
                  </a:cubicBezTo>
                  <a:cubicBezTo>
                    <a:pt x="14927" y="10"/>
                    <a:pt x="15490" y="-52"/>
                    <a:pt x="15989" y="135"/>
                  </a:cubicBezTo>
                  <a:cubicBezTo>
                    <a:pt x="17238" y="572"/>
                    <a:pt x="16489" y="1197"/>
                    <a:pt x="15864" y="1259"/>
                  </a:cubicBezTo>
                  <a:cubicBezTo>
                    <a:pt x="10992" y="1821"/>
                    <a:pt x="8307" y="5319"/>
                    <a:pt x="4809" y="7755"/>
                  </a:cubicBezTo>
                  <a:close/>
                </a:path>
              </a:pathLst>
            </a:custGeom>
            <a:grpFill/>
            <a:ln w="6246" cap="flat">
              <a:noFill/>
              <a:prstDash val="solid"/>
              <a:miter/>
            </a:ln>
          </p:spPr>
          <p:txBody>
            <a:bodyPr rtlCol="0" anchor="ctr"/>
            <a:lstStyle/>
            <a:p>
              <a:endParaRPr lang="fr-FR" sz="2400"/>
            </a:p>
          </p:txBody>
        </p:sp>
        <p:sp>
          <p:nvSpPr>
            <p:cNvPr id="735" name="Freeform: Shape 734">
              <a:extLst>
                <a:ext uri="{FF2B5EF4-FFF2-40B4-BE49-F238E27FC236}">
                  <a16:creationId xmlns:a16="http://schemas.microsoft.com/office/drawing/2014/main" id="{2B4C403F-311F-4A9F-B4A2-DF3BA0F3F557}"/>
                </a:ext>
              </a:extLst>
            </p:cNvPr>
            <p:cNvSpPr/>
            <p:nvPr/>
          </p:nvSpPr>
          <p:spPr>
            <a:xfrm>
              <a:off x="1252304" y="510178"/>
              <a:ext cx="6246" cy="6246"/>
            </a:xfrm>
            <a:custGeom>
              <a:avLst/>
              <a:gdLst>
                <a:gd name="connsiteX0" fmla="*/ 11743 w 6246"/>
                <a:gd name="connsiteY0" fmla="*/ 0 h 0"/>
                <a:gd name="connsiteX1" fmla="*/ 11743 w 6246"/>
                <a:gd name="connsiteY1" fmla="*/ 937 h 0"/>
                <a:gd name="connsiteX2" fmla="*/ 0 w 6246"/>
                <a:gd name="connsiteY2" fmla="*/ 5746 h 0"/>
                <a:gd name="connsiteX3" fmla="*/ 11743 w 6246"/>
                <a:gd name="connsiteY3" fmla="*/ 0 h 0"/>
              </a:gdLst>
              <a:ahLst/>
              <a:cxnLst>
                <a:cxn ang="0">
                  <a:pos x="connsiteX0" y="connsiteY0"/>
                </a:cxn>
                <a:cxn ang="0">
                  <a:pos x="connsiteX1" y="connsiteY1"/>
                </a:cxn>
                <a:cxn ang="0">
                  <a:pos x="connsiteX2" y="connsiteY2"/>
                </a:cxn>
                <a:cxn ang="0">
                  <a:pos x="connsiteX3" y="connsiteY3"/>
                </a:cxn>
              </a:cxnLst>
              <a:rect l="l" t="t" r="r" b="b"/>
              <a:pathLst>
                <a:path w="6246">
                  <a:moveTo>
                    <a:pt x="11743" y="0"/>
                  </a:moveTo>
                  <a:cubicBezTo>
                    <a:pt x="11743" y="312"/>
                    <a:pt x="11743" y="625"/>
                    <a:pt x="11743" y="937"/>
                  </a:cubicBezTo>
                  <a:cubicBezTo>
                    <a:pt x="7808" y="2561"/>
                    <a:pt x="3873" y="4185"/>
                    <a:pt x="0" y="5746"/>
                  </a:cubicBezTo>
                  <a:cubicBezTo>
                    <a:pt x="2249" y="1187"/>
                    <a:pt x="6933" y="500"/>
                    <a:pt x="11743" y="0"/>
                  </a:cubicBezTo>
                  <a:close/>
                </a:path>
              </a:pathLst>
            </a:custGeom>
            <a:grpFill/>
            <a:ln w="6246" cap="flat">
              <a:noFill/>
              <a:prstDash val="solid"/>
              <a:miter/>
            </a:ln>
          </p:spPr>
          <p:txBody>
            <a:bodyPr rtlCol="0" anchor="ctr"/>
            <a:lstStyle/>
            <a:p>
              <a:endParaRPr lang="fr-FR" sz="2400"/>
            </a:p>
          </p:txBody>
        </p:sp>
        <p:sp>
          <p:nvSpPr>
            <p:cNvPr id="736" name="Freeform: Shape 735">
              <a:extLst>
                <a:ext uri="{FF2B5EF4-FFF2-40B4-BE49-F238E27FC236}">
                  <a16:creationId xmlns:a16="http://schemas.microsoft.com/office/drawing/2014/main" id="{84316607-E208-4E40-BF2D-8A11DDF7A0DF}"/>
                </a:ext>
              </a:extLst>
            </p:cNvPr>
            <p:cNvSpPr/>
            <p:nvPr/>
          </p:nvSpPr>
          <p:spPr>
            <a:xfrm>
              <a:off x="1290776" y="497686"/>
              <a:ext cx="6246" cy="6246"/>
            </a:xfrm>
            <a:custGeom>
              <a:avLst/>
              <a:gdLst>
                <a:gd name="connsiteX0" fmla="*/ 1066 w 6246"/>
                <a:gd name="connsiteY0" fmla="*/ 2873 h 0"/>
                <a:gd name="connsiteX1" fmla="*/ 4 w 6246"/>
                <a:gd name="connsiteY1" fmla="*/ 0 h 0"/>
                <a:gd name="connsiteX2" fmla="*/ 4064 w 6246"/>
                <a:gd name="connsiteY2" fmla="*/ 125 h 0"/>
                <a:gd name="connsiteX3" fmla="*/ 8436 w 6246"/>
                <a:gd name="connsiteY3" fmla="*/ 2936 h 0"/>
                <a:gd name="connsiteX4" fmla="*/ 6999 w 6246"/>
                <a:gd name="connsiteY4" fmla="*/ 4247 h 0"/>
                <a:gd name="connsiteX5" fmla="*/ 3564 w 6246"/>
                <a:gd name="connsiteY5" fmla="*/ 3248 h 0"/>
                <a:gd name="connsiteX6" fmla="*/ 1066 w 6246"/>
                <a:gd name="connsiteY6" fmla="*/ 2873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a:moveTo>
                    <a:pt x="1066" y="2873"/>
                  </a:moveTo>
                  <a:cubicBezTo>
                    <a:pt x="-121" y="2186"/>
                    <a:pt x="4" y="1062"/>
                    <a:pt x="4" y="0"/>
                  </a:cubicBezTo>
                  <a:cubicBezTo>
                    <a:pt x="1378" y="375"/>
                    <a:pt x="2690" y="1686"/>
                    <a:pt x="4064" y="125"/>
                  </a:cubicBezTo>
                  <a:cubicBezTo>
                    <a:pt x="5500" y="1062"/>
                    <a:pt x="6999" y="1999"/>
                    <a:pt x="8436" y="2936"/>
                  </a:cubicBezTo>
                  <a:cubicBezTo>
                    <a:pt x="8249" y="3623"/>
                    <a:pt x="7811" y="4122"/>
                    <a:pt x="6999" y="4247"/>
                  </a:cubicBezTo>
                  <a:cubicBezTo>
                    <a:pt x="5750" y="4247"/>
                    <a:pt x="4688" y="3623"/>
                    <a:pt x="3564" y="3248"/>
                  </a:cubicBezTo>
                  <a:cubicBezTo>
                    <a:pt x="2814" y="2936"/>
                    <a:pt x="2065" y="2249"/>
                    <a:pt x="1066" y="2873"/>
                  </a:cubicBezTo>
                  <a:close/>
                </a:path>
              </a:pathLst>
            </a:custGeom>
            <a:grpFill/>
            <a:ln w="6246" cap="flat">
              <a:noFill/>
              <a:prstDash val="solid"/>
              <a:miter/>
            </a:ln>
          </p:spPr>
          <p:txBody>
            <a:bodyPr rtlCol="0" anchor="ctr"/>
            <a:lstStyle/>
            <a:p>
              <a:endParaRPr lang="fr-FR" sz="2400"/>
            </a:p>
          </p:txBody>
        </p:sp>
        <p:sp>
          <p:nvSpPr>
            <p:cNvPr id="737" name="Freeform: Shape 736">
              <a:extLst>
                <a:ext uri="{FF2B5EF4-FFF2-40B4-BE49-F238E27FC236}">
                  <a16:creationId xmlns:a16="http://schemas.microsoft.com/office/drawing/2014/main" id="{942C8DAD-75DB-4C42-8FE7-3B12628DB93F}"/>
                </a:ext>
              </a:extLst>
            </p:cNvPr>
            <p:cNvSpPr/>
            <p:nvPr/>
          </p:nvSpPr>
          <p:spPr>
            <a:xfrm>
              <a:off x="1254427" y="455884"/>
              <a:ext cx="6246" cy="6246"/>
            </a:xfrm>
            <a:custGeom>
              <a:avLst/>
              <a:gdLst>
                <a:gd name="connsiteX0" fmla="*/ 5309 w 0"/>
                <a:gd name="connsiteY0" fmla="*/ 2076 h 0"/>
                <a:gd name="connsiteX1" fmla="*/ 0 w 0"/>
                <a:gd name="connsiteY1" fmla="*/ 2139 h 0"/>
                <a:gd name="connsiteX2" fmla="*/ 1062 w 0"/>
                <a:gd name="connsiteY2" fmla="*/ 1077 h 0"/>
                <a:gd name="connsiteX3" fmla="*/ 4247 w 0"/>
                <a:gd name="connsiteY3" fmla="*/ 203 h 0"/>
                <a:gd name="connsiteX4" fmla="*/ 5809 w 0"/>
                <a:gd name="connsiteY4" fmla="*/ 890 h 0"/>
                <a:gd name="connsiteX5" fmla="*/ 5309 w 0"/>
                <a:gd name="connsiteY5" fmla="*/ 20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5309" y="2076"/>
                  </a:moveTo>
                  <a:cubicBezTo>
                    <a:pt x="3560" y="2076"/>
                    <a:pt x="1749" y="2076"/>
                    <a:pt x="0" y="2139"/>
                  </a:cubicBezTo>
                  <a:cubicBezTo>
                    <a:pt x="375" y="1764"/>
                    <a:pt x="687" y="1452"/>
                    <a:pt x="1062" y="1077"/>
                  </a:cubicBezTo>
                  <a:cubicBezTo>
                    <a:pt x="2124" y="765"/>
                    <a:pt x="3186" y="515"/>
                    <a:pt x="4247" y="203"/>
                  </a:cubicBezTo>
                  <a:cubicBezTo>
                    <a:pt x="5184" y="-297"/>
                    <a:pt x="5497" y="203"/>
                    <a:pt x="5809" y="890"/>
                  </a:cubicBezTo>
                  <a:cubicBezTo>
                    <a:pt x="5809" y="1327"/>
                    <a:pt x="5622" y="1764"/>
                    <a:pt x="5309" y="2076"/>
                  </a:cubicBezTo>
                  <a:close/>
                </a:path>
              </a:pathLst>
            </a:custGeom>
            <a:grpFill/>
            <a:ln w="6246" cap="flat">
              <a:noFill/>
              <a:prstDash val="solid"/>
              <a:miter/>
            </a:ln>
          </p:spPr>
          <p:txBody>
            <a:bodyPr rtlCol="0" anchor="ctr"/>
            <a:lstStyle/>
            <a:p>
              <a:endParaRPr lang="fr-FR" sz="2400"/>
            </a:p>
          </p:txBody>
        </p:sp>
        <p:sp>
          <p:nvSpPr>
            <p:cNvPr id="738" name="Freeform: Shape 737">
              <a:extLst>
                <a:ext uri="{FF2B5EF4-FFF2-40B4-BE49-F238E27FC236}">
                  <a16:creationId xmlns:a16="http://schemas.microsoft.com/office/drawing/2014/main" id="{C1DCA9D5-0423-4064-BAD3-7DB7DC442593}"/>
                </a:ext>
              </a:extLst>
            </p:cNvPr>
            <p:cNvSpPr/>
            <p:nvPr/>
          </p:nvSpPr>
          <p:spPr>
            <a:xfrm>
              <a:off x="1238250" y="570952"/>
              <a:ext cx="6246" cy="6246"/>
            </a:xfrm>
            <a:custGeom>
              <a:avLst/>
              <a:gdLst>
                <a:gd name="connsiteX0" fmla="*/ 0 w 0"/>
                <a:gd name="connsiteY0" fmla="*/ 1249 h 0"/>
                <a:gd name="connsiteX1" fmla="*/ 1374 w 0"/>
                <a:gd name="connsiteY1" fmla="*/ 0 h 0"/>
                <a:gd name="connsiteX2" fmla="*/ 4247 w 0"/>
                <a:gd name="connsiteY2" fmla="*/ 3061 h 0"/>
                <a:gd name="connsiteX3" fmla="*/ 0 w 0"/>
                <a:gd name="connsiteY3" fmla="*/ 1249 h 0"/>
              </a:gdLst>
              <a:ahLst/>
              <a:cxnLst>
                <a:cxn ang="0">
                  <a:pos x="connsiteX0" y="connsiteY0"/>
                </a:cxn>
                <a:cxn ang="0">
                  <a:pos x="connsiteX1" y="connsiteY1"/>
                </a:cxn>
                <a:cxn ang="0">
                  <a:pos x="connsiteX2" y="connsiteY2"/>
                </a:cxn>
                <a:cxn ang="0">
                  <a:pos x="connsiteX3" y="connsiteY3"/>
                </a:cxn>
              </a:cxnLst>
              <a:rect l="l" t="t" r="r" b="b"/>
              <a:pathLst>
                <a:path>
                  <a:moveTo>
                    <a:pt x="0" y="1249"/>
                  </a:moveTo>
                  <a:cubicBezTo>
                    <a:pt x="437" y="812"/>
                    <a:pt x="937" y="437"/>
                    <a:pt x="1374" y="0"/>
                  </a:cubicBezTo>
                  <a:cubicBezTo>
                    <a:pt x="2623" y="812"/>
                    <a:pt x="4372" y="1187"/>
                    <a:pt x="4247" y="3061"/>
                  </a:cubicBezTo>
                  <a:cubicBezTo>
                    <a:pt x="2436" y="3248"/>
                    <a:pt x="999" y="2623"/>
                    <a:pt x="0" y="1249"/>
                  </a:cubicBezTo>
                  <a:close/>
                </a:path>
              </a:pathLst>
            </a:custGeom>
            <a:grpFill/>
            <a:ln w="6246" cap="flat">
              <a:noFill/>
              <a:prstDash val="solid"/>
              <a:miter/>
            </a:ln>
          </p:spPr>
          <p:txBody>
            <a:bodyPr rtlCol="0" anchor="ctr"/>
            <a:lstStyle/>
            <a:p>
              <a:endParaRPr lang="fr-FR" sz="2400"/>
            </a:p>
          </p:txBody>
        </p:sp>
        <p:sp>
          <p:nvSpPr>
            <p:cNvPr id="739" name="Freeform: Shape 738">
              <a:extLst>
                <a:ext uri="{FF2B5EF4-FFF2-40B4-BE49-F238E27FC236}">
                  <a16:creationId xmlns:a16="http://schemas.microsoft.com/office/drawing/2014/main" id="{3BD0DEF3-413F-4ED1-A548-B0C9E7C0999D}"/>
                </a:ext>
              </a:extLst>
            </p:cNvPr>
            <p:cNvSpPr/>
            <p:nvPr/>
          </p:nvSpPr>
          <p:spPr>
            <a:xfrm>
              <a:off x="1270417" y="581008"/>
              <a:ext cx="24984" cy="6246"/>
            </a:xfrm>
            <a:custGeom>
              <a:avLst/>
              <a:gdLst>
                <a:gd name="connsiteX0" fmla="*/ 0 w 24984"/>
                <a:gd name="connsiteY0" fmla="*/ 1686 h 0"/>
                <a:gd name="connsiteX1" fmla="*/ 8682 w 24984"/>
                <a:gd name="connsiteY1" fmla="*/ 750 h 0"/>
                <a:gd name="connsiteX2" fmla="*/ 27982 w 24984"/>
                <a:gd name="connsiteY2" fmla="*/ 0 h 0"/>
                <a:gd name="connsiteX3" fmla="*/ 14991 w 24984"/>
                <a:gd name="connsiteY3" fmla="*/ 3560 h 0"/>
                <a:gd name="connsiteX4" fmla="*/ 0 w 24984"/>
                <a:gd name="connsiteY4" fmla="*/ 16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4">
                  <a:moveTo>
                    <a:pt x="0" y="1686"/>
                  </a:moveTo>
                  <a:cubicBezTo>
                    <a:pt x="2686" y="-187"/>
                    <a:pt x="5746" y="874"/>
                    <a:pt x="8682" y="750"/>
                  </a:cubicBezTo>
                  <a:cubicBezTo>
                    <a:pt x="15115" y="437"/>
                    <a:pt x="21549" y="1312"/>
                    <a:pt x="27982" y="0"/>
                  </a:cubicBezTo>
                  <a:cubicBezTo>
                    <a:pt x="24297" y="3560"/>
                    <a:pt x="18988" y="1499"/>
                    <a:pt x="14991" y="3560"/>
                  </a:cubicBezTo>
                  <a:cubicBezTo>
                    <a:pt x="9994" y="3061"/>
                    <a:pt x="4872" y="3186"/>
                    <a:pt x="0" y="1686"/>
                  </a:cubicBezTo>
                  <a:close/>
                </a:path>
              </a:pathLst>
            </a:custGeom>
            <a:grpFill/>
            <a:ln w="6246" cap="flat">
              <a:noFill/>
              <a:prstDash val="solid"/>
              <a:miter/>
            </a:ln>
          </p:spPr>
          <p:txBody>
            <a:bodyPr rtlCol="0" anchor="ctr"/>
            <a:lstStyle/>
            <a:p>
              <a:endParaRPr lang="fr-FR" sz="2400"/>
            </a:p>
          </p:txBody>
        </p:sp>
        <p:sp>
          <p:nvSpPr>
            <p:cNvPr id="740" name="Freeform: Shape 739">
              <a:extLst>
                <a:ext uri="{FF2B5EF4-FFF2-40B4-BE49-F238E27FC236}">
                  <a16:creationId xmlns:a16="http://schemas.microsoft.com/office/drawing/2014/main" id="{14AD5643-7C43-48DE-BCE4-EAA895BFDAB9}"/>
                </a:ext>
              </a:extLst>
            </p:cNvPr>
            <p:cNvSpPr/>
            <p:nvPr/>
          </p:nvSpPr>
          <p:spPr>
            <a:xfrm>
              <a:off x="1271707" y="452464"/>
              <a:ext cx="12492" cy="6246"/>
            </a:xfrm>
            <a:custGeom>
              <a:avLst/>
              <a:gdLst>
                <a:gd name="connsiteX0" fmla="*/ 8329 w 12492"/>
                <a:gd name="connsiteY0" fmla="*/ 3560 h 0"/>
                <a:gd name="connsiteX1" fmla="*/ 1958 w 12492"/>
                <a:gd name="connsiteY1" fmla="*/ 4685 h 0"/>
                <a:gd name="connsiteX2" fmla="*/ 459 w 12492"/>
                <a:gd name="connsiteY2" fmla="*/ 4560 h 0"/>
                <a:gd name="connsiteX3" fmla="*/ 84 w 12492"/>
                <a:gd name="connsiteY3" fmla="*/ 2373 h 0"/>
                <a:gd name="connsiteX4" fmla="*/ 1021 w 12492"/>
                <a:gd name="connsiteY4" fmla="*/ 1187 h 0"/>
                <a:gd name="connsiteX5" fmla="*/ 5019 w 12492"/>
                <a:gd name="connsiteY5" fmla="*/ 437 h 0"/>
                <a:gd name="connsiteX6" fmla="*/ 11452 w 12492"/>
                <a:gd name="connsiteY6" fmla="*/ 0 h 0"/>
                <a:gd name="connsiteX7" fmla="*/ 14825 w 12492"/>
                <a:gd name="connsiteY7" fmla="*/ 1874 h 0"/>
                <a:gd name="connsiteX8" fmla="*/ 14700 w 12492"/>
                <a:gd name="connsiteY8" fmla="*/ 2686 h 0"/>
                <a:gd name="connsiteX9" fmla="*/ 13701 w 12492"/>
                <a:gd name="connsiteY9" fmla="*/ 2748 h 0"/>
                <a:gd name="connsiteX10" fmla="*/ 8329 w 12492"/>
                <a:gd name="connsiteY10" fmla="*/ 356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92">
                  <a:moveTo>
                    <a:pt x="8329" y="3560"/>
                  </a:moveTo>
                  <a:cubicBezTo>
                    <a:pt x="6206" y="3935"/>
                    <a:pt x="4082" y="4310"/>
                    <a:pt x="1958" y="4685"/>
                  </a:cubicBezTo>
                  <a:cubicBezTo>
                    <a:pt x="1396" y="4997"/>
                    <a:pt x="959" y="4934"/>
                    <a:pt x="459" y="4560"/>
                  </a:cubicBezTo>
                  <a:cubicBezTo>
                    <a:pt x="22" y="3873"/>
                    <a:pt x="-103" y="3123"/>
                    <a:pt x="84" y="2373"/>
                  </a:cubicBezTo>
                  <a:cubicBezTo>
                    <a:pt x="272" y="1874"/>
                    <a:pt x="584" y="1499"/>
                    <a:pt x="1021" y="1187"/>
                  </a:cubicBezTo>
                  <a:cubicBezTo>
                    <a:pt x="2333" y="687"/>
                    <a:pt x="3707" y="625"/>
                    <a:pt x="5019" y="437"/>
                  </a:cubicBezTo>
                  <a:cubicBezTo>
                    <a:pt x="7205" y="437"/>
                    <a:pt x="9329" y="250"/>
                    <a:pt x="11452" y="0"/>
                  </a:cubicBezTo>
                  <a:cubicBezTo>
                    <a:pt x="12889" y="125"/>
                    <a:pt x="14138" y="562"/>
                    <a:pt x="14825" y="1874"/>
                  </a:cubicBezTo>
                  <a:cubicBezTo>
                    <a:pt x="14763" y="2124"/>
                    <a:pt x="14700" y="2436"/>
                    <a:pt x="14700" y="2686"/>
                  </a:cubicBezTo>
                  <a:cubicBezTo>
                    <a:pt x="14388" y="2686"/>
                    <a:pt x="14013" y="2686"/>
                    <a:pt x="13701" y="2748"/>
                  </a:cubicBezTo>
                  <a:cubicBezTo>
                    <a:pt x="12077" y="3748"/>
                    <a:pt x="9953" y="2436"/>
                    <a:pt x="8329" y="3560"/>
                  </a:cubicBezTo>
                  <a:close/>
                </a:path>
              </a:pathLst>
            </a:custGeom>
            <a:grpFill/>
            <a:ln w="6246" cap="flat">
              <a:noFill/>
              <a:prstDash val="solid"/>
              <a:miter/>
            </a:ln>
          </p:spPr>
          <p:txBody>
            <a:bodyPr rtlCol="0" anchor="ctr"/>
            <a:lstStyle/>
            <a:p>
              <a:endParaRPr lang="fr-FR" sz="2400"/>
            </a:p>
          </p:txBody>
        </p:sp>
        <p:sp>
          <p:nvSpPr>
            <p:cNvPr id="741" name="Freeform: Shape 740">
              <a:extLst>
                <a:ext uri="{FF2B5EF4-FFF2-40B4-BE49-F238E27FC236}">
                  <a16:creationId xmlns:a16="http://schemas.microsoft.com/office/drawing/2014/main" id="{557C9579-E58F-40A5-B1F4-0B57860AB950}"/>
                </a:ext>
              </a:extLst>
            </p:cNvPr>
            <p:cNvSpPr/>
            <p:nvPr/>
          </p:nvSpPr>
          <p:spPr>
            <a:xfrm>
              <a:off x="1283066" y="451636"/>
              <a:ext cx="6246" cy="6246"/>
            </a:xfrm>
            <a:custGeom>
              <a:avLst/>
              <a:gdLst>
                <a:gd name="connsiteX0" fmla="*/ 3528 w 6246"/>
                <a:gd name="connsiteY0" fmla="*/ 2576 h 0"/>
                <a:gd name="connsiteX1" fmla="*/ 218 w 6246"/>
                <a:gd name="connsiteY1" fmla="*/ 1452 h 0"/>
                <a:gd name="connsiteX2" fmla="*/ 468 w 6246"/>
                <a:gd name="connsiteY2" fmla="*/ 141 h 0"/>
                <a:gd name="connsiteX3" fmla="*/ 6339 w 6246"/>
                <a:gd name="connsiteY3" fmla="*/ 141 h 0"/>
                <a:gd name="connsiteX4" fmla="*/ 5590 w 6246"/>
                <a:gd name="connsiteY4" fmla="*/ 2452 h 0"/>
                <a:gd name="connsiteX5" fmla="*/ 3528 w 6246"/>
                <a:gd name="connsiteY5" fmla="*/ 2576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528" y="2576"/>
                  </a:moveTo>
                  <a:cubicBezTo>
                    <a:pt x="2404" y="2202"/>
                    <a:pt x="1342" y="1827"/>
                    <a:pt x="218" y="1452"/>
                  </a:cubicBezTo>
                  <a:cubicBezTo>
                    <a:pt x="-157" y="953"/>
                    <a:pt x="-32" y="515"/>
                    <a:pt x="468" y="141"/>
                  </a:cubicBezTo>
                  <a:cubicBezTo>
                    <a:pt x="2404" y="-47"/>
                    <a:pt x="4403" y="-47"/>
                    <a:pt x="6339" y="141"/>
                  </a:cubicBezTo>
                  <a:cubicBezTo>
                    <a:pt x="7713" y="1327"/>
                    <a:pt x="6402" y="1827"/>
                    <a:pt x="5590" y="2452"/>
                  </a:cubicBezTo>
                  <a:cubicBezTo>
                    <a:pt x="4902" y="2514"/>
                    <a:pt x="4215" y="2576"/>
                    <a:pt x="3528" y="2576"/>
                  </a:cubicBezTo>
                  <a:close/>
                </a:path>
              </a:pathLst>
            </a:custGeom>
            <a:grpFill/>
            <a:ln w="6246" cap="flat">
              <a:noFill/>
              <a:prstDash val="solid"/>
              <a:miter/>
            </a:ln>
          </p:spPr>
          <p:txBody>
            <a:bodyPr rtlCol="0" anchor="ctr"/>
            <a:lstStyle/>
            <a:p>
              <a:endParaRPr lang="fr-FR" sz="2400"/>
            </a:p>
          </p:txBody>
        </p:sp>
        <p:sp>
          <p:nvSpPr>
            <p:cNvPr id="742" name="Freeform: Shape 741">
              <a:extLst>
                <a:ext uri="{FF2B5EF4-FFF2-40B4-BE49-F238E27FC236}">
                  <a16:creationId xmlns:a16="http://schemas.microsoft.com/office/drawing/2014/main" id="{7D8100C1-B7B0-4BD1-862E-A6541BCE6C62}"/>
                </a:ext>
              </a:extLst>
            </p:cNvPr>
            <p:cNvSpPr/>
            <p:nvPr/>
          </p:nvSpPr>
          <p:spPr>
            <a:xfrm>
              <a:off x="1288656" y="451916"/>
              <a:ext cx="6246" cy="6246"/>
            </a:xfrm>
            <a:custGeom>
              <a:avLst/>
              <a:gdLst>
                <a:gd name="connsiteX0" fmla="*/ 0 w 0"/>
                <a:gd name="connsiteY0" fmla="*/ 2235 h 0"/>
                <a:gd name="connsiteX1" fmla="*/ 999 w 0"/>
                <a:gd name="connsiteY1" fmla="*/ 423 h 0"/>
                <a:gd name="connsiteX2" fmla="*/ 2124 w 0"/>
                <a:gd name="connsiteY2" fmla="*/ 173 h 0"/>
                <a:gd name="connsiteX3" fmla="*/ 3123 w 0"/>
                <a:gd name="connsiteY3" fmla="*/ 361 h 0"/>
                <a:gd name="connsiteX4" fmla="*/ 0 w 0"/>
                <a:gd name="connsiteY4" fmla="*/ 2235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0" y="2235"/>
                  </a:moveTo>
                  <a:cubicBezTo>
                    <a:pt x="312" y="1610"/>
                    <a:pt x="687" y="985"/>
                    <a:pt x="999" y="423"/>
                  </a:cubicBezTo>
                  <a:cubicBezTo>
                    <a:pt x="1312" y="-14"/>
                    <a:pt x="1686" y="-139"/>
                    <a:pt x="2124" y="173"/>
                  </a:cubicBezTo>
                  <a:cubicBezTo>
                    <a:pt x="2436" y="236"/>
                    <a:pt x="2811" y="298"/>
                    <a:pt x="3123" y="361"/>
                  </a:cubicBezTo>
                  <a:cubicBezTo>
                    <a:pt x="4060" y="3671"/>
                    <a:pt x="1062" y="1673"/>
                    <a:pt x="0" y="2235"/>
                  </a:cubicBezTo>
                  <a:close/>
                </a:path>
              </a:pathLst>
            </a:custGeom>
            <a:grpFill/>
            <a:ln w="6246" cap="flat">
              <a:noFill/>
              <a:prstDash val="solid"/>
              <a:miter/>
            </a:ln>
          </p:spPr>
          <p:txBody>
            <a:bodyPr rtlCol="0" anchor="ctr"/>
            <a:lstStyle/>
            <a:p>
              <a:endParaRPr lang="fr-FR" sz="2400"/>
            </a:p>
          </p:txBody>
        </p:sp>
        <p:sp>
          <p:nvSpPr>
            <p:cNvPr id="743" name="Freeform: Shape 742">
              <a:extLst>
                <a:ext uri="{FF2B5EF4-FFF2-40B4-BE49-F238E27FC236}">
                  <a16:creationId xmlns:a16="http://schemas.microsoft.com/office/drawing/2014/main" id="{0E37542D-AD9D-4AA7-BF23-92B06333984D}"/>
                </a:ext>
              </a:extLst>
            </p:cNvPr>
            <p:cNvSpPr/>
            <p:nvPr/>
          </p:nvSpPr>
          <p:spPr>
            <a:xfrm>
              <a:off x="1174041" y="611864"/>
              <a:ext cx="6246" cy="6246"/>
            </a:xfrm>
            <a:custGeom>
              <a:avLst/>
              <a:gdLst>
                <a:gd name="connsiteX0" fmla="*/ 3248 w 6246"/>
                <a:gd name="connsiteY0" fmla="*/ 0 h 6246"/>
                <a:gd name="connsiteX1" fmla="*/ 7745 w 6246"/>
                <a:gd name="connsiteY1" fmla="*/ 5434 h 6246"/>
                <a:gd name="connsiteX2" fmla="*/ 5247 w 6246"/>
                <a:gd name="connsiteY2" fmla="*/ 7745 h 6246"/>
                <a:gd name="connsiteX3" fmla="*/ 0 w 6246"/>
                <a:gd name="connsiteY3" fmla="*/ 1936 h 6246"/>
                <a:gd name="connsiteX4" fmla="*/ 500 w 6246"/>
                <a:gd name="connsiteY4" fmla="*/ 1499 h 6246"/>
                <a:gd name="connsiteX5" fmla="*/ 3248 w 6246"/>
                <a:gd name="connsiteY5"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h="6246">
                  <a:moveTo>
                    <a:pt x="3248" y="0"/>
                  </a:moveTo>
                  <a:cubicBezTo>
                    <a:pt x="5434" y="1374"/>
                    <a:pt x="6371" y="3560"/>
                    <a:pt x="7745" y="5434"/>
                  </a:cubicBezTo>
                  <a:cubicBezTo>
                    <a:pt x="8057" y="7245"/>
                    <a:pt x="7121" y="7870"/>
                    <a:pt x="5247" y="7745"/>
                  </a:cubicBezTo>
                  <a:cubicBezTo>
                    <a:pt x="1374" y="7370"/>
                    <a:pt x="1437" y="4060"/>
                    <a:pt x="0" y="1936"/>
                  </a:cubicBezTo>
                  <a:cubicBezTo>
                    <a:pt x="125" y="1811"/>
                    <a:pt x="312" y="1624"/>
                    <a:pt x="500" y="1499"/>
                  </a:cubicBezTo>
                  <a:cubicBezTo>
                    <a:pt x="1874" y="1624"/>
                    <a:pt x="2811" y="1187"/>
                    <a:pt x="3248" y="0"/>
                  </a:cubicBezTo>
                  <a:close/>
                </a:path>
              </a:pathLst>
            </a:custGeom>
            <a:grpFill/>
            <a:ln w="6246" cap="flat">
              <a:noFill/>
              <a:prstDash val="solid"/>
              <a:miter/>
            </a:ln>
          </p:spPr>
          <p:txBody>
            <a:bodyPr rtlCol="0" anchor="ctr"/>
            <a:lstStyle/>
            <a:p>
              <a:endParaRPr lang="fr-FR" sz="2400"/>
            </a:p>
          </p:txBody>
        </p:sp>
        <p:sp>
          <p:nvSpPr>
            <p:cNvPr id="744" name="Freeform: Shape 743">
              <a:extLst>
                <a:ext uri="{FF2B5EF4-FFF2-40B4-BE49-F238E27FC236}">
                  <a16:creationId xmlns:a16="http://schemas.microsoft.com/office/drawing/2014/main" id="{914E98F8-0E85-4C4E-97F3-5A6FCC34B6CF}"/>
                </a:ext>
              </a:extLst>
            </p:cNvPr>
            <p:cNvSpPr/>
            <p:nvPr/>
          </p:nvSpPr>
          <p:spPr>
            <a:xfrm>
              <a:off x="1179350" y="617298"/>
              <a:ext cx="6246" cy="6246"/>
            </a:xfrm>
            <a:custGeom>
              <a:avLst/>
              <a:gdLst>
                <a:gd name="connsiteX0" fmla="*/ 0 w 6246"/>
                <a:gd name="connsiteY0" fmla="*/ 2311 h 6246"/>
                <a:gd name="connsiteX1" fmla="*/ 2498 w 6246"/>
                <a:gd name="connsiteY1" fmla="*/ 0 h 6246"/>
                <a:gd name="connsiteX2" fmla="*/ 4372 w 6246"/>
                <a:gd name="connsiteY2" fmla="*/ 375 h 6246"/>
                <a:gd name="connsiteX3" fmla="*/ 6558 w 6246"/>
                <a:gd name="connsiteY3" fmla="*/ 3185 h 6246"/>
                <a:gd name="connsiteX4" fmla="*/ 7058 w 6246"/>
                <a:gd name="connsiteY4" fmla="*/ 4310 h 6246"/>
                <a:gd name="connsiteX5" fmla="*/ 5434 w 6246"/>
                <a:gd name="connsiteY5" fmla="*/ 7121 h 6246"/>
                <a:gd name="connsiteX6" fmla="*/ 4435 w 6246"/>
                <a:gd name="connsiteY6" fmla="*/ 6996 h 6246"/>
                <a:gd name="connsiteX7" fmla="*/ 0 w 6246"/>
                <a:gd name="connsiteY7" fmla="*/ 231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2311"/>
                  </a:moveTo>
                  <a:cubicBezTo>
                    <a:pt x="1124" y="1811"/>
                    <a:pt x="1999" y="1062"/>
                    <a:pt x="2498" y="0"/>
                  </a:cubicBezTo>
                  <a:cubicBezTo>
                    <a:pt x="3123" y="125"/>
                    <a:pt x="3748" y="250"/>
                    <a:pt x="4372" y="375"/>
                  </a:cubicBezTo>
                  <a:cubicBezTo>
                    <a:pt x="5122" y="1312"/>
                    <a:pt x="5809" y="2249"/>
                    <a:pt x="6558" y="3185"/>
                  </a:cubicBezTo>
                  <a:cubicBezTo>
                    <a:pt x="6933" y="3498"/>
                    <a:pt x="7121" y="3873"/>
                    <a:pt x="7058" y="4310"/>
                  </a:cubicBezTo>
                  <a:cubicBezTo>
                    <a:pt x="6933" y="5434"/>
                    <a:pt x="6621" y="6496"/>
                    <a:pt x="5434" y="7121"/>
                  </a:cubicBezTo>
                  <a:cubicBezTo>
                    <a:pt x="5122" y="7121"/>
                    <a:pt x="4747" y="7058"/>
                    <a:pt x="4435" y="6996"/>
                  </a:cubicBezTo>
                  <a:cubicBezTo>
                    <a:pt x="2936" y="5434"/>
                    <a:pt x="1437" y="3873"/>
                    <a:pt x="0" y="2311"/>
                  </a:cubicBezTo>
                  <a:close/>
                </a:path>
              </a:pathLst>
            </a:custGeom>
            <a:grpFill/>
            <a:ln w="6246" cap="flat">
              <a:noFill/>
              <a:prstDash val="solid"/>
              <a:miter/>
            </a:ln>
          </p:spPr>
          <p:txBody>
            <a:bodyPr rtlCol="0" anchor="ctr"/>
            <a:lstStyle/>
            <a:p>
              <a:endParaRPr lang="fr-FR" sz="2400"/>
            </a:p>
          </p:txBody>
        </p:sp>
        <p:sp>
          <p:nvSpPr>
            <p:cNvPr id="745" name="Freeform: Shape 744">
              <a:extLst>
                <a:ext uri="{FF2B5EF4-FFF2-40B4-BE49-F238E27FC236}">
                  <a16:creationId xmlns:a16="http://schemas.microsoft.com/office/drawing/2014/main" id="{8DEC03AE-D760-426C-885D-01243C02550D}"/>
                </a:ext>
              </a:extLst>
            </p:cNvPr>
            <p:cNvSpPr/>
            <p:nvPr/>
          </p:nvSpPr>
          <p:spPr>
            <a:xfrm>
              <a:off x="1167670" y="604860"/>
              <a:ext cx="6246" cy="6246"/>
            </a:xfrm>
            <a:custGeom>
              <a:avLst/>
              <a:gdLst>
                <a:gd name="connsiteX0" fmla="*/ 0 w 6246"/>
                <a:gd name="connsiteY0" fmla="*/ 1133 h 6246"/>
                <a:gd name="connsiteX1" fmla="*/ 1124 w 6246"/>
                <a:gd name="connsiteY1" fmla="*/ 1070 h 6246"/>
                <a:gd name="connsiteX2" fmla="*/ 4747 w 6246"/>
                <a:gd name="connsiteY2" fmla="*/ 1508 h 6246"/>
                <a:gd name="connsiteX3" fmla="*/ 6558 w 6246"/>
                <a:gd name="connsiteY3" fmla="*/ 8691 h 6246"/>
                <a:gd name="connsiteX4" fmla="*/ 6433 w 6246"/>
                <a:gd name="connsiteY4" fmla="*/ 8940 h 6246"/>
                <a:gd name="connsiteX5" fmla="*/ 5247 w 6246"/>
                <a:gd name="connsiteY5" fmla="*/ 7941 h 6246"/>
                <a:gd name="connsiteX6" fmla="*/ 2311 w 6246"/>
                <a:gd name="connsiteY6" fmla="*/ 4880 h 6246"/>
                <a:gd name="connsiteX7" fmla="*/ 0 w 6246"/>
                <a:gd name="connsiteY7" fmla="*/ 1133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6" h="6246">
                  <a:moveTo>
                    <a:pt x="0" y="1133"/>
                  </a:moveTo>
                  <a:cubicBezTo>
                    <a:pt x="375" y="1133"/>
                    <a:pt x="749" y="1070"/>
                    <a:pt x="1124" y="1070"/>
                  </a:cubicBezTo>
                  <a:cubicBezTo>
                    <a:pt x="2623" y="-928"/>
                    <a:pt x="3748" y="258"/>
                    <a:pt x="4747" y="1508"/>
                  </a:cubicBezTo>
                  <a:cubicBezTo>
                    <a:pt x="6433" y="3631"/>
                    <a:pt x="8932" y="5692"/>
                    <a:pt x="6558" y="8691"/>
                  </a:cubicBezTo>
                  <a:cubicBezTo>
                    <a:pt x="6558" y="8691"/>
                    <a:pt x="6433" y="8940"/>
                    <a:pt x="6433" y="8940"/>
                  </a:cubicBezTo>
                  <a:cubicBezTo>
                    <a:pt x="6059" y="8628"/>
                    <a:pt x="5622" y="8253"/>
                    <a:pt x="5247" y="7941"/>
                  </a:cubicBezTo>
                  <a:cubicBezTo>
                    <a:pt x="4185" y="7004"/>
                    <a:pt x="2811" y="6254"/>
                    <a:pt x="2311" y="4880"/>
                  </a:cubicBezTo>
                  <a:cubicBezTo>
                    <a:pt x="1499" y="3569"/>
                    <a:pt x="749" y="2319"/>
                    <a:pt x="0" y="1133"/>
                  </a:cubicBezTo>
                  <a:close/>
                </a:path>
              </a:pathLst>
            </a:custGeom>
            <a:grpFill/>
            <a:ln w="6246" cap="flat">
              <a:noFill/>
              <a:prstDash val="solid"/>
              <a:miter/>
            </a:ln>
          </p:spPr>
          <p:txBody>
            <a:bodyPr rtlCol="0" anchor="ctr"/>
            <a:lstStyle/>
            <a:p>
              <a:endParaRPr lang="fr-FR" sz="2400"/>
            </a:p>
          </p:txBody>
        </p:sp>
        <p:sp>
          <p:nvSpPr>
            <p:cNvPr id="746" name="Freeform: Shape 745">
              <a:extLst>
                <a:ext uri="{FF2B5EF4-FFF2-40B4-BE49-F238E27FC236}">
                  <a16:creationId xmlns:a16="http://schemas.microsoft.com/office/drawing/2014/main" id="{0DD183E4-E20A-4A28-99DA-3A681E578752}"/>
                </a:ext>
              </a:extLst>
            </p:cNvPr>
            <p:cNvSpPr/>
            <p:nvPr/>
          </p:nvSpPr>
          <p:spPr>
            <a:xfrm>
              <a:off x="1169971" y="609677"/>
              <a:ext cx="6246" cy="6246"/>
            </a:xfrm>
            <a:custGeom>
              <a:avLst/>
              <a:gdLst>
                <a:gd name="connsiteX0" fmla="*/ 9 w 0"/>
                <a:gd name="connsiteY0" fmla="*/ 0 h 0"/>
                <a:gd name="connsiteX1" fmla="*/ 2945 w 0"/>
                <a:gd name="connsiteY1" fmla="*/ 3061 h 0"/>
                <a:gd name="connsiteX2" fmla="*/ 9 w 0"/>
                <a:gd name="connsiteY2" fmla="*/ 0 h 0"/>
              </a:gdLst>
              <a:ahLst/>
              <a:cxnLst>
                <a:cxn ang="0">
                  <a:pos x="connsiteX0" y="connsiteY0"/>
                </a:cxn>
                <a:cxn ang="0">
                  <a:pos x="connsiteX1" y="connsiteY1"/>
                </a:cxn>
                <a:cxn ang="0">
                  <a:pos x="connsiteX2" y="connsiteY2"/>
                </a:cxn>
              </a:cxnLst>
              <a:rect l="l" t="t" r="r" b="b"/>
              <a:pathLst>
                <a:path>
                  <a:moveTo>
                    <a:pt x="9" y="0"/>
                  </a:moveTo>
                  <a:cubicBezTo>
                    <a:pt x="1259" y="812"/>
                    <a:pt x="2508" y="1624"/>
                    <a:pt x="2945" y="3061"/>
                  </a:cubicBezTo>
                  <a:cubicBezTo>
                    <a:pt x="1009" y="2811"/>
                    <a:pt x="-115" y="1874"/>
                    <a:pt x="9" y="0"/>
                  </a:cubicBezTo>
                  <a:close/>
                </a:path>
              </a:pathLst>
            </a:custGeom>
            <a:grpFill/>
            <a:ln w="6246" cap="flat">
              <a:noFill/>
              <a:prstDash val="solid"/>
              <a:miter/>
            </a:ln>
          </p:spPr>
          <p:txBody>
            <a:bodyPr rtlCol="0" anchor="ctr"/>
            <a:lstStyle/>
            <a:p>
              <a:endParaRPr lang="fr-FR" sz="2400"/>
            </a:p>
          </p:txBody>
        </p:sp>
        <p:sp>
          <p:nvSpPr>
            <p:cNvPr id="747" name="Freeform: Shape 746">
              <a:extLst>
                <a:ext uri="{FF2B5EF4-FFF2-40B4-BE49-F238E27FC236}">
                  <a16:creationId xmlns:a16="http://schemas.microsoft.com/office/drawing/2014/main" id="{40DFC3DD-EE3E-4F05-AEB8-2C0205A0837E}"/>
                </a:ext>
              </a:extLst>
            </p:cNvPr>
            <p:cNvSpPr/>
            <p:nvPr/>
          </p:nvSpPr>
          <p:spPr>
            <a:xfrm>
              <a:off x="1184784" y="621420"/>
              <a:ext cx="6246" cy="6246"/>
            </a:xfrm>
            <a:custGeom>
              <a:avLst/>
              <a:gdLst>
                <a:gd name="connsiteX0" fmla="*/ 0 w 0"/>
                <a:gd name="connsiteY0" fmla="*/ 2998 h 0"/>
                <a:gd name="connsiteX1" fmla="*/ 1124 w 0"/>
                <a:gd name="connsiteY1" fmla="*/ 0 h 0"/>
                <a:gd name="connsiteX2" fmla="*/ 4122 w 0"/>
                <a:gd name="connsiteY2" fmla="*/ 1999 h 0"/>
                <a:gd name="connsiteX3" fmla="*/ 4435 w 0"/>
                <a:gd name="connsiteY3" fmla="*/ 2748 h 0"/>
                <a:gd name="connsiteX4" fmla="*/ 4310 w 0"/>
                <a:gd name="connsiteY4" fmla="*/ 5996 h 0"/>
                <a:gd name="connsiteX5" fmla="*/ 0 w 0"/>
                <a:gd name="connsiteY5" fmla="*/ 2998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0" y="2998"/>
                  </a:moveTo>
                  <a:cubicBezTo>
                    <a:pt x="187" y="1936"/>
                    <a:pt x="-125" y="750"/>
                    <a:pt x="1124" y="0"/>
                  </a:cubicBezTo>
                  <a:cubicBezTo>
                    <a:pt x="2311" y="437"/>
                    <a:pt x="3310" y="1124"/>
                    <a:pt x="4122" y="1999"/>
                  </a:cubicBezTo>
                  <a:cubicBezTo>
                    <a:pt x="4247" y="2249"/>
                    <a:pt x="4372" y="2498"/>
                    <a:pt x="4435" y="2748"/>
                  </a:cubicBezTo>
                  <a:cubicBezTo>
                    <a:pt x="4372" y="3810"/>
                    <a:pt x="4372" y="4934"/>
                    <a:pt x="4310" y="5996"/>
                  </a:cubicBezTo>
                  <a:cubicBezTo>
                    <a:pt x="2748" y="5122"/>
                    <a:pt x="999" y="4497"/>
                    <a:pt x="0" y="2998"/>
                  </a:cubicBezTo>
                  <a:close/>
                </a:path>
              </a:pathLst>
            </a:custGeom>
            <a:grpFill/>
            <a:ln w="6246" cap="flat">
              <a:noFill/>
              <a:prstDash val="solid"/>
              <a:miter/>
            </a:ln>
          </p:spPr>
          <p:txBody>
            <a:bodyPr rtlCol="0" anchor="ctr"/>
            <a:lstStyle/>
            <a:p>
              <a:endParaRPr lang="fr-FR" sz="2400"/>
            </a:p>
          </p:txBody>
        </p:sp>
        <p:sp>
          <p:nvSpPr>
            <p:cNvPr id="748" name="Freeform: Shape 747">
              <a:extLst>
                <a:ext uri="{FF2B5EF4-FFF2-40B4-BE49-F238E27FC236}">
                  <a16:creationId xmlns:a16="http://schemas.microsoft.com/office/drawing/2014/main" id="{624A0065-A557-427A-8995-9FDAC40ACDF5}"/>
                </a:ext>
              </a:extLst>
            </p:cNvPr>
            <p:cNvSpPr/>
            <p:nvPr/>
          </p:nvSpPr>
          <p:spPr>
            <a:xfrm>
              <a:off x="1168692" y="602869"/>
              <a:ext cx="6246" cy="6246"/>
            </a:xfrm>
            <a:custGeom>
              <a:avLst/>
              <a:gdLst>
                <a:gd name="connsiteX0" fmla="*/ 5536 w 6246"/>
                <a:gd name="connsiteY0" fmla="*/ 10681 h 6246"/>
                <a:gd name="connsiteX1" fmla="*/ 102 w 6246"/>
                <a:gd name="connsiteY1" fmla="*/ 3061 h 6246"/>
                <a:gd name="connsiteX2" fmla="*/ 2350 w 6246"/>
                <a:gd name="connsiteY2" fmla="*/ 0 h 6246"/>
                <a:gd name="connsiteX3" fmla="*/ 8659 w 6246"/>
                <a:gd name="connsiteY3" fmla="*/ 8994 h 6246"/>
                <a:gd name="connsiteX4" fmla="*/ 5536 w 6246"/>
                <a:gd name="connsiteY4" fmla="*/ 10681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h="6246">
                  <a:moveTo>
                    <a:pt x="5536" y="10681"/>
                  </a:moveTo>
                  <a:cubicBezTo>
                    <a:pt x="5411" y="7183"/>
                    <a:pt x="5223" y="3685"/>
                    <a:pt x="102" y="3061"/>
                  </a:cubicBezTo>
                  <a:cubicBezTo>
                    <a:pt x="-398" y="1249"/>
                    <a:pt x="1039" y="687"/>
                    <a:pt x="2350" y="0"/>
                  </a:cubicBezTo>
                  <a:cubicBezTo>
                    <a:pt x="4474" y="2998"/>
                    <a:pt x="6535" y="5996"/>
                    <a:pt x="8659" y="8994"/>
                  </a:cubicBezTo>
                  <a:cubicBezTo>
                    <a:pt x="8971" y="11680"/>
                    <a:pt x="7222" y="11118"/>
                    <a:pt x="5536" y="10681"/>
                  </a:cubicBezTo>
                  <a:close/>
                </a:path>
              </a:pathLst>
            </a:custGeom>
            <a:grpFill/>
            <a:ln w="6246" cap="flat">
              <a:noFill/>
              <a:prstDash val="solid"/>
              <a:miter/>
            </a:ln>
          </p:spPr>
          <p:txBody>
            <a:bodyPr rtlCol="0" anchor="ctr"/>
            <a:lstStyle/>
            <a:p>
              <a:endParaRPr lang="fr-FR" sz="2400"/>
            </a:p>
          </p:txBody>
        </p:sp>
        <p:sp>
          <p:nvSpPr>
            <p:cNvPr id="749" name="Freeform: Shape 748">
              <a:extLst>
                <a:ext uri="{FF2B5EF4-FFF2-40B4-BE49-F238E27FC236}">
                  <a16:creationId xmlns:a16="http://schemas.microsoft.com/office/drawing/2014/main" id="{5832A68F-B846-4187-AA8A-673F0AF6B564}"/>
                </a:ext>
              </a:extLst>
            </p:cNvPr>
            <p:cNvSpPr/>
            <p:nvPr/>
          </p:nvSpPr>
          <p:spPr>
            <a:xfrm>
              <a:off x="1185908" y="620421"/>
              <a:ext cx="6246" cy="6246"/>
            </a:xfrm>
            <a:custGeom>
              <a:avLst/>
              <a:gdLst>
                <a:gd name="connsiteX0" fmla="*/ 2998 w 0"/>
                <a:gd name="connsiteY0" fmla="*/ 2998 h 0"/>
                <a:gd name="connsiteX1" fmla="*/ 0 w 0"/>
                <a:gd name="connsiteY1" fmla="*/ 999 h 0"/>
                <a:gd name="connsiteX2" fmla="*/ 0 w 0"/>
                <a:gd name="connsiteY2" fmla="*/ 0 h 0"/>
                <a:gd name="connsiteX3" fmla="*/ 2998 w 0"/>
                <a:gd name="connsiteY3" fmla="*/ 2998 h 0"/>
              </a:gdLst>
              <a:ahLst/>
              <a:cxnLst>
                <a:cxn ang="0">
                  <a:pos x="connsiteX0" y="connsiteY0"/>
                </a:cxn>
                <a:cxn ang="0">
                  <a:pos x="connsiteX1" y="connsiteY1"/>
                </a:cxn>
                <a:cxn ang="0">
                  <a:pos x="connsiteX2" y="connsiteY2"/>
                </a:cxn>
                <a:cxn ang="0">
                  <a:pos x="connsiteX3" y="connsiteY3"/>
                </a:cxn>
              </a:cxnLst>
              <a:rect l="l" t="t" r="r" b="b"/>
              <a:pathLst>
                <a:path>
                  <a:moveTo>
                    <a:pt x="2998" y="2998"/>
                  </a:moveTo>
                  <a:cubicBezTo>
                    <a:pt x="1624" y="2811"/>
                    <a:pt x="625" y="2124"/>
                    <a:pt x="0" y="999"/>
                  </a:cubicBezTo>
                  <a:cubicBezTo>
                    <a:pt x="0" y="687"/>
                    <a:pt x="0" y="375"/>
                    <a:pt x="0" y="0"/>
                  </a:cubicBezTo>
                  <a:cubicBezTo>
                    <a:pt x="1374" y="749"/>
                    <a:pt x="2561" y="1562"/>
                    <a:pt x="2998" y="2998"/>
                  </a:cubicBezTo>
                  <a:close/>
                </a:path>
              </a:pathLst>
            </a:custGeom>
            <a:grpFill/>
            <a:ln w="6246" cap="flat">
              <a:noFill/>
              <a:prstDash val="solid"/>
              <a:miter/>
            </a:ln>
          </p:spPr>
          <p:txBody>
            <a:bodyPr rtlCol="0" anchor="ctr"/>
            <a:lstStyle/>
            <a:p>
              <a:endParaRPr lang="fr-FR" sz="2400"/>
            </a:p>
          </p:txBody>
        </p:sp>
        <p:sp>
          <p:nvSpPr>
            <p:cNvPr id="750" name="Freeform: Shape 749">
              <a:extLst>
                <a:ext uri="{FF2B5EF4-FFF2-40B4-BE49-F238E27FC236}">
                  <a16:creationId xmlns:a16="http://schemas.microsoft.com/office/drawing/2014/main" id="{798FE5EA-FE08-44A1-8E41-4D82C324CFC8}"/>
                </a:ext>
              </a:extLst>
            </p:cNvPr>
            <p:cNvSpPr/>
            <p:nvPr/>
          </p:nvSpPr>
          <p:spPr>
            <a:xfrm>
              <a:off x="1291591" y="575949"/>
              <a:ext cx="18738" cy="6246"/>
            </a:xfrm>
            <a:custGeom>
              <a:avLst/>
              <a:gdLst>
                <a:gd name="connsiteX0" fmla="*/ 17364 w 18738"/>
                <a:gd name="connsiteY0" fmla="*/ 4809 h 6246"/>
                <a:gd name="connsiteX1" fmla="*/ 12804 w 18738"/>
                <a:gd name="connsiteY1" fmla="*/ 7683 h 6246"/>
                <a:gd name="connsiteX2" fmla="*/ 11680 w 18738"/>
                <a:gd name="connsiteY2" fmla="*/ 4372 h 6246"/>
                <a:gd name="connsiteX3" fmla="*/ 9369 w 18738"/>
                <a:gd name="connsiteY3" fmla="*/ 2936 h 6246"/>
                <a:gd name="connsiteX4" fmla="*/ 0 w 18738"/>
                <a:gd name="connsiteY4" fmla="*/ 4685 h 6246"/>
                <a:gd name="connsiteX5" fmla="*/ 19425 w 18738"/>
                <a:gd name="connsiteY5" fmla="*/ 0 h 6246"/>
                <a:gd name="connsiteX6" fmla="*/ 17364 w 18738"/>
                <a:gd name="connsiteY6" fmla="*/ 4809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38" h="6246">
                  <a:moveTo>
                    <a:pt x="17364" y="4809"/>
                  </a:moveTo>
                  <a:cubicBezTo>
                    <a:pt x="17114" y="7433"/>
                    <a:pt x="15178" y="7870"/>
                    <a:pt x="12804" y="7683"/>
                  </a:cubicBezTo>
                  <a:cubicBezTo>
                    <a:pt x="9307" y="7433"/>
                    <a:pt x="11618" y="5621"/>
                    <a:pt x="11680" y="4372"/>
                  </a:cubicBezTo>
                  <a:cubicBezTo>
                    <a:pt x="11743" y="3123"/>
                    <a:pt x="10493" y="3061"/>
                    <a:pt x="9369" y="2936"/>
                  </a:cubicBezTo>
                  <a:cubicBezTo>
                    <a:pt x="6121" y="2561"/>
                    <a:pt x="3123" y="3435"/>
                    <a:pt x="0" y="4685"/>
                  </a:cubicBezTo>
                  <a:cubicBezTo>
                    <a:pt x="1249" y="312"/>
                    <a:pt x="2561" y="0"/>
                    <a:pt x="19425" y="0"/>
                  </a:cubicBezTo>
                  <a:cubicBezTo>
                    <a:pt x="20425" y="2186"/>
                    <a:pt x="16615" y="2686"/>
                    <a:pt x="17364" y="4809"/>
                  </a:cubicBezTo>
                  <a:close/>
                </a:path>
              </a:pathLst>
            </a:custGeom>
            <a:grpFill/>
            <a:ln w="6246" cap="flat">
              <a:noFill/>
              <a:prstDash val="solid"/>
              <a:miter/>
            </a:ln>
          </p:spPr>
          <p:txBody>
            <a:bodyPr rtlCol="0" anchor="ctr"/>
            <a:lstStyle/>
            <a:p>
              <a:endParaRPr lang="fr-FR" sz="2400"/>
            </a:p>
          </p:txBody>
        </p:sp>
        <p:sp>
          <p:nvSpPr>
            <p:cNvPr id="751" name="Freeform: Shape 750">
              <a:extLst>
                <a:ext uri="{FF2B5EF4-FFF2-40B4-BE49-F238E27FC236}">
                  <a16:creationId xmlns:a16="http://schemas.microsoft.com/office/drawing/2014/main" id="{293F87F4-FC1B-4AD1-BCD5-7BD53E74538D}"/>
                </a:ext>
              </a:extLst>
            </p:cNvPr>
            <p:cNvSpPr/>
            <p:nvPr/>
          </p:nvSpPr>
          <p:spPr>
            <a:xfrm>
              <a:off x="1306227" y="571452"/>
              <a:ext cx="12492" cy="6246"/>
            </a:xfrm>
            <a:custGeom>
              <a:avLst/>
              <a:gdLst>
                <a:gd name="connsiteX0" fmla="*/ 2729 w 12492"/>
                <a:gd name="connsiteY0" fmla="*/ 9307 h 6246"/>
                <a:gd name="connsiteX1" fmla="*/ 1792 w 12492"/>
                <a:gd name="connsiteY1" fmla="*/ 6558 h 6246"/>
                <a:gd name="connsiteX2" fmla="*/ 4915 w 12492"/>
                <a:gd name="connsiteY2" fmla="*/ 4435 h 6246"/>
                <a:gd name="connsiteX3" fmla="*/ 13535 w 12492"/>
                <a:gd name="connsiteY3" fmla="*/ 0 h 6246"/>
                <a:gd name="connsiteX4" fmla="*/ 2729 w 12492"/>
                <a:gd name="connsiteY4" fmla="*/ 9307 h 6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2" h="6246">
                  <a:moveTo>
                    <a:pt x="2729" y="9307"/>
                  </a:moveTo>
                  <a:cubicBezTo>
                    <a:pt x="855" y="8807"/>
                    <a:pt x="-1831" y="8432"/>
                    <a:pt x="1792" y="6558"/>
                  </a:cubicBezTo>
                  <a:cubicBezTo>
                    <a:pt x="2979" y="5934"/>
                    <a:pt x="4290" y="5684"/>
                    <a:pt x="4915" y="4435"/>
                  </a:cubicBezTo>
                  <a:cubicBezTo>
                    <a:pt x="7663" y="2811"/>
                    <a:pt x="11099" y="2311"/>
                    <a:pt x="13535" y="0"/>
                  </a:cubicBezTo>
                  <a:cubicBezTo>
                    <a:pt x="10349" y="3623"/>
                    <a:pt x="8038" y="7870"/>
                    <a:pt x="2729" y="9307"/>
                  </a:cubicBezTo>
                  <a:close/>
                </a:path>
              </a:pathLst>
            </a:custGeom>
            <a:grpFill/>
            <a:ln w="6246" cap="flat">
              <a:noFill/>
              <a:prstDash val="solid"/>
              <a:miter/>
            </a:ln>
          </p:spPr>
          <p:txBody>
            <a:bodyPr rtlCol="0" anchor="ctr"/>
            <a:lstStyle/>
            <a:p>
              <a:endParaRPr lang="fr-FR" sz="2400"/>
            </a:p>
          </p:txBody>
        </p:sp>
        <p:sp>
          <p:nvSpPr>
            <p:cNvPr id="752" name="Freeform: Shape 751">
              <a:extLst>
                <a:ext uri="{FF2B5EF4-FFF2-40B4-BE49-F238E27FC236}">
                  <a16:creationId xmlns:a16="http://schemas.microsoft.com/office/drawing/2014/main" id="{4B35D2D1-3270-4BC8-AADD-8659251751FE}"/>
                </a:ext>
              </a:extLst>
            </p:cNvPr>
            <p:cNvSpPr/>
            <p:nvPr/>
          </p:nvSpPr>
          <p:spPr>
            <a:xfrm>
              <a:off x="1302647" y="568570"/>
              <a:ext cx="12492" cy="6246"/>
            </a:xfrm>
            <a:custGeom>
              <a:avLst/>
              <a:gdLst>
                <a:gd name="connsiteX0" fmla="*/ 0 w 12492"/>
                <a:gd name="connsiteY0" fmla="*/ 3006 h 6246"/>
                <a:gd name="connsiteX1" fmla="*/ 10493 w 12492"/>
                <a:gd name="connsiteY1" fmla="*/ 383 h 6246"/>
                <a:gd name="connsiteX2" fmla="*/ 12305 w 12492"/>
                <a:gd name="connsiteY2" fmla="*/ 508 h 6246"/>
                <a:gd name="connsiteX3" fmla="*/ 12430 w 12492"/>
                <a:gd name="connsiteY3" fmla="*/ 1819 h 6246"/>
                <a:gd name="connsiteX4" fmla="*/ 4372 w 12492"/>
                <a:gd name="connsiteY4" fmla="*/ 6004 h 6246"/>
                <a:gd name="connsiteX5" fmla="*/ 0 w 12492"/>
                <a:gd name="connsiteY5" fmla="*/ 3006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92" h="6246">
                  <a:moveTo>
                    <a:pt x="0" y="3006"/>
                  </a:moveTo>
                  <a:cubicBezTo>
                    <a:pt x="3997" y="2257"/>
                    <a:pt x="7745" y="2819"/>
                    <a:pt x="10493" y="383"/>
                  </a:cubicBezTo>
                  <a:cubicBezTo>
                    <a:pt x="10993" y="-54"/>
                    <a:pt x="11867" y="-242"/>
                    <a:pt x="12305" y="508"/>
                  </a:cubicBezTo>
                  <a:cubicBezTo>
                    <a:pt x="12555" y="883"/>
                    <a:pt x="12617" y="1570"/>
                    <a:pt x="12430" y="1819"/>
                  </a:cubicBezTo>
                  <a:cubicBezTo>
                    <a:pt x="10431" y="4193"/>
                    <a:pt x="7058" y="4505"/>
                    <a:pt x="4372" y="6004"/>
                  </a:cubicBezTo>
                  <a:cubicBezTo>
                    <a:pt x="2561" y="7004"/>
                    <a:pt x="1499" y="4880"/>
                    <a:pt x="0" y="3006"/>
                  </a:cubicBezTo>
                  <a:close/>
                </a:path>
              </a:pathLst>
            </a:custGeom>
            <a:grpFill/>
            <a:ln w="6246" cap="flat">
              <a:noFill/>
              <a:prstDash val="solid"/>
              <a:miter/>
            </a:ln>
          </p:spPr>
          <p:txBody>
            <a:bodyPr rtlCol="0" anchor="ctr"/>
            <a:lstStyle/>
            <a:p>
              <a:endParaRPr lang="fr-FR" sz="2400"/>
            </a:p>
          </p:txBody>
        </p:sp>
        <p:sp>
          <p:nvSpPr>
            <p:cNvPr id="753" name="Freeform: Shape 752">
              <a:extLst>
                <a:ext uri="{FF2B5EF4-FFF2-40B4-BE49-F238E27FC236}">
                  <a16:creationId xmlns:a16="http://schemas.microsoft.com/office/drawing/2014/main" id="{BF30D5E4-4FFB-48BE-A6B5-1BD0D468F3A4}"/>
                </a:ext>
              </a:extLst>
            </p:cNvPr>
            <p:cNvSpPr/>
            <p:nvPr/>
          </p:nvSpPr>
          <p:spPr>
            <a:xfrm>
              <a:off x="1302397" y="554962"/>
              <a:ext cx="6246" cy="6246"/>
            </a:xfrm>
            <a:custGeom>
              <a:avLst/>
              <a:gdLst>
                <a:gd name="connsiteX0" fmla="*/ 0 w 0"/>
                <a:gd name="connsiteY0" fmla="*/ 6871 h 6246"/>
                <a:gd name="connsiteX1" fmla="*/ 5434 w 0"/>
                <a:gd name="connsiteY1" fmla="*/ 0 h 6246"/>
                <a:gd name="connsiteX2" fmla="*/ 0 w 0"/>
                <a:gd name="connsiteY2" fmla="*/ 6871 h 6246"/>
              </a:gdLst>
              <a:ahLst/>
              <a:cxnLst>
                <a:cxn ang="0">
                  <a:pos x="connsiteX0" y="connsiteY0"/>
                </a:cxn>
                <a:cxn ang="0">
                  <a:pos x="connsiteX1" y="connsiteY1"/>
                </a:cxn>
                <a:cxn ang="0">
                  <a:pos x="connsiteX2" y="connsiteY2"/>
                </a:cxn>
              </a:cxnLst>
              <a:rect l="l" t="t" r="r" b="b"/>
              <a:pathLst>
                <a:path h="6246">
                  <a:moveTo>
                    <a:pt x="0" y="6871"/>
                  </a:moveTo>
                  <a:cubicBezTo>
                    <a:pt x="1749" y="4560"/>
                    <a:pt x="1936" y="1187"/>
                    <a:pt x="5434" y="0"/>
                  </a:cubicBezTo>
                  <a:cubicBezTo>
                    <a:pt x="5434" y="3623"/>
                    <a:pt x="5247" y="3935"/>
                    <a:pt x="0" y="6871"/>
                  </a:cubicBezTo>
                  <a:close/>
                </a:path>
              </a:pathLst>
            </a:custGeom>
            <a:grpFill/>
            <a:ln w="6246" cap="flat">
              <a:noFill/>
              <a:prstDash val="solid"/>
              <a:miter/>
            </a:ln>
          </p:spPr>
          <p:txBody>
            <a:bodyPr rtlCol="0" anchor="ctr"/>
            <a:lstStyle/>
            <a:p>
              <a:endParaRPr lang="fr-FR" sz="2400"/>
            </a:p>
          </p:txBody>
        </p:sp>
        <p:sp>
          <p:nvSpPr>
            <p:cNvPr id="754" name="Freeform: Shape 753">
              <a:extLst>
                <a:ext uri="{FF2B5EF4-FFF2-40B4-BE49-F238E27FC236}">
                  <a16:creationId xmlns:a16="http://schemas.microsoft.com/office/drawing/2014/main" id="{C5A70D71-80CB-4FDD-B913-9F1ED7781CD1}"/>
                </a:ext>
              </a:extLst>
            </p:cNvPr>
            <p:cNvSpPr/>
            <p:nvPr/>
          </p:nvSpPr>
          <p:spPr>
            <a:xfrm>
              <a:off x="1298587" y="588441"/>
              <a:ext cx="6246" cy="6246"/>
            </a:xfrm>
            <a:custGeom>
              <a:avLst/>
              <a:gdLst>
                <a:gd name="connsiteX0" fmla="*/ 0 w 6246"/>
                <a:gd name="connsiteY0" fmla="*/ 5746 h 0"/>
                <a:gd name="connsiteX1" fmla="*/ 7620 w 6246"/>
                <a:gd name="connsiteY1" fmla="*/ 0 h 0"/>
                <a:gd name="connsiteX2" fmla="*/ 0 w 6246"/>
                <a:gd name="connsiteY2" fmla="*/ 5746 h 0"/>
              </a:gdLst>
              <a:ahLst/>
              <a:cxnLst>
                <a:cxn ang="0">
                  <a:pos x="connsiteX0" y="connsiteY0"/>
                </a:cxn>
                <a:cxn ang="0">
                  <a:pos x="connsiteX1" y="connsiteY1"/>
                </a:cxn>
                <a:cxn ang="0">
                  <a:pos x="connsiteX2" y="connsiteY2"/>
                </a:cxn>
              </a:cxnLst>
              <a:rect l="l" t="t" r="r" b="b"/>
              <a:pathLst>
                <a:path w="6246">
                  <a:moveTo>
                    <a:pt x="0" y="5746"/>
                  </a:moveTo>
                  <a:cubicBezTo>
                    <a:pt x="1562" y="2811"/>
                    <a:pt x="3498" y="187"/>
                    <a:pt x="7620" y="0"/>
                  </a:cubicBezTo>
                  <a:cubicBezTo>
                    <a:pt x="5059" y="1874"/>
                    <a:pt x="2498" y="3810"/>
                    <a:pt x="0" y="5746"/>
                  </a:cubicBezTo>
                  <a:close/>
                </a:path>
              </a:pathLst>
            </a:custGeom>
            <a:grpFill/>
            <a:ln w="6246" cap="flat">
              <a:noFill/>
              <a:prstDash val="solid"/>
              <a:miter/>
            </a:ln>
          </p:spPr>
          <p:txBody>
            <a:bodyPr rtlCol="0" anchor="ctr"/>
            <a:lstStyle/>
            <a:p>
              <a:endParaRPr lang="fr-FR" sz="2400"/>
            </a:p>
          </p:txBody>
        </p:sp>
        <p:sp>
          <p:nvSpPr>
            <p:cNvPr id="755" name="Freeform: Shape 754">
              <a:extLst>
                <a:ext uri="{FF2B5EF4-FFF2-40B4-BE49-F238E27FC236}">
                  <a16:creationId xmlns:a16="http://schemas.microsoft.com/office/drawing/2014/main" id="{6A57C37C-6937-4315-A145-F00E80484EC9}"/>
                </a:ext>
              </a:extLst>
            </p:cNvPr>
            <p:cNvSpPr/>
            <p:nvPr/>
          </p:nvSpPr>
          <p:spPr>
            <a:xfrm>
              <a:off x="1259237" y="561333"/>
              <a:ext cx="31230" cy="6246"/>
            </a:xfrm>
            <a:custGeom>
              <a:avLst/>
              <a:gdLst>
                <a:gd name="connsiteX0" fmla="*/ 33354 w 31230"/>
                <a:gd name="connsiteY0" fmla="*/ 8245 h 6246"/>
                <a:gd name="connsiteX1" fmla="*/ 0 w 31230"/>
                <a:gd name="connsiteY1" fmla="*/ 0 h 6246"/>
                <a:gd name="connsiteX2" fmla="*/ 33354 w 31230"/>
                <a:gd name="connsiteY2" fmla="*/ 8245 h 6246"/>
              </a:gdLst>
              <a:ahLst/>
              <a:cxnLst>
                <a:cxn ang="0">
                  <a:pos x="connsiteX0" y="connsiteY0"/>
                </a:cxn>
                <a:cxn ang="0">
                  <a:pos x="connsiteX1" y="connsiteY1"/>
                </a:cxn>
                <a:cxn ang="0">
                  <a:pos x="connsiteX2" y="connsiteY2"/>
                </a:cxn>
              </a:cxnLst>
              <a:rect l="l" t="t" r="r" b="b"/>
              <a:pathLst>
                <a:path w="31230" h="6246">
                  <a:moveTo>
                    <a:pt x="33354" y="8245"/>
                  </a:moveTo>
                  <a:cubicBezTo>
                    <a:pt x="21924" y="8432"/>
                    <a:pt x="9619" y="11493"/>
                    <a:pt x="0" y="0"/>
                  </a:cubicBezTo>
                  <a:cubicBezTo>
                    <a:pt x="11243" y="5309"/>
                    <a:pt x="21674" y="9057"/>
                    <a:pt x="33354" y="8245"/>
                  </a:cubicBezTo>
                  <a:close/>
                </a:path>
              </a:pathLst>
            </a:custGeom>
            <a:grpFill/>
            <a:ln w="6246" cap="flat">
              <a:noFill/>
              <a:prstDash val="solid"/>
              <a:miter/>
            </a:ln>
          </p:spPr>
          <p:txBody>
            <a:bodyPr rtlCol="0" anchor="ctr"/>
            <a:lstStyle/>
            <a:p>
              <a:endParaRPr lang="fr-FR" sz="2400"/>
            </a:p>
          </p:txBody>
        </p:sp>
        <p:sp>
          <p:nvSpPr>
            <p:cNvPr id="756" name="Freeform: Shape 755">
              <a:extLst>
                <a:ext uri="{FF2B5EF4-FFF2-40B4-BE49-F238E27FC236}">
                  <a16:creationId xmlns:a16="http://schemas.microsoft.com/office/drawing/2014/main" id="{CCE1F749-C765-4D3B-8CA3-F112BA08D47B}"/>
                </a:ext>
              </a:extLst>
            </p:cNvPr>
            <p:cNvSpPr/>
            <p:nvPr/>
          </p:nvSpPr>
          <p:spPr>
            <a:xfrm>
              <a:off x="1250840" y="512114"/>
              <a:ext cx="12492" cy="12492"/>
            </a:xfrm>
            <a:custGeom>
              <a:avLst/>
              <a:gdLst>
                <a:gd name="connsiteX0" fmla="*/ 14268 w 12492"/>
                <a:gd name="connsiteY0" fmla="*/ 0 h 12492"/>
                <a:gd name="connsiteX1" fmla="*/ 17453 w 12492"/>
                <a:gd name="connsiteY1" fmla="*/ 0 h 12492"/>
                <a:gd name="connsiteX2" fmla="*/ 10395 w 12492"/>
                <a:gd name="connsiteY2" fmla="*/ 4560 h 12492"/>
                <a:gd name="connsiteX3" fmla="*/ 6773 w 12492"/>
                <a:gd name="connsiteY3" fmla="*/ 8682 h 12492"/>
                <a:gd name="connsiteX4" fmla="*/ 1401 w 12492"/>
                <a:gd name="connsiteY4" fmla="*/ 12555 h 12492"/>
                <a:gd name="connsiteX5" fmla="*/ 1026 w 12492"/>
                <a:gd name="connsiteY5" fmla="*/ 10431 h 12492"/>
                <a:gd name="connsiteX6" fmla="*/ 14268 w 12492"/>
                <a:gd name="connsiteY6" fmla="*/ 0 h 12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h="12492">
                  <a:moveTo>
                    <a:pt x="14268" y="0"/>
                  </a:moveTo>
                  <a:cubicBezTo>
                    <a:pt x="15330" y="0"/>
                    <a:pt x="16392" y="0"/>
                    <a:pt x="17453" y="0"/>
                  </a:cubicBezTo>
                  <a:cubicBezTo>
                    <a:pt x="16454" y="3248"/>
                    <a:pt x="12831" y="3123"/>
                    <a:pt x="10395" y="4560"/>
                  </a:cubicBezTo>
                  <a:cubicBezTo>
                    <a:pt x="8584" y="5621"/>
                    <a:pt x="6336" y="6121"/>
                    <a:pt x="6773" y="8682"/>
                  </a:cubicBezTo>
                  <a:cubicBezTo>
                    <a:pt x="4961" y="9994"/>
                    <a:pt x="3212" y="11243"/>
                    <a:pt x="1401" y="12555"/>
                  </a:cubicBezTo>
                  <a:cubicBezTo>
                    <a:pt x="-1160" y="12180"/>
                    <a:pt x="464" y="11305"/>
                    <a:pt x="1026" y="10431"/>
                  </a:cubicBezTo>
                  <a:cubicBezTo>
                    <a:pt x="4337" y="5809"/>
                    <a:pt x="9271" y="2873"/>
                    <a:pt x="14268" y="0"/>
                  </a:cubicBezTo>
                  <a:close/>
                </a:path>
              </a:pathLst>
            </a:custGeom>
            <a:grpFill/>
            <a:ln w="6246" cap="flat">
              <a:noFill/>
              <a:prstDash val="solid"/>
              <a:miter/>
            </a:ln>
          </p:spPr>
          <p:txBody>
            <a:bodyPr rtlCol="0" anchor="ctr"/>
            <a:lstStyle/>
            <a:p>
              <a:endParaRPr lang="fr-FR" sz="2400"/>
            </a:p>
          </p:txBody>
        </p:sp>
        <p:sp>
          <p:nvSpPr>
            <p:cNvPr id="757" name="Freeform: Shape 756">
              <a:extLst>
                <a:ext uri="{FF2B5EF4-FFF2-40B4-BE49-F238E27FC236}">
                  <a16:creationId xmlns:a16="http://schemas.microsoft.com/office/drawing/2014/main" id="{2407D65A-D230-4D13-83EE-4EEAD744EFEB}"/>
                </a:ext>
              </a:extLst>
            </p:cNvPr>
            <p:cNvSpPr/>
            <p:nvPr/>
          </p:nvSpPr>
          <p:spPr>
            <a:xfrm>
              <a:off x="1273665" y="531469"/>
              <a:ext cx="6246" cy="6246"/>
            </a:xfrm>
            <a:custGeom>
              <a:avLst/>
              <a:gdLst>
                <a:gd name="connsiteX0" fmla="*/ 0 w 0"/>
                <a:gd name="connsiteY0" fmla="*/ 3880 h 0"/>
                <a:gd name="connsiteX1" fmla="*/ 0 w 0"/>
                <a:gd name="connsiteY1" fmla="*/ 1944 h 0"/>
                <a:gd name="connsiteX2" fmla="*/ 4310 w 0"/>
                <a:gd name="connsiteY2" fmla="*/ 7 h 0"/>
                <a:gd name="connsiteX3" fmla="*/ 0 w 0"/>
                <a:gd name="connsiteY3" fmla="*/ 3880 h 0"/>
              </a:gdLst>
              <a:ahLst/>
              <a:cxnLst>
                <a:cxn ang="0">
                  <a:pos x="connsiteX0" y="connsiteY0"/>
                </a:cxn>
                <a:cxn ang="0">
                  <a:pos x="connsiteX1" y="connsiteY1"/>
                </a:cxn>
                <a:cxn ang="0">
                  <a:pos x="connsiteX2" y="connsiteY2"/>
                </a:cxn>
                <a:cxn ang="0">
                  <a:pos x="connsiteX3" y="connsiteY3"/>
                </a:cxn>
              </a:cxnLst>
              <a:rect l="l" t="t" r="r" b="b"/>
              <a:pathLst>
                <a:path>
                  <a:moveTo>
                    <a:pt x="0" y="3880"/>
                  </a:moveTo>
                  <a:cubicBezTo>
                    <a:pt x="0" y="3255"/>
                    <a:pt x="0" y="2568"/>
                    <a:pt x="0" y="1944"/>
                  </a:cubicBezTo>
                  <a:cubicBezTo>
                    <a:pt x="1437" y="1381"/>
                    <a:pt x="2436" y="-118"/>
                    <a:pt x="4310" y="7"/>
                  </a:cubicBezTo>
                  <a:cubicBezTo>
                    <a:pt x="4185" y="2506"/>
                    <a:pt x="1811" y="2943"/>
                    <a:pt x="0" y="3880"/>
                  </a:cubicBezTo>
                  <a:close/>
                </a:path>
              </a:pathLst>
            </a:custGeom>
            <a:grpFill/>
            <a:ln w="6246" cap="flat">
              <a:noFill/>
              <a:prstDash val="solid"/>
              <a:miter/>
            </a:ln>
          </p:spPr>
          <p:txBody>
            <a:bodyPr rtlCol="0" anchor="ctr"/>
            <a:lstStyle/>
            <a:p>
              <a:endParaRPr lang="fr-FR" sz="2400"/>
            </a:p>
          </p:txBody>
        </p:sp>
        <p:sp>
          <p:nvSpPr>
            <p:cNvPr id="758" name="Freeform: Shape 757">
              <a:extLst>
                <a:ext uri="{FF2B5EF4-FFF2-40B4-BE49-F238E27FC236}">
                  <a16:creationId xmlns:a16="http://schemas.microsoft.com/office/drawing/2014/main" id="{F2DD3AFB-7E27-43E0-85F1-1A9EADF430EE}"/>
                </a:ext>
              </a:extLst>
            </p:cNvPr>
            <p:cNvSpPr/>
            <p:nvPr/>
          </p:nvSpPr>
          <p:spPr>
            <a:xfrm>
              <a:off x="1299774" y="501621"/>
              <a:ext cx="18738" cy="18738"/>
            </a:xfrm>
            <a:custGeom>
              <a:avLst/>
              <a:gdLst>
                <a:gd name="connsiteX0" fmla="*/ 1686 w 18738"/>
                <a:gd name="connsiteY0" fmla="*/ 874 h 18738"/>
                <a:gd name="connsiteX1" fmla="*/ 3685 w 18738"/>
                <a:gd name="connsiteY1" fmla="*/ 0 h 18738"/>
                <a:gd name="connsiteX2" fmla="*/ 17676 w 18738"/>
                <a:gd name="connsiteY2" fmla="*/ 13554 h 18738"/>
                <a:gd name="connsiteX3" fmla="*/ 16365 w 18738"/>
                <a:gd name="connsiteY3" fmla="*/ 18051 h 18738"/>
                <a:gd name="connsiteX4" fmla="*/ 12367 w 18738"/>
                <a:gd name="connsiteY4" fmla="*/ 19300 h 18738"/>
                <a:gd name="connsiteX5" fmla="*/ 10181 w 18738"/>
                <a:gd name="connsiteY5" fmla="*/ 15553 h 18738"/>
                <a:gd name="connsiteX6" fmla="*/ 2811 w 18738"/>
                <a:gd name="connsiteY6" fmla="*/ 5871 h 18738"/>
                <a:gd name="connsiteX7" fmla="*/ 0 w 18738"/>
                <a:gd name="connsiteY7" fmla="*/ 2686 h 18738"/>
                <a:gd name="connsiteX8" fmla="*/ 1686 w 18738"/>
                <a:gd name="connsiteY8" fmla="*/ 874 h 1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38" h="18738">
                  <a:moveTo>
                    <a:pt x="1686" y="874"/>
                  </a:moveTo>
                  <a:cubicBezTo>
                    <a:pt x="2373" y="562"/>
                    <a:pt x="2998" y="312"/>
                    <a:pt x="3685" y="0"/>
                  </a:cubicBezTo>
                  <a:cubicBezTo>
                    <a:pt x="8370" y="4497"/>
                    <a:pt x="13054" y="8994"/>
                    <a:pt x="17676" y="13554"/>
                  </a:cubicBezTo>
                  <a:cubicBezTo>
                    <a:pt x="20175" y="15740"/>
                    <a:pt x="20487" y="17427"/>
                    <a:pt x="16365" y="18051"/>
                  </a:cubicBezTo>
                  <a:cubicBezTo>
                    <a:pt x="14241" y="16365"/>
                    <a:pt x="14179" y="20050"/>
                    <a:pt x="12367" y="19300"/>
                  </a:cubicBezTo>
                  <a:cubicBezTo>
                    <a:pt x="11618" y="18051"/>
                    <a:pt x="10931" y="16802"/>
                    <a:pt x="10181" y="15553"/>
                  </a:cubicBezTo>
                  <a:cubicBezTo>
                    <a:pt x="8057" y="12117"/>
                    <a:pt x="5934" y="8620"/>
                    <a:pt x="2811" y="5871"/>
                  </a:cubicBezTo>
                  <a:cubicBezTo>
                    <a:pt x="1624" y="4997"/>
                    <a:pt x="437" y="4060"/>
                    <a:pt x="0" y="2686"/>
                  </a:cubicBezTo>
                  <a:cubicBezTo>
                    <a:pt x="62" y="1562"/>
                    <a:pt x="125" y="562"/>
                    <a:pt x="1686" y="874"/>
                  </a:cubicBezTo>
                  <a:close/>
                </a:path>
              </a:pathLst>
            </a:custGeom>
            <a:grpFill/>
            <a:ln w="6246" cap="flat">
              <a:noFill/>
              <a:prstDash val="solid"/>
              <a:miter/>
            </a:ln>
          </p:spPr>
          <p:txBody>
            <a:bodyPr rtlCol="0" anchor="ctr"/>
            <a:lstStyle/>
            <a:p>
              <a:endParaRPr lang="fr-FR" sz="2400"/>
            </a:p>
          </p:txBody>
        </p:sp>
        <p:sp>
          <p:nvSpPr>
            <p:cNvPr id="759" name="Freeform: Shape 758">
              <a:extLst>
                <a:ext uri="{FF2B5EF4-FFF2-40B4-BE49-F238E27FC236}">
                  <a16:creationId xmlns:a16="http://schemas.microsoft.com/office/drawing/2014/main" id="{4257C940-DF85-4436-BD48-F7FE6E328477}"/>
                </a:ext>
              </a:extLst>
            </p:cNvPr>
            <p:cNvSpPr/>
            <p:nvPr/>
          </p:nvSpPr>
          <p:spPr>
            <a:xfrm>
              <a:off x="1301460" y="506430"/>
              <a:ext cx="6246" cy="6246"/>
            </a:xfrm>
            <a:custGeom>
              <a:avLst/>
              <a:gdLst>
                <a:gd name="connsiteX0" fmla="*/ 1999 w 6246"/>
                <a:gd name="connsiteY0" fmla="*/ 0 h 6246"/>
                <a:gd name="connsiteX1" fmla="*/ 8495 w 6246"/>
                <a:gd name="connsiteY1" fmla="*/ 10618 h 6246"/>
                <a:gd name="connsiteX2" fmla="*/ 7495 w 6246"/>
                <a:gd name="connsiteY2" fmla="*/ 10493 h 6246"/>
                <a:gd name="connsiteX3" fmla="*/ 3186 w 6246"/>
                <a:gd name="connsiteY3" fmla="*/ 5684 h 6246"/>
                <a:gd name="connsiteX4" fmla="*/ 0 w 6246"/>
                <a:gd name="connsiteY4" fmla="*/ 2748 h 6246"/>
                <a:gd name="connsiteX5" fmla="*/ 0 w 6246"/>
                <a:gd name="connsiteY5" fmla="*/ 1811 h 6246"/>
                <a:gd name="connsiteX6" fmla="*/ 1999 w 6246"/>
                <a:gd name="connsiteY6" fmla="*/ 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1999" y="0"/>
                  </a:moveTo>
                  <a:cubicBezTo>
                    <a:pt x="5059" y="3061"/>
                    <a:pt x="8620" y="5934"/>
                    <a:pt x="8495" y="10618"/>
                  </a:cubicBezTo>
                  <a:cubicBezTo>
                    <a:pt x="8182" y="10556"/>
                    <a:pt x="7808" y="10556"/>
                    <a:pt x="7495" y="10493"/>
                  </a:cubicBezTo>
                  <a:cubicBezTo>
                    <a:pt x="5559" y="9244"/>
                    <a:pt x="5059" y="6933"/>
                    <a:pt x="3186" y="5684"/>
                  </a:cubicBezTo>
                  <a:cubicBezTo>
                    <a:pt x="2498" y="4372"/>
                    <a:pt x="1437" y="3435"/>
                    <a:pt x="0" y="2748"/>
                  </a:cubicBezTo>
                  <a:cubicBezTo>
                    <a:pt x="0" y="2436"/>
                    <a:pt x="0" y="2124"/>
                    <a:pt x="0" y="1811"/>
                  </a:cubicBezTo>
                  <a:cubicBezTo>
                    <a:pt x="187" y="812"/>
                    <a:pt x="1062" y="312"/>
                    <a:pt x="1999" y="0"/>
                  </a:cubicBezTo>
                  <a:close/>
                </a:path>
              </a:pathLst>
            </a:custGeom>
            <a:grpFill/>
            <a:ln w="6246" cap="flat">
              <a:noFill/>
              <a:prstDash val="solid"/>
              <a:miter/>
            </a:ln>
          </p:spPr>
          <p:txBody>
            <a:bodyPr rtlCol="0" anchor="ctr"/>
            <a:lstStyle/>
            <a:p>
              <a:endParaRPr lang="fr-FR" sz="2400"/>
            </a:p>
          </p:txBody>
        </p:sp>
        <p:sp>
          <p:nvSpPr>
            <p:cNvPr id="760" name="Freeform: Shape 759">
              <a:extLst>
                <a:ext uri="{FF2B5EF4-FFF2-40B4-BE49-F238E27FC236}">
                  <a16:creationId xmlns:a16="http://schemas.microsoft.com/office/drawing/2014/main" id="{426FC0EA-C1E5-4D9B-AE5A-3A0C42770D76}"/>
                </a:ext>
              </a:extLst>
            </p:cNvPr>
            <p:cNvSpPr/>
            <p:nvPr/>
          </p:nvSpPr>
          <p:spPr>
            <a:xfrm>
              <a:off x="1315959" y="515112"/>
              <a:ext cx="6246" cy="6246"/>
            </a:xfrm>
            <a:custGeom>
              <a:avLst/>
              <a:gdLst>
                <a:gd name="connsiteX0" fmla="*/ 492 w 0"/>
                <a:gd name="connsiteY0" fmla="*/ 3810 h 6246"/>
                <a:gd name="connsiteX1" fmla="*/ 1554 w 0"/>
                <a:gd name="connsiteY1" fmla="*/ 0 h 6246"/>
                <a:gd name="connsiteX2" fmla="*/ 2428 w 0"/>
                <a:gd name="connsiteY2" fmla="*/ 62 h 6246"/>
                <a:gd name="connsiteX3" fmla="*/ 4365 w 0"/>
                <a:gd name="connsiteY3" fmla="*/ 2811 h 6246"/>
                <a:gd name="connsiteX4" fmla="*/ 4802 w 0"/>
                <a:gd name="connsiteY4" fmla="*/ 7620 h 6246"/>
                <a:gd name="connsiteX5" fmla="*/ 3678 w 0"/>
                <a:gd name="connsiteY5" fmla="*/ 9619 h 6246"/>
                <a:gd name="connsiteX6" fmla="*/ 1617 w 0"/>
                <a:gd name="connsiteY6" fmla="*/ 7683 h 6246"/>
                <a:gd name="connsiteX7" fmla="*/ 492 w 0"/>
                <a:gd name="connsiteY7" fmla="*/ 5746 h 6246"/>
                <a:gd name="connsiteX8" fmla="*/ 492 w 0"/>
                <a:gd name="connsiteY8" fmla="*/ 381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h="6246">
                  <a:moveTo>
                    <a:pt x="492" y="3810"/>
                  </a:moveTo>
                  <a:cubicBezTo>
                    <a:pt x="3490" y="3123"/>
                    <a:pt x="1554" y="1374"/>
                    <a:pt x="1554" y="0"/>
                  </a:cubicBezTo>
                  <a:cubicBezTo>
                    <a:pt x="1866" y="0"/>
                    <a:pt x="2116" y="62"/>
                    <a:pt x="2428" y="62"/>
                  </a:cubicBezTo>
                  <a:cubicBezTo>
                    <a:pt x="4052" y="437"/>
                    <a:pt x="4740" y="1312"/>
                    <a:pt x="4365" y="2811"/>
                  </a:cubicBezTo>
                  <a:cubicBezTo>
                    <a:pt x="4365" y="4435"/>
                    <a:pt x="6801" y="5871"/>
                    <a:pt x="4802" y="7620"/>
                  </a:cubicBezTo>
                  <a:cubicBezTo>
                    <a:pt x="4427" y="8307"/>
                    <a:pt x="4052" y="8932"/>
                    <a:pt x="3678" y="9619"/>
                  </a:cubicBezTo>
                  <a:cubicBezTo>
                    <a:pt x="1679" y="10119"/>
                    <a:pt x="2491" y="8120"/>
                    <a:pt x="1617" y="7683"/>
                  </a:cubicBezTo>
                  <a:cubicBezTo>
                    <a:pt x="1242" y="7058"/>
                    <a:pt x="867" y="6371"/>
                    <a:pt x="492" y="5746"/>
                  </a:cubicBezTo>
                  <a:cubicBezTo>
                    <a:pt x="-195" y="5059"/>
                    <a:pt x="-132" y="4435"/>
                    <a:pt x="492" y="3810"/>
                  </a:cubicBezTo>
                  <a:close/>
                </a:path>
              </a:pathLst>
            </a:custGeom>
            <a:grpFill/>
            <a:ln w="6246" cap="flat">
              <a:noFill/>
              <a:prstDash val="solid"/>
              <a:miter/>
            </a:ln>
          </p:spPr>
          <p:txBody>
            <a:bodyPr rtlCol="0" anchor="ctr"/>
            <a:lstStyle/>
            <a:p>
              <a:endParaRPr lang="fr-FR" sz="2400"/>
            </a:p>
          </p:txBody>
        </p:sp>
        <p:sp>
          <p:nvSpPr>
            <p:cNvPr id="761" name="Freeform: Shape 760">
              <a:extLst>
                <a:ext uri="{FF2B5EF4-FFF2-40B4-BE49-F238E27FC236}">
                  <a16:creationId xmlns:a16="http://schemas.microsoft.com/office/drawing/2014/main" id="{B264EF0B-F9E9-4616-8EA8-22D6D265209E}"/>
                </a:ext>
              </a:extLst>
            </p:cNvPr>
            <p:cNvSpPr/>
            <p:nvPr/>
          </p:nvSpPr>
          <p:spPr>
            <a:xfrm>
              <a:off x="1312204" y="516736"/>
              <a:ext cx="6246" cy="6246"/>
            </a:xfrm>
            <a:custGeom>
              <a:avLst/>
              <a:gdLst>
                <a:gd name="connsiteX0" fmla="*/ 4247 w 0"/>
                <a:gd name="connsiteY0" fmla="*/ 2186 h 0"/>
                <a:gd name="connsiteX1" fmla="*/ 4247 w 0"/>
                <a:gd name="connsiteY1" fmla="*/ 4122 h 0"/>
                <a:gd name="connsiteX2" fmla="*/ 0 w 0"/>
                <a:gd name="connsiteY2" fmla="*/ 4122 h 0"/>
                <a:gd name="connsiteX3" fmla="*/ 625 w 0"/>
                <a:gd name="connsiteY3" fmla="*/ 0 h 0"/>
                <a:gd name="connsiteX4" fmla="*/ 4247 w 0"/>
                <a:gd name="connsiteY4" fmla="*/ 2186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4247" y="2186"/>
                  </a:moveTo>
                  <a:cubicBezTo>
                    <a:pt x="4247" y="2811"/>
                    <a:pt x="4247" y="3498"/>
                    <a:pt x="4247" y="4122"/>
                  </a:cubicBezTo>
                  <a:cubicBezTo>
                    <a:pt x="2811" y="3748"/>
                    <a:pt x="1374" y="8370"/>
                    <a:pt x="0" y="4122"/>
                  </a:cubicBezTo>
                  <a:cubicBezTo>
                    <a:pt x="2124" y="2998"/>
                    <a:pt x="-125" y="1312"/>
                    <a:pt x="625" y="0"/>
                  </a:cubicBezTo>
                  <a:cubicBezTo>
                    <a:pt x="2124" y="312"/>
                    <a:pt x="2374" y="2373"/>
                    <a:pt x="4247" y="2186"/>
                  </a:cubicBezTo>
                  <a:close/>
                </a:path>
              </a:pathLst>
            </a:custGeom>
            <a:grpFill/>
            <a:ln w="6246" cap="flat">
              <a:noFill/>
              <a:prstDash val="solid"/>
              <a:miter/>
            </a:ln>
          </p:spPr>
          <p:txBody>
            <a:bodyPr rtlCol="0" anchor="ctr"/>
            <a:lstStyle/>
            <a:p>
              <a:endParaRPr lang="fr-FR" sz="2400"/>
            </a:p>
          </p:txBody>
        </p:sp>
        <p:sp>
          <p:nvSpPr>
            <p:cNvPr id="762" name="Freeform: Shape 761">
              <a:extLst>
                <a:ext uri="{FF2B5EF4-FFF2-40B4-BE49-F238E27FC236}">
                  <a16:creationId xmlns:a16="http://schemas.microsoft.com/office/drawing/2014/main" id="{6E9BCC63-F131-46A3-BCCD-B45E62B87B56}"/>
                </a:ext>
              </a:extLst>
            </p:cNvPr>
            <p:cNvSpPr/>
            <p:nvPr/>
          </p:nvSpPr>
          <p:spPr>
            <a:xfrm>
              <a:off x="1304646" y="512176"/>
              <a:ext cx="6246" cy="6246"/>
            </a:xfrm>
            <a:custGeom>
              <a:avLst/>
              <a:gdLst>
                <a:gd name="connsiteX0" fmla="*/ 0 w 0"/>
                <a:gd name="connsiteY0" fmla="*/ 0 h 0"/>
                <a:gd name="connsiteX1" fmla="*/ 4310 w 0"/>
                <a:gd name="connsiteY1" fmla="*/ 4809 h 0"/>
                <a:gd name="connsiteX2" fmla="*/ 1062 w 0"/>
                <a:gd name="connsiteY2" fmla="*/ 2873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cubicBezTo>
                    <a:pt x="3185" y="312"/>
                    <a:pt x="3748" y="2561"/>
                    <a:pt x="4310" y="4809"/>
                  </a:cubicBezTo>
                  <a:cubicBezTo>
                    <a:pt x="2748" y="4809"/>
                    <a:pt x="1686" y="4185"/>
                    <a:pt x="1062" y="2873"/>
                  </a:cubicBezTo>
                  <a:cubicBezTo>
                    <a:pt x="749" y="1874"/>
                    <a:pt x="375" y="937"/>
                    <a:pt x="0" y="0"/>
                  </a:cubicBezTo>
                  <a:close/>
                </a:path>
              </a:pathLst>
            </a:custGeom>
            <a:grpFill/>
            <a:ln w="6246" cap="flat">
              <a:noFill/>
              <a:prstDash val="solid"/>
              <a:miter/>
            </a:ln>
          </p:spPr>
          <p:txBody>
            <a:bodyPr rtlCol="0" anchor="ctr"/>
            <a:lstStyle/>
            <a:p>
              <a:endParaRPr lang="fr-FR" sz="2400"/>
            </a:p>
          </p:txBody>
        </p:sp>
        <p:sp>
          <p:nvSpPr>
            <p:cNvPr id="763" name="Freeform: Shape 762">
              <a:extLst>
                <a:ext uri="{FF2B5EF4-FFF2-40B4-BE49-F238E27FC236}">
                  <a16:creationId xmlns:a16="http://schemas.microsoft.com/office/drawing/2014/main" id="{B32962AF-302E-4DAE-BF68-B7E6E274CA11}"/>
                </a:ext>
              </a:extLst>
            </p:cNvPr>
            <p:cNvSpPr/>
            <p:nvPr/>
          </p:nvSpPr>
          <p:spPr>
            <a:xfrm>
              <a:off x="1317393" y="522795"/>
              <a:ext cx="6246" cy="6246"/>
            </a:xfrm>
            <a:custGeom>
              <a:avLst/>
              <a:gdLst>
                <a:gd name="connsiteX0" fmla="*/ 120 w 0"/>
                <a:gd name="connsiteY0" fmla="*/ 0 h 0"/>
                <a:gd name="connsiteX1" fmla="*/ 2181 w 0"/>
                <a:gd name="connsiteY1" fmla="*/ 1936 h 0"/>
                <a:gd name="connsiteX2" fmla="*/ 2119 w 0"/>
                <a:gd name="connsiteY2" fmla="*/ 3873 h 0"/>
                <a:gd name="connsiteX3" fmla="*/ 12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120" y="0"/>
                  </a:moveTo>
                  <a:cubicBezTo>
                    <a:pt x="807" y="625"/>
                    <a:pt x="1494" y="1312"/>
                    <a:pt x="2181" y="1936"/>
                  </a:cubicBezTo>
                  <a:cubicBezTo>
                    <a:pt x="2181" y="2561"/>
                    <a:pt x="2119" y="3248"/>
                    <a:pt x="2119" y="3873"/>
                  </a:cubicBezTo>
                  <a:cubicBezTo>
                    <a:pt x="-1754" y="3935"/>
                    <a:pt x="1057" y="1187"/>
                    <a:pt x="120" y="0"/>
                  </a:cubicBezTo>
                  <a:close/>
                </a:path>
              </a:pathLst>
            </a:custGeom>
            <a:grpFill/>
            <a:ln w="6246" cap="flat">
              <a:noFill/>
              <a:prstDash val="solid"/>
              <a:miter/>
            </a:ln>
          </p:spPr>
          <p:txBody>
            <a:bodyPr rtlCol="0" anchor="ctr"/>
            <a:lstStyle/>
            <a:p>
              <a:endParaRPr lang="fr-FR" sz="2400"/>
            </a:p>
          </p:txBody>
        </p:sp>
        <p:sp>
          <p:nvSpPr>
            <p:cNvPr id="764" name="Freeform: Shape 763">
              <a:extLst>
                <a:ext uri="{FF2B5EF4-FFF2-40B4-BE49-F238E27FC236}">
                  <a16:creationId xmlns:a16="http://schemas.microsoft.com/office/drawing/2014/main" id="{D1DD17B8-7141-4945-93A5-892D00D29651}"/>
                </a:ext>
              </a:extLst>
            </p:cNvPr>
            <p:cNvSpPr/>
            <p:nvPr/>
          </p:nvSpPr>
          <p:spPr>
            <a:xfrm>
              <a:off x="1319761" y="517675"/>
              <a:ext cx="6246" cy="6246"/>
            </a:xfrm>
            <a:custGeom>
              <a:avLst/>
              <a:gdLst>
                <a:gd name="connsiteX0" fmla="*/ 937 w 0"/>
                <a:gd name="connsiteY0" fmla="*/ 5120 h 6246"/>
                <a:gd name="connsiteX1" fmla="*/ 0 w 0"/>
                <a:gd name="connsiteY1" fmla="*/ 60 h 6246"/>
                <a:gd name="connsiteX2" fmla="*/ 937 w 0"/>
                <a:gd name="connsiteY2" fmla="*/ 310 h 6246"/>
                <a:gd name="connsiteX3" fmla="*/ 2124 w 0"/>
                <a:gd name="connsiteY3" fmla="*/ 2122 h 6246"/>
                <a:gd name="connsiteX4" fmla="*/ 3248 w 0"/>
                <a:gd name="connsiteY4" fmla="*/ 3995 h 6246"/>
                <a:gd name="connsiteX5" fmla="*/ 4185 w 0"/>
                <a:gd name="connsiteY5" fmla="*/ 5994 h 6246"/>
                <a:gd name="connsiteX6" fmla="*/ 937 w 0"/>
                <a:gd name="connsiteY6" fmla="*/ 5120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h="6246">
                  <a:moveTo>
                    <a:pt x="937" y="5120"/>
                  </a:moveTo>
                  <a:cubicBezTo>
                    <a:pt x="625" y="3433"/>
                    <a:pt x="312" y="1747"/>
                    <a:pt x="0" y="60"/>
                  </a:cubicBezTo>
                  <a:cubicBezTo>
                    <a:pt x="375" y="-65"/>
                    <a:pt x="687" y="-2"/>
                    <a:pt x="937" y="310"/>
                  </a:cubicBezTo>
                  <a:cubicBezTo>
                    <a:pt x="1312" y="935"/>
                    <a:pt x="1749" y="1559"/>
                    <a:pt x="2124" y="2122"/>
                  </a:cubicBezTo>
                  <a:cubicBezTo>
                    <a:pt x="2811" y="2621"/>
                    <a:pt x="3560" y="3058"/>
                    <a:pt x="3248" y="3995"/>
                  </a:cubicBezTo>
                  <a:cubicBezTo>
                    <a:pt x="3560" y="4682"/>
                    <a:pt x="3873" y="5369"/>
                    <a:pt x="4185" y="5994"/>
                  </a:cubicBezTo>
                  <a:cubicBezTo>
                    <a:pt x="2561" y="7243"/>
                    <a:pt x="2186" y="5057"/>
                    <a:pt x="937" y="5120"/>
                  </a:cubicBezTo>
                  <a:close/>
                </a:path>
              </a:pathLst>
            </a:custGeom>
            <a:grpFill/>
            <a:ln w="6246" cap="flat">
              <a:noFill/>
              <a:prstDash val="solid"/>
              <a:miter/>
            </a:ln>
          </p:spPr>
          <p:txBody>
            <a:bodyPr rtlCol="0" anchor="ctr"/>
            <a:lstStyle/>
            <a:p>
              <a:endParaRPr lang="fr-FR" sz="2400"/>
            </a:p>
          </p:txBody>
        </p:sp>
        <p:sp>
          <p:nvSpPr>
            <p:cNvPr id="765" name="Freeform: Shape 764">
              <a:extLst>
                <a:ext uri="{FF2B5EF4-FFF2-40B4-BE49-F238E27FC236}">
                  <a16:creationId xmlns:a16="http://schemas.microsoft.com/office/drawing/2014/main" id="{E9C2D915-573E-403C-AF3A-1A2B8AA03F47}"/>
                </a:ext>
              </a:extLst>
            </p:cNvPr>
            <p:cNvSpPr/>
            <p:nvPr/>
          </p:nvSpPr>
          <p:spPr>
            <a:xfrm>
              <a:off x="1321885" y="517923"/>
              <a:ext cx="6246" cy="6246"/>
            </a:xfrm>
            <a:custGeom>
              <a:avLst/>
              <a:gdLst>
                <a:gd name="connsiteX0" fmla="*/ 1124 w 0"/>
                <a:gd name="connsiteY0" fmla="*/ 3748 h 0"/>
                <a:gd name="connsiteX1" fmla="*/ 0 w 0"/>
                <a:gd name="connsiteY1" fmla="*/ 1874 h 0"/>
                <a:gd name="connsiteX2" fmla="*/ 1062 w 0"/>
                <a:gd name="connsiteY2" fmla="*/ 0 h 0"/>
                <a:gd name="connsiteX3" fmla="*/ 1124 w 0"/>
                <a:gd name="connsiteY3" fmla="*/ 3748 h 0"/>
              </a:gdLst>
              <a:ahLst/>
              <a:cxnLst>
                <a:cxn ang="0">
                  <a:pos x="connsiteX0" y="connsiteY0"/>
                </a:cxn>
                <a:cxn ang="0">
                  <a:pos x="connsiteX1" y="connsiteY1"/>
                </a:cxn>
                <a:cxn ang="0">
                  <a:pos x="connsiteX2" y="connsiteY2"/>
                </a:cxn>
                <a:cxn ang="0">
                  <a:pos x="connsiteX3" y="connsiteY3"/>
                </a:cxn>
              </a:cxnLst>
              <a:rect l="l" t="t" r="r" b="b"/>
              <a:pathLst>
                <a:path>
                  <a:moveTo>
                    <a:pt x="1124" y="3748"/>
                  </a:moveTo>
                  <a:cubicBezTo>
                    <a:pt x="750" y="3123"/>
                    <a:pt x="375" y="2498"/>
                    <a:pt x="0" y="1874"/>
                  </a:cubicBezTo>
                  <a:cubicBezTo>
                    <a:pt x="375" y="1249"/>
                    <a:pt x="687" y="625"/>
                    <a:pt x="1062" y="0"/>
                  </a:cubicBezTo>
                  <a:cubicBezTo>
                    <a:pt x="2311" y="1249"/>
                    <a:pt x="2436" y="2498"/>
                    <a:pt x="1124" y="3748"/>
                  </a:cubicBezTo>
                  <a:close/>
                </a:path>
              </a:pathLst>
            </a:custGeom>
            <a:grpFill/>
            <a:ln w="6246" cap="flat">
              <a:noFill/>
              <a:prstDash val="solid"/>
              <a:miter/>
            </a:ln>
          </p:spPr>
          <p:txBody>
            <a:bodyPr rtlCol="0" anchor="ctr"/>
            <a:lstStyle/>
            <a:p>
              <a:endParaRPr lang="fr-FR" sz="2400"/>
            </a:p>
          </p:txBody>
        </p:sp>
        <p:sp>
          <p:nvSpPr>
            <p:cNvPr id="766" name="Freeform: Shape 765">
              <a:extLst>
                <a:ext uri="{FF2B5EF4-FFF2-40B4-BE49-F238E27FC236}">
                  <a16:creationId xmlns:a16="http://schemas.microsoft.com/office/drawing/2014/main" id="{7A285AFD-9A52-4AA1-A4F9-96BC5515A801}"/>
                </a:ext>
              </a:extLst>
            </p:cNvPr>
            <p:cNvSpPr/>
            <p:nvPr/>
          </p:nvSpPr>
          <p:spPr>
            <a:xfrm>
              <a:off x="1318105" y="512176"/>
              <a:ext cx="6246" cy="6246"/>
            </a:xfrm>
            <a:custGeom>
              <a:avLst/>
              <a:gdLst>
                <a:gd name="connsiteX0" fmla="*/ 2594 w 0"/>
                <a:gd name="connsiteY0" fmla="*/ 5809 h 0"/>
                <a:gd name="connsiteX1" fmla="*/ 1657 w 0"/>
                <a:gd name="connsiteY1" fmla="*/ 5559 h 0"/>
                <a:gd name="connsiteX2" fmla="*/ 220 w 0"/>
                <a:gd name="connsiteY2" fmla="*/ 3061 h 0"/>
                <a:gd name="connsiteX3" fmla="*/ 470 w 0"/>
                <a:gd name="connsiteY3" fmla="*/ 0 h 0"/>
                <a:gd name="connsiteX4" fmla="*/ 3655 w 0"/>
                <a:gd name="connsiteY4" fmla="*/ 1999 h 0"/>
                <a:gd name="connsiteX5" fmla="*/ 2594 w 0"/>
                <a:gd name="connsiteY5" fmla="*/ 5809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2594" y="5809"/>
                  </a:moveTo>
                  <a:cubicBezTo>
                    <a:pt x="2281" y="5684"/>
                    <a:pt x="1969" y="5621"/>
                    <a:pt x="1657" y="5559"/>
                  </a:cubicBezTo>
                  <a:cubicBezTo>
                    <a:pt x="1157" y="4747"/>
                    <a:pt x="720" y="3873"/>
                    <a:pt x="220" y="3061"/>
                  </a:cubicBezTo>
                  <a:cubicBezTo>
                    <a:pt x="2344" y="2186"/>
                    <a:pt x="-1217" y="937"/>
                    <a:pt x="470" y="0"/>
                  </a:cubicBezTo>
                  <a:cubicBezTo>
                    <a:pt x="1532" y="687"/>
                    <a:pt x="2594" y="1312"/>
                    <a:pt x="3655" y="1999"/>
                  </a:cubicBezTo>
                  <a:cubicBezTo>
                    <a:pt x="3593" y="3310"/>
                    <a:pt x="4155" y="4747"/>
                    <a:pt x="2594" y="5809"/>
                  </a:cubicBezTo>
                  <a:close/>
                </a:path>
              </a:pathLst>
            </a:custGeom>
            <a:grpFill/>
            <a:ln w="6246" cap="flat">
              <a:noFill/>
              <a:prstDash val="solid"/>
              <a:miter/>
            </a:ln>
          </p:spPr>
          <p:txBody>
            <a:bodyPr rtlCol="0" anchor="ctr"/>
            <a:lstStyle/>
            <a:p>
              <a:endParaRPr lang="fr-FR" sz="2400"/>
            </a:p>
          </p:txBody>
        </p:sp>
        <p:sp>
          <p:nvSpPr>
            <p:cNvPr id="767" name="Freeform: Shape 766">
              <a:extLst>
                <a:ext uri="{FF2B5EF4-FFF2-40B4-BE49-F238E27FC236}">
                  <a16:creationId xmlns:a16="http://schemas.microsoft.com/office/drawing/2014/main" id="{33CE7EF5-DD9A-4C6F-87E3-774BC4DABC67}"/>
                </a:ext>
              </a:extLst>
            </p:cNvPr>
            <p:cNvSpPr/>
            <p:nvPr/>
          </p:nvSpPr>
          <p:spPr>
            <a:xfrm>
              <a:off x="1298053" y="500621"/>
              <a:ext cx="6246" cy="6246"/>
            </a:xfrm>
            <a:custGeom>
              <a:avLst/>
              <a:gdLst>
                <a:gd name="connsiteX0" fmla="*/ 3407 w 0"/>
                <a:gd name="connsiteY0" fmla="*/ 1874 h 0"/>
                <a:gd name="connsiteX1" fmla="*/ 2345 w 0"/>
                <a:gd name="connsiteY1" fmla="*/ 3748 h 0"/>
                <a:gd name="connsiteX2" fmla="*/ 159 w 0"/>
                <a:gd name="connsiteY2" fmla="*/ 999 h 0"/>
                <a:gd name="connsiteX3" fmla="*/ 1221 w 0"/>
                <a:gd name="connsiteY3" fmla="*/ 0 h 0"/>
                <a:gd name="connsiteX4" fmla="*/ 3407 w 0"/>
                <a:gd name="connsiteY4" fmla="*/ 1874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a:moveTo>
                    <a:pt x="3407" y="1874"/>
                  </a:moveTo>
                  <a:cubicBezTo>
                    <a:pt x="2595" y="2311"/>
                    <a:pt x="2345" y="2998"/>
                    <a:pt x="2345" y="3748"/>
                  </a:cubicBezTo>
                  <a:cubicBezTo>
                    <a:pt x="-91" y="3935"/>
                    <a:pt x="-216" y="2623"/>
                    <a:pt x="159" y="999"/>
                  </a:cubicBezTo>
                  <a:cubicBezTo>
                    <a:pt x="534" y="687"/>
                    <a:pt x="846" y="312"/>
                    <a:pt x="1221" y="0"/>
                  </a:cubicBezTo>
                  <a:cubicBezTo>
                    <a:pt x="1971" y="562"/>
                    <a:pt x="2720" y="1187"/>
                    <a:pt x="3407" y="1874"/>
                  </a:cubicBezTo>
                  <a:close/>
                </a:path>
              </a:pathLst>
            </a:custGeom>
            <a:grpFill/>
            <a:ln w="6246" cap="flat">
              <a:noFill/>
              <a:prstDash val="solid"/>
              <a:miter/>
            </a:ln>
          </p:spPr>
          <p:txBody>
            <a:bodyPr rtlCol="0" anchor="ctr"/>
            <a:lstStyle/>
            <a:p>
              <a:endParaRPr lang="fr-FR" sz="2400"/>
            </a:p>
          </p:txBody>
        </p:sp>
        <p:sp>
          <p:nvSpPr>
            <p:cNvPr id="768" name="Freeform: Shape 767">
              <a:extLst>
                <a:ext uri="{FF2B5EF4-FFF2-40B4-BE49-F238E27FC236}">
                  <a16:creationId xmlns:a16="http://schemas.microsoft.com/office/drawing/2014/main" id="{6E1C15CA-1319-49E0-A85A-6E4F53E025C1}"/>
                </a:ext>
              </a:extLst>
            </p:cNvPr>
            <p:cNvSpPr/>
            <p:nvPr/>
          </p:nvSpPr>
          <p:spPr>
            <a:xfrm>
              <a:off x="1274727" y="451180"/>
              <a:ext cx="12492" cy="6246"/>
            </a:xfrm>
            <a:custGeom>
              <a:avLst/>
              <a:gdLst>
                <a:gd name="connsiteX0" fmla="*/ 16052 w 12492"/>
                <a:gd name="connsiteY0" fmla="*/ 910 h 0"/>
                <a:gd name="connsiteX1" fmla="*/ 14928 w 12492"/>
                <a:gd name="connsiteY1" fmla="*/ 1159 h 0"/>
                <a:gd name="connsiteX2" fmla="*/ 8557 w 12492"/>
                <a:gd name="connsiteY2" fmla="*/ 1159 h 0"/>
                <a:gd name="connsiteX3" fmla="*/ 3248 w 12492"/>
                <a:gd name="connsiteY3" fmla="*/ 2034 h 0"/>
                <a:gd name="connsiteX4" fmla="*/ 0 w 12492"/>
                <a:gd name="connsiteY4" fmla="*/ 910 h 0"/>
                <a:gd name="connsiteX5" fmla="*/ 14991 w 12492"/>
                <a:gd name="connsiteY5" fmla="*/ 98 h 0"/>
                <a:gd name="connsiteX6" fmla="*/ 16052 w 12492"/>
                <a:gd name="connsiteY6" fmla="*/ 91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2">
                  <a:moveTo>
                    <a:pt x="16052" y="910"/>
                  </a:moveTo>
                  <a:cubicBezTo>
                    <a:pt x="15678" y="972"/>
                    <a:pt x="15303" y="1035"/>
                    <a:pt x="14928" y="1159"/>
                  </a:cubicBezTo>
                  <a:cubicBezTo>
                    <a:pt x="12804" y="1159"/>
                    <a:pt x="10681" y="1159"/>
                    <a:pt x="8557" y="1159"/>
                  </a:cubicBezTo>
                  <a:cubicBezTo>
                    <a:pt x="6933" y="2159"/>
                    <a:pt x="5059" y="2034"/>
                    <a:pt x="3248" y="2034"/>
                  </a:cubicBezTo>
                  <a:cubicBezTo>
                    <a:pt x="1999" y="1971"/>
                    <a:pt x="749" y="2034"/>
                    <a:pt x="0" y="910"/>
                  </a:cubicBezTo>
                  <a:cubicBezTo>
                    <a:pt x="4934" y="-777"/>
                    <a:pt x="9994" y="472"/>
                    <a:pt x="14991" y="98"/>
                  </a:cubicBezTo>
                  <a:cubicBezTo>
                    <a:pt x="15365" y="285"/>
                    <a:pt x="15678" y="597"/>
                    <a:pt x="16052" y="910"/>
                  </a:cubicBezTo>
                  <a:close/>
                </a:path>
              </a:pathLst>
            </a:custGeom>
            <a:grpFill/>
            <a:ln w="6246" cap="flat">
              <a:noFill/>
              <a:prstDash val="solid"/>
              <a:miter/>
            </a:ln>
          </p:spPr>
          <p:txBody>
            <a:bodyPr rtlCol="0" anchor="ctr"/>
            <a:lstStyle/>
            <a:p>
              <a:endParaRPr lang="fr-FR" sz="2400"/>
            </a:p>
          </p:txBody>
        </p:sp>
        <p:sp>
          <p:nvSpPr>
            <p:cNvPr id="769" name="Freeform: Shape 768">
              <a:extLst>
                <a:ext uri="{FF2B5EF4-FFF2-40B4-BE49-F238E27FC236}">
                  <a16:creationId xmlns:a16="http://schemas.microsoft.com/office/drawing/2014/main" id="{A85959E7-C4DE-4B2B-AED9-B04DB32E2C02}"/>
                </a:ext>
              </a:extLst>
            </p:cNvPr>
            <p:cNvSpPr/>
            <p:nvPr/>
          </p:nvSpPr>
          <p:spPr>
            <a:xfrm>
              <a:off x="1258675" y="453963"/>
              <a:ext cx="6246" cy="6246"/>
            </a:xfrm>
            <a:custGeom>
              <a:avLst/>
              <a:gdLst>
                <a:gd name="connsiteX0" fmla="*/ 1062 w 6246"/>
                <a:gd name="connsiteY0" fmla="*/ 3061 h 0"/>
                <a:gd name="connsiteX1" fmla="*/ 0 w 6246"/>
                <a:gd name="connsiteY1" fmla="*/ 2061 h 0"/>
                <a:gd name="connsiteX2" fmla="*/ 2124 w 6246"/>
                <a:gd name="connsiteY2" fmla="*/ 937 h 0"/>
                <a:gd name="connsiteX3" fmla="*/ 8495 w 6246"/>
                <a:gd name="connsiteY3" fmla="*/ 0 h 0"/>
                <a:gd name="connsiteX4" fmla="*/ 8620 w 6246"/>
                <a:gd name="connsiteY4" fmla="*/ 1374 h 0"/>
                <a:gd name="connsiteX5" fmla="*/ 1062 w 6246"/>
                <a:gd name="connsiteY5" fmla="*/ 306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1062" y="3061"/>
                  </a:moveTo>
                  <a:cubicBezTo>
                    <a:pt x="687" y="2748"/>
                    <a:pt x="375" y="2436"/>
                    <a:pt x="0" y="2061"/>
                  </a:cubicBezTo>
                  <a:cubicBezTo>
                    <a:pt x="687" y="1686"/>
                    <a:pt x="1437" y="1312"/>
                    <a:pt x="2124" y="937"/>
                  </a:cubicBezTo>
                  <a:cubicBezTo>
                    <a:pt x="4247" y="625"/>
                    <a:pt x="6371" y="312"/>
                    <a:pt x="8495" y="0"/>
                  </a:cubicBezTo>
                  <a:cubicBezTo>
                    <a:pt x="8869" y="437"/>
                    <a:pt x="8932" y="937"/>
                    <a:pt x="8620" y="1374"/>
                  </a:cubicBezTo>
                  <a:cubicBezTo>
                    <a:pt x="6433" y="3186"/>
                    <a:pt x="4060" y="4435"/>
                    <a:pt x="1062" y="3061"/>
                  </a:cubicBezTo>
                  <a:close/>
                </a:path>
              </a:pathLst>
            </a:custGeom>
            <a:grpFill/>
            <a:ln w="6246" cap="flat">
              <a:noFill/>
              <a:prstDash val="solid"/>
              <a:miter/>
            </a:ln>
          </p:spPr>
          <p:txBody>
            <a:bodyPr rtlCol="0" anchor="ctr"/>
            <a:lstStyle/>
            <a:p>
              <a:endParaRPr lang="fr-FR" sz="2400"/>
            </a:p>
          </p:txBody>
        </p:sp>
        <p:sp>
          <p:nvSpPr>
            <p:cNvPr id="770" name="Freeform: Shape 769">
              <a:extLst>
                <a:ext uri="{FF2B5EF4-FFF2-40B4-BE49-F238E27FC236}">
                  <a16:creationId xmlns:a16="http://schemas.microsoft.com/office/drawing/2014/main" id="{D7BE002D-4772-4BCA-A54D-CBF50280D121}"/>
                </a:ext>
              </a:extLst>
            </p:cNvPr>
            <p:cNvSpPr/>
            <p:nvPr/>
          </p:nvSpPr>
          <p:spPr>
            <a:xfrm>
              <a:off x="1271354" y="452027"/>
              <a:ext cx="6246" cy="6246"/>
            </a:xfrm>
            <a:custGeom>
              <a:avLst/>
              <a:gdLst>
                <a:gd name="connsiteX0" fmla="*/ 3310 w 6246"/>
                <a:gd name="connsiteY0" fmla="*/ 0 h 0"/>
                <a:gd name="connsiteX1" fmla="*/ 6558 w 6246"/>
                <a:gd name="connsiteY1" fmla="*/ 250 h 0"/>
                <a:gd name="connsiteX2" fmla="*/ 5559 w 6246"/>
                <a:gd name="connsiteY2" fmla="*/ 2061 h 0"/>
                <a:gd name="connsiteX3" fmla="*/ 1249 w 6246"/>
                <a:gd name="connsiteY3" fmla="*/ 2124 h 0"/>
                <a:gd name="connsiteX4" fmla="*/ 0 w 6246"/>
                <a:gd name="connsiteY4" fmla="*/ 1062 h 0"/>
                <a:gd name="connsiteX5" fmla="*/ 3310 w 6246"/>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6">
                  <a:moveTo>
                    <a:pt x="3310" y="0"/>
                  </a:moveTo>
                  <a:cubicBezTo>
                    <a:pt x="4372" y="62"/>
                    <a:pt x="5496" y="187"/>
                    <a:pt x="6558" y="250"/>
                  </a:cubicBezTo>
                  <a:cubicBezTo>
                    <a:pt x="7183" y="1312"/>
                    <a:pt x="6121" y="1562"/>
                    <a:pt x="5559" y="2061"/>
                  </a:cubicBezTo>
                  <a:cubicBezTo>
                    <a:pt x="4122" y="2061"/>
                    <a:pt x="2686" y="2124"/>
                    <a:pt x="1249" y="2124"/>
                  </a:cubicBezTo>
                  <a:cubicBezTo>
                    <a:pt x="562" y="1999"/>
                    <a:pt x="125" y="1686"/>
                    <a:pt x="0" y="1062"/>
                  </a:cubicBezTo>
                  <a:cubicBezTo>
                    <a:pt x="1062" y="687"/>
                    <a:pt x="2186" y="312"/>
                    <a:pt x="3310" y="0"/>
                  </a:cubicBezTo>
                  <a:close/>
                </a:path>
              </a:pathLst>
            </a:custGeom>
            <a:grpFill/>
            <a:ln w="6246" cap="flat">
              <a:noFill/>
              <a:prstDash val="solid"/>
              <a:miter/>
            </a:ln>
          </p:spPr>
          <p:txBody>
            <a:bodyPr rtlCol="0" anchor="ctr"/>
            <a:lstStyle/>
            <a:p>
              <a:endParaRPr lang="fr-FR" sz="2400"/>
            </a:p>
          </p:txBody>
        </p:sp>
        <p:sp>
          <p:nvSpPr>
            <p:cNvPr id="771" name="Freeform: Shape 770">
              <a:extLst>
                <a:ext uri="{FF2B5EF4-FFF2-40B4-BE49-F238E27FC236}">
                  <a16:creationId xmlns:a16="http://schemas.microsoft.com/office/drawing/2014/main" id="{49BE745B-7CB3-419E-AC24-A15ECA980A10}"/>
                </a:ext>
              </a:extLst>
            </p:cNvPr>
            <p:cNvSpPr/>
            <p:nvPr/>
          </p:nvSpPr>
          <p:spPr>
            <a:xfrm>
              <a:off x="1267107" y="453089"/>
              <a:ext cx="6246" cy="6246"/>
            </a:xfrm>
            <a:custGeom>
              <a:avLst/>
              <a:gdLst>
                <a:gd name="connsiteX0" fmla="*/ 4247 w 0"/>
                <a:gd name="connsiteY0" fmla="*/ 0 h 0"/>
                <a:gd name="connsiteX1" fmla="*/ 5497 w 0"/>
                <a:gd name="connsiteY1" fmla="*/ 1062 h 0"/>
                <a:gd name="connsiteX2" fmla="*/ 5434 w 0"/>
                <a:gd name="connsiteY2" fmla="*/ 1936 h 0"/>
                <a:gd name="connsiteX3" fmla="*/ 125 w 0"/>
                <a:gd name="connsiteY3" fmla="*/ 1936 h 0"/>
                <a:gd name="connsiteX4" fmla="*/ 0 w 0"/>
                <a:gd name="connsiteY4" fmla="*/ 937 h 0"/>
                <a:gd name="connsiteX5" fmla="*/ 4247 w 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a:moveTo>
                    <a:pt x="4247" y="0"/>
                  </a:moveTo>
                  <a:cubicBezTo>
                    <a:pt x="4685" y="375"/>
                    <a:pt x="5122" y="750"/>
                    <a:pt x="5497" y="1062"/>
                  </a:cubicBezTo>
                  <a:cubicBezTo>
                    <a:pt x="5497" y="1374"/>
                    <a:pt x="5434" y="1624"/>
                    <a:pt x="5434" y="1936"/>
                  </a:cubicBezTo>
                  <a:cubicBezTo>
                    <a:pt x="3685" y="3248"/>
                    <a:pt x="1936" y="3560"/>
                    <a:pt x="125" y="1936"/>
                  </a:cubicBezTo>
                  <a:cubicBezTo>
                    <a:pt x="63" y="1624"/>
                    <a:pt x="63" y="1249"/>
                    <a:pt x="0" y="937"/>
                  </a:cubicBezTo>
                  <a:cubicBezTo>
                    <a:pt x="1187" y="-312"/>
                    <a:pt x="2811" y="125"/>
                    <a:pt x="4247" y="0"/>
                  </a:cubicBezTo>
                  <a:close/>
                </a:path>
              </a:pathLst>
            </a:custGeom>
            <a:grpFill/>
            <a:ln w="6246" cap="flat">
              <a:noFill/>
              <a:prstDash val="solid"/>
              <a:miter/>
            </a:ln>
          </p:spPr>
          <p:txBody>
            <a:bodyPr rtlCol="0" anchor="ctr"/>
            <a:lstStyle/>
            <a:p>
              <a:endParaRPr lang="fr-FR" sz="2400"/>
            </a:p>
          </p:txBody>
        </p:sp>
        <p:sp>
          <p:nvSpPr>
            <p:cNvPr id="772" name="Freeform: Shape 771">
              <a:extLst>
                <a:ext uri="{FF2B5EF4-FFF2-40B4-BE49-F238E27FC236}">
                  <a16:creationId xmlns:a16="http://schemas.microsoft.com/office/drawing/2014/main" id="{CE7BE63F-54A5-4365-9E79-6BA082592153}"/>
                </a:ext>
              </a:extLst>
            </p:cNvPr>
            <p:cNvSpPr/>
            <p:nvPr/>
          </p:nvSpPr>
          <p:spPr>
            <a:xfrm>
              <a:off x="1259799" y="455025"/>
              <a:ext cx="12492" cy="6246"/>
            </a:xfrm>
            <a:custGeom>
              <a:avLst/>
              <a:gdLst>
                <a:gd name="connsiteX0" fmla="*/ 7495 w 12492"/>
                <a:gd name="connsiteY0" fmla="*/ 0 h 0"/>
                <a:gd name="connsiteX1" fmla="*/ 12804 w 12492"/>
                <a:gd name="connsiteY1" fmla="*/ 0 h 0"/>
                <a:gd name="connsiteX2" fmla="*/ 12867 w 12492"/>
                <a:gd name="connsiteY2" fmla="*/ 1936 h 0"/>
                <a:gd name="connsiteX3" fmla="*/ 8557 w 12492"/>
                <a:gd name="connsiteY3" fmla="*/ 2998 h 0"/>
                <a:gd name="connsiteX4" fmla="*/ 1124 w 12492"/>
                <a:gd name="connsiteY4" fmla="*/ 3997 h 0"/>
                <a:gd name="connsiteX5" fmla="*/ 0 w 12492"/>
                <a:gd name="connsiteY5" fmla="*/ 2936 h 0"/>
                <a:gd name="connsiteX6" fmla="*/ 0 w 12492"/>
                <a:gd name="connsiteY6" fmla="*/ 1999 h 0"/>
                <a:gd name="connsiteX7" fmla="*/ 7495 w 12492"/>
                <a:gd name="connsiteY7"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92">
                  <a:moveTo>
                    <a:pt x="7495" y="0"/>
                  </a:moveTo>
                  <a:cubicBezTo>
                    <a:pt x="9244" y="0"/>
                    <a:pt x="10993" y="0"/>
                    <a:pt x="12804" y="0"/>
                  </a:cubicBezTo>
                  <a:cubicBezTo>
                    <a:pt x="12804" y="625"/>
                    <a:pt x="12867" y="1312"/>
                    <a:pt x="12867" y="1936"/>
                  </a:cubicBezTo>
                  <a:cubicBezTo>
                    <a:pt x="11680" y="3186"/>
                    <a:pt x="9744" y="1874"/>
                    <a:pt x="8557" y="2998"/>
                  </a:cubicBezTo>
                  <a:cubicBezTo>
                    <a:pt x="6059" y="3310"/>
                    <a:pt x="3623" y="3685"/>
                    <a:pt x="1124" y="3997"/>
                  </a:cubicBezTo>
                  <a:cubicBezTo>
                    <a:pt x="749" y="3623"/>
                    <a:pt x="375" y="3310"/>
                    <a:pt x="0" y="2936"/>
                  </a:cubicBezTo>
                  <a:cubicBezTo>
                    <a:pt x="0" y="2623"/>
                    <a:pt x="0" y="2311"/>
                    <a:pt x="0" y="1999"/>
                  </a:cubicBezTo>
                  <a:cubicBezTo>
                    <a:pt x="2436" y="1374"/>
                    <a:pt x="4997" y="687"/>
                    <a:pt x="7495" y="0"/>
                  </a:cubicBezTo>
                  <a:close/>
                </a:path>
              </a:pathLst>
            </a:custGeom>
            <a:grpFill/>
            <a:ln w="6246" cap="flat">
              <a:noFill/>
              <a:prstDash val="solid"/>
              <a:miter/>
            </a:ln>
          </p:spPr>
          <p:txBody>
            <a:bodyPr rtlCol="0" anchor="ctr"/>
            <a:lstStyle/>
            <a:p>
              <a:endParaRPr lang="fr-FR" sz="2400"/>
            </a:p>
          </p:txBody>
        </p:sp>
        <p:sp>
          <p:nvSpPr>
            <p:cNvPr id="773" name="Freeform: Shape 772">
              <a:extLst>
                <a:ext uri="{FF2B5EF4-FFF2-40B4-BE49-F238E27FC236}">
                  <a16:creationId xmlns:a16="http://schemas.microsoft.com/office/drawing/2014/main" id="{E17521FD-59BB-4CF6-9FB4-E105CE0E2A86}"/>
                </a:ext>
              </a:extLst>
            </p:cNvPr>
            <p:cNvSpPr/>
            <p:nvPr/>
          </p:nvSpPr>
          <p:spPr>
            <a:xfrm>
              <a:off x="1257613" y="464761"/>
              <a:ext cx="6246" cy="6246"/>
            </a:xfrm>
            <a:custGeom>
              <a:avLst/>
              <a:gdLst>
                <a:gd name="connsiteX0" fmla="*/ 0 w 0"/>
                <a:gd name="connsiteY0" fmla="*/ 1944 h 0"/>
                <a:gd name="connsiteX1" fmla="*/ 4310 w 0"/>
                <a:gd name="connsiteY1" fmla="*/ 7 h 0"/>
                <a:gd name="connsiteX2" fmla="*/ 0 w 0"/>
                <a:gd name="connsiteY2" fmla="*/ 1944 h 0"/>
              </a:gdLst>
              <a:ahLst/>
              <a:cxnLst>
                <a:cxn ang="0">
                  <a:pos x="connsiteX0" y="connsiteY0"/>
                </a:cxn>
                <a:cxn ang="0">
                  <a:pos x="connsiteX1" y="connsiteY1"/>
                </a:cxn>
                <a:cxn ang="0">
                  <a:pos x="connsiteX2" y="connsiteY2"/>
                </a:cxn>
              </a:cxnLst>
              <a:rect l="l" t="t" r="r" b="b"/>
              <a:pathLst>
                <a:path>
                  <a:moveTo>
                    <a:pt x="0" y="1944"/>
                  </a:moveTo>
                  <a:cubicBezTo>
                    <a:pt x="1437" y="1381"/>
                    <a:pt x="2436" y="-118"/>
                    <a:pt x="4310" y="7"/>
                  </a:cubicBezTo>
                  <a:cubicBezTo>
                    <a:pt x="3123" y="1132"/>
                    <a:pt x="2686" y="3568"/>
                    <a:pt x="0" y="1944"/>
                  </a:cubicBezTo>
                  <a:close/>
                </a:path>
              </a:pathLst>
            </a:custGeom>
            <a:grpFill/>
            <a:ln w="6246" cap="flat">
              <a:noFill/>
              <a:prstDash val="solid"/>
              <a:miter/>
            </a:ln>
          </p:spPr>
          <p:txBody>
            <a:bodyPr rtlCol="0" anchor="ctr"/>
            <a:lstStyle/>
            <a:p>
              <a:endParaRPr lang="fr-FR" sz="2400"/>
            </a:p>
          </p:txBody>
        </p:sp>
        <p:sp>
          <p:nvSpPr>
            <p:cNvPr id="774" name="Freeform: Shape 773">
              <a:extLst>
                <a:ext uri="{FF2B5EF4-FFF2-40B4-BE49-F238E27FC236}">
                  <a16:creationId xmlns:a16="http://schemas.microsoft.com/office/drawing/2014/main" id="{63A31215-0F37-4FDF-A70A-53E7062EB470}"/>
                </a:ext>
              </a:extLst>
            </p:cNvPr>
            <p:cNvSpPr/>
            <p:nvPr/>
          </p:nvSpPr>
          <p:spPr>
            <a:xfrm>
              <a:off x="1268294" y="456899"/>
              <a:ext cx="6246" cy="6246"/>
            </a:xfrm>
            <a:custGeom>
              <a:avLst/>
              <a:gdLst>
                <a:gd name="connsiteX0" fmla="*/ 0 w 0"/>
                <a:gd name="connsiteY0" fmla="*/ 1062 h 0"/>
                <a:gd name="connsiteX1" fmla="*/ 4310 w 0"/>
                <a:gd name="connsiteY1" fmla="*/ 0 h 0"/>
                <a:gd name="connsiteX2" fmla="*/ 5372 w 0"/>
                <a:gd name="connsiteY2" fmla="*/ 187 h 0"/>
                <a:gd name="connsiteX3" fmla="*/ 0 w 0"/>
                <a:gd name="connsiteY3" fmla="*/ 1062 h 0"/>
              </a:gdLst>
              <a:ahLst/>
              <a:cxnLst>
                <a:cxn ang="0">
                  <a:pos x="connsiteX0" y="connsiteY0"/>
                </a:cxn>
                <a:cxn ang="0">
                  <a:pos x="connsiteX1" y="connsiteY1"/>
                </a:cxn>
                <a:cxn ang="0">
                  <a:pos x="connsiteX2" y="connsiteY2"/>
                </a:cxn>
                <a:cxn ang="0">
                  <a:pos x="connsiteX3" y="connsiteY3"/>
                </a:cxn>
              </a:cxnLst>
              <a:rect l="l" t="t" r="r" b="b"/>
              <a:pathLst>
                <a:path>
                  <a:moveTo>
                    <a:pt x="0" y="1062"/>
                  </a:moveTo>
                  <a:cubicBezTo>
                    <a:pt x="1124" y="-250"/>
                    <a:pt x="2873" y="250"/>
                    <a:pt x="4310" y="0"/>
                  </a:cubicBezTo>
                  <a:cubicBezTo>
                    <a:pt x="4685" y="62"/>
                    <a:pt x="4997" y="125"/>
                    <a:pt x="5372" y="187"/>
                  </a:cubicBezTo>
                  <a:cubicBezTo>
                    <a:pt x="3748" y="1624"/>
                    <a:pt x="1811" y="937"/>
                    <a:pt x="0" y="1062"/>
                  </a:cubicBezTo>
                  <a:close/>
                </a:path>
              </a:pathLst>
            </a:custGeom>
            <a:grpFill/>
            <a:ln w="6246" cap="flat">
              <a:noFill/>
              <a:prstDash val="solid"/>
              <a:miter/>
            </a:ln>
          </p:spPr>
          <p:txBody>
            <a:bodyPr rtlCol="0" anchor="ctr"/>
            <a:lstStyle/>
            <a:p>
              <a:endParaRPr lang="fr-FR" sz="2400"/>
            </a:p>
          </p:txBody>
        </p:sp>
        <p:sp>
          <p:nvSpPr>
            <p:cNvPr id="775" name="Freeform: Shape 774">
              <a:extLst>
                <a:ext uri="{FF2B5EF4-FFF2-40B4-BE49-F238E27FC236}">
                  <a16:creationId xmlns:a16="http://schemas.microsoft.com/office/drawing/2014/main" id="{CD661103-CB3D-4294-9EB2-4A37C2816126}"/>
                </a:ext>
              </a:extLst>
            </p:cNvPr>
            <p:cNvSpPr/>
            <p:nvPr/>
          </p:nvSpPr>
          <p:spPr>
            <a:xfrm>
              <a:off x="1280036" y="455075"/>
              <a:ext cx="6246" cy="6246"/>
            </a:xfrm>
            <a:custGeom>
              <a:avLst/>
              <a:gdLst>
                <a:gd name="connsiteX0" fmla="*/ 0 w 0"/>
                <a:gd name="connsiteY0" fmla="*/ 949 h 0"/>
                <a:gd name="connsiteX1" fmla="*/ 5372 w 0"/>
                <a:gd name="connsiteY1" fmla="*/ 12 h 0"/>
                <a:gd name="connsiteX2" fmla="*/ 0 w 0"/>
                <a:gd name="connsiteY2" fmla="*/ 949 h 0"/>
              </a:gdLst>
              <a:ahLst/>
              <a:cxnLst>
                <a:cxn ang="0">
                  <a:pos x="connsiteX0" y="connsiteY0"/>
                </a:cxn>
                <a:cxn ang="0">
                  <a:pos x="connsiteX1" y="connsiteY1"/>
                </a:cxn>
                <a:cxn ang="0">
                  <a:pos x="connsiteX2" y="connsiteY2"/>
                </a:cxn>
              </a:cxnLst>
              <a:rect l="l" t="t" r="r" b="b"/>
              <a:pathLst>
                <a:path>
                  <a:moveTo>
                    <a:pt x="0" y="949"/>
                  </a:moveTo>
                  <a:cubicBezTo>
                    <a:pt x="1562" y="-425"/>
                    <a:pt x="3560" y="137"/>
                    <a:pt x="5372" y="12"/>
                  </a:cubicBezTo>
                  <a:cubicBezTo>
                    <a:pt x="3873" y="1574"/>
                    <a:pt x="1811" y="824"/>
                    <a:pt x="0" y="949"/>
                  </a:cubicBezTo>
                  <a:close/>
                </a:path>
              </a:pathLst>
            </a:custGeom>
            <a:grpFill/>
            <a:ln w="6246" cap="flat">
              <a:noFill/>
              <a:prstDash val="solid"/>
              <a:miter/>
            </a:ln>
          </p:spPr>
          <p:txBody>
            <a:bodyPr rtlCol="0" anchor="ctr"/>
            <a:lstStyle/>
            <a:p>
              <a:endParaRPr lang="fr-FR" sz="2400"/>
            </a:p>
          </p:txBody>
        </p:sp>
        <p:sp>
          <p:nvSpPr>
            <p:cNvPr id="776" name="Freeform: Shape 775">
              <a:extLst>
                <a:ext uri="{FF2B5EF4-FFF2-40B4-BE49-F238E27FC236}">
                  <a16:creationId xmlns:a16="http://schemas.microsoft.com/office/drawing/2014/main" id="{F6D1FE82-4446-4CE7-A08C-E36735E3A5E5}"/>
                </a:ext>
              </a:extLst>
            </p:cNvPr>
            <p:cNvSpPr/>
            <p:nvPr/>
          </p:nvSpPr>
          <p:spPr>
            <a:xfrm>
              <a:off x="1294218" y="499497"/>
              <a:ext cx="6246" cy="6246"/>
            </a:xfrm>
            <a:custGeom>
              <a:avLst/>
              <a:gdLst>
                <a:gd name="connsiteX0" fmla="*/ 3994 w 6246"/>
                <a:gd name="connsiteY0" fmla="*/ 2061 h 6246"/>
                <a:gd name="connsiteX1" fmla="*/ 6180 w 6246"/>
                <a:gd name="connsiteY1" fmla="*/ 4809 h 6246"/>
                <a:gd name="connsiteX2" fmla="*/ 9241 w 6246"/>
                <a:gd name="connsiteY2" fmla="*/ 6871 h 6246"/>
                <a:gd name="connsiteX3" fmla="*/ 7242 w 6246"/>
                <a:gd name="connsiteY3" fmla="*/ 8682 h 6246"/>
                <a:gd name="connsiteX4" fmla="*/ 746 w 6246"/>
                <a:gd name="connsiteY4" fmla="*/ 3873 h 6246"/>
                <a:gd name="connsiteX5" fmla="*/ 809 w 6246"/>
                <a:gd name="connsiteY5" fmla="*/ 0 h 6246"/>
                <a:gd name="connsiteX6" fmla="*/ 3994 w 6246"/>
                <a:gd name="connsiteY6" fmla="*/ 2061 h 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6" h="6246">
                  <a:moveTo>
                    <a:pt x="3994" y="2061"/>
                  </a:moveTo>
                  <a:cubicBezTo>
                    <a:pt x="4744" y="2998"/>
                    <a:pt x="5431" y="3935"/>
                    <a:pt x="6180" y="4809"/>
                  </a:cubicBezTo>
                  <a:cubicBezTo>
                    <a:pt x="7180" y="5497"/>
                    <a:pt x="8241" y="6184"/>
                    <a:pt x="9241" y="6871"/>
                  </a:cubicBezTo>
                  <a:cubicBezTo>
                    <a:pt x="8554" y="7495"/>
                    <a:pt x="7867" y="8120"/>
                    <a:pt x="7242" y="8682"/>
                  </a:cubicBezTo>
                  <a:cubicBezTo>
                    <a:pt x="5056" y="7058"/>
                    <a:pt x="2932" y="5497"/>
                    <a:pt x="746" y="3873"/>
                  </a:cubicBezTo>
                  <a:cubicBezTo>
                    <a:pt x="-66" y="2561"/>
                    <a:pt x="-441" y="1249"/>
                    <a:pt x="809" y="0"/>
                  </a:cubicBezTo>
                  <a:cubicBezTo>
                    <a:pt x="1933" y="749"/>
                    <a:pt x="2995" y="1437"/>
                    <a:pt x="3994" y="2061"/>
                  </a:cubicBezTo>
                  <a:close/>
                </a:path>
              </a:pathLst>
            </a:custGeom>
            <a:grpFill/>
            <a:ln w="6246" cap="flat">
              <a:noFill/>
              <a:prstDash val="solid"/>
              <a:miter/>
            </a:ln>
          </p:spPr>
          <p:txBody>
            <a:bodyPr rtlCol="0" anchor="ctr"/>
            <a:lstStyle/>
            <a:p>
              <a:endParaRPr lang="fr-FR" sz="2400"/>
            </a:p>
          </p:txBody>
        </p:sp>
        <p:sp>
          <p:nvSpPr>
            <p:cNvPr id="777" name="Freeform: Shape 776">
              <a:extLst>
                <a:ext uri="{FF2B5EF4-FFF2-40B4-BE49-F238E27FC236}">
                  <a16:creationId xmlns:a16="http://schemas.microsoft.com/office/drawing/2014/main" id="{E4342713-9594-4088-9FF8-7212EC265F14}"/>
                </a:ext>
              </a:extLst>
            </p:cNvPr>
            <p:cNvSpPr/>
            <p:nvPr/>
          </p:nvSpPr>
          <p:spPr>
            <a:xfrm>
              <a:off x="1291904" y="499583"/>
              <a:ext cx="6246" cy="6246"/>
            </a:xfrm>
            <a:custGeom>
              <a:avLst/>
              <a:gdLst>
                <a:gd name="connsiteX0" fmla="*/ 3186 w 0"/>
                <a:gd name="connsiteY0" fmla="*/ 38 h 0"/>
                <a:gd name="connsiteX1" fmla="*/ 3123 w 0"/>
                <a:gd name="connsiteY1" fmla="*/ 3911 h 0"/>
                <a:gd name="connsiteX2" fmla="*/ 0 w 0"/>
                <a:gd name="connsiteY2" fmla="*/ 975 h 0"/>
                <a:gd name="connsiteX3" fmla="*/ 3186 w 0"/>
                <a:gd name="connsiteY3" fmla="*/ 38 h 0"/>
              </a:gdLst>
              <a:ahLst/>
              <a:cxnLst>
                <a:cxn ang="0">
                  <a:pos x="connsiteX0" y="connsiteY0"/>
                </a:cxn>
                <a:cxn ang="0">
                  <a:pos x="connsiteX1" y="connsiteY1"/>
                </a:cxn>
                <a:cxn ang="0">
                  <a:pos x="connsiteX2" y="connsiteY2"/>
                </a:cxn>
                <a:cxn ang="0">
                  <a:pos x="connsiteX3" y="connsiteY3"/>
                </a:cxn>
              </a:cxnLst>
              <a:rect l="l" t="t" r="r" b="b"/>
              <a:pathLst>
                <a:path>
                  <a:moveTo>
                    <a:pt x="3186" y="38"/>
                  </a:moveTo>
                  <a:cubicBezTo>
                    <a:pt x="3186" y="1350"/>
                    <a:pt x="3123" y="2599"/>
                    <a:pt x="3123" y="3911"/>
                  </a:cubicBezTo>
                  <a:cubicBezTo>
                    <a:pt x="2061" y="2912"/>
                    <a:pt x="999" y="1975"/>
                    <a:pt x="0" y="975"/>
                  </a:cubicBezTo>
                  <a:cubicBezTo>
                    <a:pt x="749" y="-149"/>
                    <a:pt x="1999" y="-24"/>
                    <a:pt x="3186" y="38"/>
                  </a:cubicBezTo>
                  <a:close/>
                </a:path>
              </a:pathLst>
            </a:custGeom>
            <a:grpFill/>
            <a:ln w="6246" cap="flat">
              <a:noFill/>
              <a:prstDash val="solid"/>
              <a:miter/>
            </a:ln>
          </p:spPr>
          <p:txBody>
            <a:bodyPr rtlCol="0" anchor="ctr"/>
            <a:lstStyle/>
            <a:p>
              <a:endParaRPr lang="fr-FR" sz="2400"/>
            </a:p>
          </p:txBody>
        </p:sp>
        <p:sp>
          <p:nvSpPr>
            <p:cNvPr id="778" name="Freeform: Shape 777">
              <a:extLst>
                <a:ext uri="{FF2B5EF4-FFF2-40B4-BE49-F238E27FC236}">
                  <a16:creationId xmlns:a16="http://schemas.microsoft.com/office/drawing/2014/main" id="{BCBA45D3-1CDF-4945-8DD1-5CF5B797587E}"/>
                </a:ext>
              </a:extLst>
            </p:cNvPr>
            <p:cNvSpPr/>
            <p:nvPr/>
          </p:nvSpPr>
          <p:spPr>
            <a:xfrm>
              <a:off x="1276913" y="452277"/>
              <a:ext cx="6246" cy="6246"/>
            </a:xfrm>
            <a:custGeom>
              <a:avLst/>
              <a:gdLst>
                <a:gd name="connsiteX0" fmla="*/ 0 w 6246"/>
                <a:gd name="connsiteY0" fmla="*/ 1811 h 0"/>
                <a:gd name="connsiteX1" fmla="*/ 999 w 6246"/>
                <a:gd name="connsiteY1" fmla="*/ 0 h 0"/>
                <a:gd name="connsiteX2" fmla="*/ 6308 w 6246"/>
                <a:gd name="connsiteY2" fmla="*/ 0 h 0"/>
                <a:gd name="connsiteX3" fmla="*/ 6308 w 6246"/>
                <a:gd name="connsiteY3" fmla="*/ 874 h 0"/>
                <a:gd name="connsiteX4" fmla="*/ 0 w 6246"/>
                <a:gd name="connsiteY4" fmla="*/ 1811 h 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6">
                  <a:moveTo>
                    <a:pt x="0" y="1811"/>
                  </a:moveTo>
                  <a:cubicBezTo>
                    <a:pt x="312" y="1187"/>
                    <a:pt x="687" y="625"/>
                    <a:pt x="999" y="0"/>
                  </a:cubicBezTo>
                  <a:cubicBezTo>
                    <a:pt x="2748" y="0"/>
                    <a:pt x="4560" y="0"/>
                    <a:pt x="6308" y="0"/>
                  </a:cubicBezTo>
                  <a:cubicBezTo>
                    <a:pt x="6308" y="312"/>
                    <a:pt x="6308" y="562"/>
                    <a:pt x="6308" y="874"/>
                  </a:cubicBezTo>
                  <a:cubicBezTo>
                    <a:pt x="4435" y="2124"/>
                    <a:pt x="2186" y="1999"/>
                    <a:pt x="0" y="1811"/>
                  </a:cubicBezTo>
                  <a:close/>
                </a:path>
              </a:pathLst>
            </a:custGeom>
            <a:grpFill/>
            <a:ln w="6246" cap="flat">
              <a:noFill/>
              <a:prstDash val="solid"/>
              <a:miter/>
            </a:ln>
          </p:spPr>
          <p:txBody>
            <a:bodyPr rtlCol="0" anchor="ctr"/>
            <a:lstStyle/>
            <a:p>
              <a:endParaRPr lang="fr-FR" sz="2400"/>
            </a:p>
          </p:txBody>
        </p:sp>
        <p:sp>
          <p:nvSpPr>
            <p:cNvPr id="779" name="Freeform: Shape 778">
              <a:extLst>
                <a:ext uri="{FF2B5EF4-FFF2-40B4-BE49-F238E27FC236}">
                  <a16:creationId xmlns:a16="http://schemas.microsoft.com/office/drawing/2014/main" id="{8FA73BEA-5F70-461B-863C-5E045741A2FC}"/>
                </a:ext>
              </a:extLst>
            </p:cNvPr>
            <p:cNvSpPr/>
            <p:nvPr/>
          </p:nvSpPr>
          <p:spPr>
            <a:xfrm>
              <a:off x="1135936" y="492689"/>
              <a:ext cx="68707" cy="137413"/>
            </a:xfrm>
            <a:custGeom>
              <a:avLst/>
              <a:gdLst>
                <a:gd name="connsiteX0" fmla="*/ 5312 w 68706"/>
                <a:gd name="connsiteY0" fmla="*/ 0 h 137413"/>
                <a:gd name="connsiteX1" fmla="*/ 7498 w 68706"/>
                <a:gd name="connsiteY1" fmla="*/ 124109 h 137413"/>
                <a:gd name="connsiteX2" fmla="*/ 62839 w 68706"/>
                <a:gd name="connsiteY2" fmla="*/ 141349 h 137413"/>
                <a:gd name="connsiteX3" fmla="*/ 60278 w 68706"/>
                <a:gd name="connsiteY3" fmla="*/ 79263 h 137413"/>
                <a:gd name="connsiteX4" fmla="*/ 23301 w 68706"/>
                <a:gd name="connsiteY4" fmla="*/ 7870 h 137413"/>
                <a:gd name="connsiteX5" fmla="*/ 5312 w 68706"/>
                <a:gd name="connsiteY5" fmla="*/ 0 h 1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06" h="137413">
                  <a:moveTo>
                    <a:pt x="5312" y="0"/>
                  </a:moveTo>
                  <a:cubicBezTo>
                    <a:pt x="-7804" y="53279"/>
                    <a:pt x="7498" y="124109"/>
                    <a:pt x="7498" y="124109"/>
                  </a:cubicBezTo>
                  <a:lnTo>
                    <a:pt x="62839" y="141349"/>
                  </a:lnTo>
                  <a:cubicBezTo>
                    <a:pt x="62839" y="141349"/>
                    <a:pt x="84388" y="116801"/>
                    <a:pt x="60278" y="79263"/>
                  </a:cubicBezTo>
                  <a:cubicBezTo>
                    <a:pt x="36168" y="41724"/>
                    <a:pt x="23301" y="7870"/>
                    <a:pt x="23301" y="7870"/>
                  </a:cubicBezTo>
                  <a:lnTo>
                    <a:pt x="5312" y="0"/>
                  </a:lnTo>
                  <a:close/>
                </a:path>
              </a:pathLst>
            </a:custGeom>
            <a:grpFill/>
            <a:ln w="6246" cap="flat">
              <a:noFill/>
              <a:prstDash val="solid"/>
              <a:miter/>
            </a:ln>
          </p:spPr>
          <p:txBody>
            <a:bodyPr rtlCol="0" anchor="ctr"/>
            <a:lstStyle/>
            <a:p>
              <a:endParaRPr lang="fr-FR" sz="2400"/>
            </a:p>
          </p:txBody>
        </p:sp>
      </p:grpSp>
      <p:sp>
        <p:nvSpPr>
          <p:cNvPr id="18" name="Freeform: Shape 17">
            <a:extLst>
              <a:ext uri="{FF2B5EF4-FFF2-40B4-BE49-F238E27FC236}">
                <a16:creationId xmlns:a16="http://schemas.microsoft.com/office/drawing/2014/main" id="{66991F32-96F3-4361-8C9C-31F474C518AE}"/>
              </a:ext>
            </a:extLst>
          </p:cNvPr>
          <p:cNvSpPr/>
          <p:nvPr/>
        </p:nvSpPr>
        <p:spPr>
          <a:xfrm>
            <a:off x="492468" y="1260739"/>
            <a:ext cx="15253165" cy="8445"/>
          </a:xfrm>
          <a:custGeom>
            <a:avLst/>
            <a:gdLst>
              <a:gd name="connsiteX0" fmla="*/ 0 w 11280393"/>
              <a:gd name="connsiteY0" fmla="*/ 0 h 0"/>
              <a:gd name="connsiteX1" fmla="*/ 11284204 w 11280393"/>
              <a:gd name="connsiteY1" fmla="*/ 0 h 0"/>
            </a:gdLst>
            <a:ahLst/>
            <a:cxnLst>
              <a:cxn ang="0">
                <a:pos x="connsiteX0" y="connsiteY0"/>
              </a:cxn>
              <a:cxn ang="0">
                <a:pos x="connsiteX1" y="connsiteY1"/>
              </a:cxn>
            </a:cxnLst>
            <a:rect l="l" t="t" r="r" b="b"/>
            <a:pathLst>
              <a:path w="11280393">
                <a:moveTo>
                  <a:pt x="0" y="0"/>
                </a:moveTo>
                <a:lnTo>
                  <a:pt x="11284204" y="0"/>
                </a:lnTo>
              </a:path>
            </a:pathLst>
          </a:custGeom>
          <a:ln w="17704" cap="flat">
            <a:solidFill>
              <a:srgbClr val="FFED00"/>
            </a:solidFill>
            <a:prstDash val="solid"/>
            <a:miter/>
          </a:ln>
        </p:spPr>
        <p:txBody>
          <a:bodyPr rtlCol="0" anchor="ctr"/>
          <a:lstStyle/>
          <a:p>
            <a:endParaRPr lang="fr-FR" sz="2400"/>
          </a:p>
        </p:txBody>
      </p:sp>
      <p:sp>
        <p:nvSpPr>
          <p:cNvPr id="2" name="Title Placeholder 1">
            <a:extLst>
              <a:ext uri="{FF2B5EF4-FFF2-40B4-BE49-F238E27FC236}">
                <a16:creationId xmlns:a16="http://schemas.microsoft.com/office/drawing/2014/main" id="{4B972773-524D-4DFF-9238-27F01ED2DDE7}"/>
              </a:ext>
            </a:extLst>
          </p:cNvPr>
          <p:cNvSpPr>
            <a:spLocks noGrp="1"/>
          </p:cNvSpPr>
          <p:nvPr userDrawn="1">
            <p:ph type="title"/>
          </p:nvPr>
        </p:nvSpPr>
        <p:spPr>
          <a:xfrm>
            <a:off x="1604639" y="285190"/>
            <a:ext cx="12579971" cy="886423"/>
          </a:xfrm>
          <a:prstGeom prst="rect">
            <a:avLst/>
          </a:prstGeom>
        </p:spPr>
        <p:txBody>
          <a:bodyPr vert="horz" lIns="91440" tIns="45720" rIns="91440" bIns="45720" rtlCol="0" anchor="ctr">
            <a:normAutofit/>
          </a:bodyPr>
          <a:lstStyle/>
          <a:p>
            <a:r>
              <a:rPr lang="fr-FR" noProof="0"/>
              <a:t>Le titre de la slide</a:t>
            </a:r>
          </a:p>
        </p:txBody>
      </p:sp>
      <p:sp>
        <p:nvSpPr>
          <p:cNvPr id="3" name="Text Placeholder 2">
            <a:extLst>
              <a:ext uri="{FF2B5EF4-FFF2-40B4-BE49-F238E27FC236}">
                <a16:creationId xmlns:a16="http://schemas.microsoft.com/office/drawing/2014/main" id="{9F6CA3F2-0DF2-4FAE-94F9-9AABBD2475F3}"/>
              </a:ext>
            </a:extLst>
          </p:cNvPr>
          <p:cNvSpPr>
            <a:spLocks noGrp="1"/>
          </p:cNvSpPr>
          <p:nvPr userDrawn="1">
            <p:ph type="body" idx="1"/>
          </p:nvPr>
        </p:nvSpPr>
        <p:spPr>
          <a:xfrm>
            <a:off x="1623358" y="1566170"/>
            <a:ext cx="14130743" cy="6498741"/>
          </a:xfrm>
          <a:prstGeom prst="rect">
            <a:avLst/>
          </a:prstGeom>
        </p:spPr>
        <p:txBody>
          <a:bodyPr vert="horz" lIns="91440" tIns="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Slide Number Placeholder 5">
            <a:extLst>
              <a:ext uri="{FF2B5EF4-FFF2-40B4-BE49-F238E27FC236}">
                <a16:creationId xmlns:a16="http://schemas.microsoft.com/office/drawing/2014/main" id="{920EAABC-F6B3-4485-8AD8-A762A3E91BAE}"/>
              </a:ext>
            </a:extLst>
          </p:cNvPr>
          <p:cNvSpPr>
            <a:spLocks noGrp="1"/>
          </p:cNvSpPr>
          <p:nvPr userDrawn="1">
            <p:ph type="sldNum" sz="quarter" idx="4"/>
          </p:nvPr>
        </p:nvSpPr>
        <p:spPr>
          <a:xfrm>
            <a:off x="15199538" y="8718549"/>
            <a:ext cx="565149" cy="308371"/>
          </a:xfrm>
          <a:prstGeom prst="rect">
            <a:avLst/>
          </a:prstGeom>
        </p:spPr>
        <p:txBody>
          <a:bodyPr vert="horz" lIns="91440" tIns="45720" rIns="91440" bIns="45720" rtlCol="0" anchor="ctr"/>
          <a:lstStyle>
            <a:lvl1pPr algn="ctr">
              <a:defRPr sz="1333">
                <a:solidFill>
                  <a:schemeClr val="tx1"/>
                </a:solidFill>
              </a:defRPr>
            </a:lvl1pPr>
          </a:lstStyle>
          <a:p>
            <a:fld id="{54A149C6-6019-4B05-B4F5-8ADACCDF97D0}" type="slidenum">
              <a:rPr lang="fr-FR" smtClean="0"/>
              <a:pPr/>
              <a:t>‹#›</a:t>
            </a:fld>
            <a:endParaRPr lang="fr-FR"/>
          </a:p>
        </p:txBody>
      </p:sp>
      <p:pic>
        <p:nvPicPr>
          <p:cNvPr id="790" name="Graphique 789">
            <a:extLst>
              <a:ext uri="{FF2B5EF4-FFF2-40B4-BE49-F238E27FC236}">
                <a16:creationId xmlns:a16="http://schemas.microsoft.com/office/drawing/2014/main" id="{FB51FE0B-287B-4379-A2C9-C3285E303F4E}"/>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316890" y="-75095"/>
            <a:ext cx="1470023" cy="1223577"/>
          </a:xfrm>
          <a:prstGeom prst="rect">
            <a:avLst/>
          </a:prstGeom>
        </p:spPr>
      </p:pic>
      <p:sp>
        <p:nvSpPr>
          <p:cNvPr id="4" name="Rectangle 3">
            <a:extLst>
              <a:ext uri="{FF2B5EF4-FFF2-40B4-BE49-F238E27FC236}">
                <a16:creationId xmlns:a16="http://schemas.microsoft.com/office/drawing/2014/main" id="{AB534F2E-C7F2-C932-36AC-A97F9C9482C4}"/>
              </a:ext>
            </a:extLst>
          </p:cNvPr>
          <p:cNvSpPr/>
          <p:nvPr userDrawn="1"/>
        </p:nvSpPr>
        <p:spPr>
          <a:xfrm>
            <a:off x="14431618" y="66260"/>
            <a:ext cx="1470023" cy="111486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olice, Graphique, logo, symbole&#10;&#10;Description générée automatiquement">
            <a:extLst>
              <a:ext uri="{FF2B5EF4-FFF2-40B4-BE49-F238E27FC236}">
                <a16:creationId xmlns:a16="http://schemas.microsoft.com/office/drawing/2014/main" id="{2AB4F231-E05B-734B-C679-EF459DFC03B6}"/>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4889" t="21045" r="5255" b="20356"/>
          <a:stretch/>
        </p:blipFill>
        <p:spPr>
          <a:xfrm>
            <a:off x="14184610" y="580950"/>
            <a:ext cx="1587687" cy="331581"/>
          </a:xfrm>
          <a:prstGeom prst="rect">
            <a:avLst/>
          </a:prstGeom>
        </p:spPr>
      </p:pic>
    </p:spTree>
    <p:extLst>
      <p:ext uri="{BB962C8B-B14F-4D97-AF65-F5344CB8AC3E}">
        <p14:creationId xmlns:p14="http://schemas.microsoft.com/office/powerpoint/2010/main" val="362231892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14400" rtl="0" eaLnBrk="1" latinLnBrk="0" hangingPunct="1">
        <a:lnSpc>
          <a:spcPct val="90000"/>
        </a:lnSpc>
        <a:spcBef>
          <a:spcPct val="0"/>
        </a:spcBef>
        <a:buNone/>
        <a:defRPr sz="3600" b="1" kern="1200">
          <a:solidFill>
            <a:sysClr val="windowText" lastClr="000000"/>
          </a:solidFill>
          <a:latin typeface="+mn-lt"/>
          <a:ea typeface="+mj-ea"/>
          <a:cs typeface="+mj-cs"/>
        </a:defRPr>
      </a:lvl1pPr>
    </p:titleStyle>
    <p:bodyStyle>
      <a:lvl1pPr marL="180975" indent="-180975" algn="l" defTabSz="914400" rtl="0" eaLnBrk="1" latinLnBrk="0" hangingPunct="1">
        <a:lnSpc>
          <a:spcPct val="90000"/>
        </a:lnSpc>
        <a:spcBef>
          <a:spcPts val="1000"/>
        </a:spcBef>
        <a:buClr>
          <a:schemeClr val="tx2"/>
        </a:buClr>
        <a:buSzPct val="80000"/>
        <a:buFont typeface="Verdana" panose="020B0604030504040204" pitchFamily="34" charset="0"/>
        <a:buChar char="●"/>
        <a:defRPr sz="2200" b="1" kern="1200">
          <a:solidFill>
            <a:sysClr val="windowText" lastClr="000000"/>
          </a:solidFill>
          <a:latin typeface="+mn-lt"/>
          <a:ea typeface="+mn-ea"/>
          <a:cs typeface="+mn-cs"/>
        </a:defRPr>
      </a:lvl1pPr>
      <a:lvl2pPr marL="361950" indent="-180975" algn="l" defTabSz="914400" rtl="0" eaLnBrk="1" latinLnBrk="0" hangingPunct="1">
        <a:lnSpc>
          <a:spcPct val="90000"/>
        </a:lnSpc>
        <a:spcBef>
          <a:spcPts val="1000"/>
        </a:spcBef>
        <a:buClr>
          <a:srgbClr val="FEED02"/>
        </a:buClr>
        <a:buSzPct val="90000"/>
        <a:buFont typeface="Wingdings" panose="05000000000000000000" pitchFamily="2" charset="2"/>
        <a:buChar char="§"/>
        <a:defRPr sz="2200" kern="1200">
          <a:solidFill>
            <a:schemeClr val="tx1"/>
          </a:solidFill>
          <a:latin typeface="+mn-lt"/>
          <a:ea typeface="+mn-ea"/>
          <a:cs typeface="+mn-cs"/>
        </a:defRPr>
      </a:lvl2pPr>
      <a:lvl3pPr marL="541338" indent="-182563" algn="l" defTabSz="914400" rtl="0" eaLnBrk="1" latinLnBrk="0" hangingPunct="1">
        <a:lnSpc>
          <a:spcPct val="90000"/>
        </a:lnSpc>
        <a:spcBef>
          <a:spcPts val="1000"/>
        </a:spcBef>
        <a:buClr>
          <a:srgbClr val="FEED02"/>
        </a:buClr>
        <a:buSzPct val="80000"/>
        <a:buFont typeface="Verdana" panose="020B0604030504040204" pitchFamily="34" charset="0"/>
        <a:buChar char="●"/>
        <a:defRPr sz="1800" kern="1200">
          <a:solidFill>
            <a:schemeClr val="tx1"/>
          </a:solidFill>
          <a:latin typeface="+mn-lt"/>
          <a:ea typeface="+mn-ea"/>
          <a:cs typeface="+mn-cs"/>
        </a:defRPr>
      </a:lvl3pPr>
      <a:lvl4pPr marL="717550" indent="-179388" algn="l" defTabSz="914400" rtl="0" eaLnBrk="1" latinLnBrk="0" hangingPunct="1">
        <a:lnSpc>
          <a:spcPct val="90000"/>
        </a:lnSpc>
        <a:spcBef>
          <a:spcPts val="1000"/>
        </a:spcBef>
        <a:buClr>
          <a:srgbClr val="FEED02"/>
        </a:buClr>
        <a:buSzPct val="90000"/>
        <a:buFont typeface="Wingdings" panose="05000000000000000000" pitchFamily="2" charset="2"/>
        <a:buChar char="§"/>
        <a:defRPr sz="1600" kern="1200">
          <a:solidFill>
            <a:schemeClr val="tx1"/>
          </a:solidFill>
          <a:latin typeface="+mn-lt"/>
          <a:ea typeface="+mn-ea"/>
          <a:cs typeface="+mn-cs"/>
        </a:defRPr>
      </a:lvl4pPr>
      <a:lvl5pPr marL="896938" indent="-179388" algn="l" defTabSz="914400" rtl="0" eaLnBrk="1" latinLnBrk="0" hangingPunct="1">
        <a:lnSpc>
          <a:spcPct val="90000"/>
        </a:lnSpc>
        <a:spcBef>
          <a:spcPts val="1000"/>
        </a:spcBef>
        <a:buClr>
          <a:srgbClr val="FEED02"/>
        </a:buClr>
        <a:buSzPct val="80000"/>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 Id="rId9"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3.svg"/><Relationship Id="rId11" Type="http://schemas.openxmlformats.org/officeDocument/2006/relationships/image" Target="../media/image16.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0.png"/><Relationship Id="rId7" Type="http://schemas.openxmlformats.org/officeDocument/2006/relationships/image" Target="../media/image33.sv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16.png"/><Relationship Id="rId10" Type="http://schemas.openxmlformats.org/officeDocument/2006/relationships/image" Target="../media/image36.png"/><Relationship Id="rId4" Type="http://schemas.openxmlformats.org/officeDocument/2006/relationships/image" Target="../media/image31.svg"/><Relationship Id="rId9" Type="http://schemas.openxmlformats.org/officeDocument/2006/relationships/image" Target="../media/image35.svg"/></Relationships>
</file>

<file path=ppt/slides/_rels/slide17.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36.png"/><Relationship Id="rId7"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1.svg"/><Relationship Id="rId11" Type="http://schemas.openxmlformats.org/officeDocument/2006/relationships/image" Target="../media/image1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37.svg"/><Relationship Id="rId9" Type="http://schemas.openxmlformats.org/officeDocument/2006/relationships/image" Target="../media/image34.png"/></Relationships>
</file>

<file path=ppt/slides/_rels/slide18.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3.svg"/><Relationship Id="rId11" Type="http://schemas.openxmlformats.org/officeDocument/2006/relationships/image" Target="../media/image16.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svg"/></Relationships>
</file>

<file path=ppt/slides/_rels/slide20.xml.rels><?xml version="1.0" encoding="UTF-8" standalone="yes"?>
<Relationships xmlns="http://schemas.openxmlformats.org/package/2006/relationships"><Relationship Id="rId3" Type="http://schemas.openxmlformats.org/officeDocument/2006/relationships/hyperlink" Target="https://www.appels-a-projets-cccabtp.fr/projets-realises"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43.png"/><Relationship Id="rId4" Type="http://schemas.openxmlformats.org/officeDocument/2006/relationships/hyperlink" Target="https://www.appels-a-projets-cccabtp.fr/projets-realise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appels-a-projets-cccabtp.fr/" TargetMode="Externa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4.xml"/><Relationship Id="rId1" Type="http://schemas.openxmlformats.org/officeDocument/2006/relationships/slideLayout" Target="../slideLayouts/slideLayout45.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5.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5FCF94-F7BE-4FC1-9990-B9F4D1E37121}"/>
              </a:ext>
            </a:extLst>
          </p:cNvPr>
          <p:cNvSpPr>
            <a:spLocks noGrp="1"/>
          </p:cNvSpPr>
          <p:nvPr>
            <p:ph type="ctrTitle"/>
          </p:nvPr>
        </p:nvSpPr>
        <p:spPr>
          <a:xfrm>
            <a:off x="2451045" y="4420117"/>
            <a:ext cx="9026223" cy="2720913"/>
          </a:xfrm>
        </p:spPr>
        <p:txBody>
          <a:bodyPr>
            <a:normAutofit fontScale="90000"/>
          </a:bodyPr>
          <a:lstStyle/>
          <a:p>
            <a:pPr algn="ctr"/>
            <a:r>
              <a:rPr lang="fr-FR" sz="4900">
                <a:latin typeface="Arial Black"/>
                <a:ea typeface="Calibri"/>
                <a:cs typeface="Calibri"/>
              </a:rPr>
              <a:t>Appels à projets et Appels à candidatures </a:t>
            </a:r>
            <a:br>
              <a:rPr lang="fr-FR" sz="4900">
                <a:latin typeface="Arial Black"/>
                <a:ea typeface="Calibri"/>
                <a:cs typeface="Calibri"/>
              </a:rPr>
            </a:br>
            <a:r>
              <a:rPr lang="fr-FR" sz="4900">
                <a:latin typeface="Arial Black"/>
                <a:ea typeface="Calibri"/>
                <a:cs typeface="Calibri"/>
              </a:rPr>
              <a:t>2025 </a:t>
            </a:r>
            <a:br>
              <a:rPr lang="fr-FR" sz="4900">
                <a:latin typeface="Arial Black"/>
                <a:ea typeface="Calibri"/>
                <a:cs typeface="Calibri"/>
              </a:rPr>
            </a:br>
            <a:r>
              <a:rPr lang="fr-FR" sz="4900">
                <a:latin typeface="Arial Black"/>
                <a:ea typeface="Calibri"/>
                <a:cs typeface="Calibri"/>
              </a:rPr>
              <a:t>– </a:t>
            </a:r>
            <a:br>
              <a:rPr lang="fr-FR" sz="4900">
                <a:latin typeface="Arial Black"/>
                <a:ea typeface="Calibri"/>
                <a:cs typeface="Calibri"/>
              </a:rPr>
            </a:br>
            <a:r>
              <a:rPr lang="fr-FR" sz="3600">
                <a:latin typeface="Arial Black"/>
                <a:ea typeface="Calibri"/>
                <a:cs typeface="Calibri"/>
              </a:rPr>
              <a:t>Webinaire</a:t>
            </a:r>
            <a:br>
              <a:rPr lang="fr-FR" sz="3600">
                <a:latin typeface="Arial Black"/>
                <a:ea typeface="Calibri"/>
                <a:cs typeface="Calibri"/>
              </a:rPr>
            </a:br>
            <a:r>
              <a:rPr lang="fr-FR" sz="3600">
                <a:latin typeface="Arial Black"/>
                <a:ea typeface="Calibri"/>
                <a:cs typeface="Calibri"/>
              </a:rPr>
              <a:t>17 janvier 2025</a:t>
            </a:r>
            <a:endParaRPr lang="fr-FR" sz="1300" b="0">
              <a:solidFill>
                <a:srgbClr val="000000"/>
              </a:solidFill>
              <a:latin typeface="Arial Black"/>
              <a:ea typeface="Calibri"/>
              <a:cs typeface="Calibri"/>
            </a:endParaRPr>
          </a:p>
          <a:p>
            <a:pPr>
              <a:lnSpc>
                <a:spcPct val="100000"/>
              </a:lnSpc>
            </a:pPr>
            <a:endParaRPr lang="fr-FR" sz="6400">
              <a:ea typeface="Calibri"/>
              <a:cs typeface="Calibri"/>
            </a:endParaRPr>
          </a:p>
        </p:txBody>
      </p:sp>
      <p:sp>
        <p:nvSpPr>
          <p:cNvPr id="3" name="ZoneTexte 2">
            <a:extLst>
              <a:ext uri="{FF2B5EF4-FFF2-40B4-BE49-F238E27FC236}">
                <a16:creationId xmlns:a16="http://schemas.microsoft.com/office/drawing/2014/main" id="{AF7963A6-2F14-0713-238F-3DCC237E34E0}"/>
              </a:ext>
            </a:extLst>
          </p:cNvPr>
          <p:cNvSpPr txBox="1"/>
          <p:nvPr/>
        </p:nvSpPr>
        <p:spPr>
          <a:xfrm>
            <a:off x="420381" y="8079799"/>
            <a:ext cx="9608990" cy="892552"/>
          </a:xfrm>
          <a:prstGeom prst="rect">
            <a:avLst/>
          </a:prstGeom>
          <a:noFill/>
        </p:spPr>
        <p:txBody>
          <a:bodyPr wrap="square" rtlCol="0">
            <a:spAutoFit/>
          </a:bodyPr>
          <a:lstStyle/>
          <a:p>
            <a:r>
              <a:rPr lang="fr-FR" sz="2400" b="1">
                <a:solidFill>
                  <a:schemeClr val="bg1"/>
                </a:solidFill>
              </a:rPr>
              <a:t>Isabelle JOUANIN-PERIN</a:t>
            </a:r>
          </a:p>
          <a:p>
            <a:r>
              <a:rPr lang="fr-FR" sz="2400" b="1">
                <a:solidFill>
                  <a:schemeClr val="bg1"/>
                </a:solidFill>
              </a:rPr>
              <a:t>Directrice des Appels à </a:t>
            </a:r>
            <a:r>
              <a:rPr lang="fr-FR" sz="2800" b="1">
                <a:solidFill>
                  <a:schemeClr val="bg1"/>
                </a:solidFill>
              </a:rPr>
              <a:t>Projets</a:t>
            </a:r>
            <a:r>
              <a:rPr lang="fr-FR" sz="2400" b="1">
                <a:solidFill>
                  <a:schemeClr val="bg1"/>
                </a:solidFill>
              </a:rPr>
              <a:t> et des Expérimentations </a:t>
            </a:r>
            <a:r>
              <a:rPr lang="fr-FR" b="1">
                <a:solidFill>
                  <a:schemeClr val="bg1"/>
                </a:solidFill>
              </a:rPr>
              <a:t>- </a:t>
            </a:r>
            <a:r>
              <a:rPr lang="fr-FR" sz="2400" b="1">
                <a:solidFill>
                  <a:schemeClr val="bg1"/>
                </a:solidFill>
              </a:rPr>
              <a:t>DAPEX </a:t>
            </a:r>
          </a:p>
        </p:txBody>
      </p:sp>
    </p:spTree>
    <p:extLst>
      <p:ext uri="{BB962C8B-B14F-4D97-AF65-F5344CB8AC3E}">
        <p14:creationId xmlns:p14="http://schemas.microsoft.com/office/powerpoint/2010/main" val="8730706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2000">
        <p15:prstTrans prst="peelOff"/>
      </p:transition>
    </mc:Choice>
    <mc:Fallback xmlns="">
      <p:transition spd="slow" advTm="200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5E0142-2E1F-0D6F-0A68-B719DA1709E9}"/>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fr-FR" dirty="0"/>
              <a:t>Calendrier des échéances</a:t>
            </a:r>
          </a:p>
        </p:txBody>
      </p:sp>
      <p:sp>
        <p:nvSpPr>
          <p:cNvPr id="3" name="Espace réservé du numéro de diapositive 2">
            <a:extLst>
              <a:ext uri="{FF2B5EF4-FFF2-40B4-BE49-F238E27FC236}">
                <a16:creationId xmlns:a16="http://schemas.microsoft.com/office/drawing/2014/main" id="{07E0E95C-8A61-FF58-B7FE-7B3564259F57}"/>
              </a:ext>
            </a:extLst>
          </p:cNvPr>
          <p:cNvSpPr>
            <a:spLocks noGrp="1"/>
          </p:cNvSpPr>
          <p:nvPr>
            <p:ph type="sldNum" sz="quarter" idx="10"/>
          </p:nvPr>
        </p:nvSpPr>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fld id="{54A149C6-6019-4B05-B4F5-8ADACCDF97D0}" type="slidenum">
              <a:rPr lang="fr-FR" smtClean="0"/>
              <a:pPr/>
              <a:t>10</a:t>
            </a:fld>
            <a:endParaRPr lang="fr-FR"/>
          </a:p>
        </p:txBody>
      </p:sp>
      <p:graphicFrame>
        <p:nvGraphicFramePr>
          <p:cNvPr id="5" name="Tableau 4">
            <a:extLst>
              <a:ext uri="{FF2B5EF4-FFF2-40B4-BE49-F238E27FC236}">
                <a16:creationId xmlns:a16="http://schemas.microsoft.com/office/drawing/2014/main" id="{A1666C81-E80D-C4C1-959D-904F2393717C}"/>
              </a:ext>
            </a:extLst>
          </p:cNvPr>
          <p:cNvGraphicFramePr>
            <a:graphicFrameLocks noGrp="1"/>
          </p:cNvGraphicFramePr>
          <p:nvPr/>
        </p:nvGraphicFramePr>
        <p:xfrm>
          <a:off x="283923" y="1171612"/>
          <a:ext cx="15699287" cy="7672449"/>
        </p:xfrm>
        <a:graphic>
          <a:graphicData uri="http://schemas.openxmlformats.org/drawingml/2006/table">
            <a:tbl>
              <a:tblPr/>
              <a:tblGrid>
                <a:gridCol w="1497548">
                  <a:extLst>
                    <a:ext uri="{9D8B030D-6E8A-4147-A177-3AD203B41FA5}">
                      <a16:colId xmlns:a16="http://schemas.microsoft.com/office/drawing/2014/main" val="362111821"/>
                    </a:ext>
                  </a:extLst>
                </a:gridCol>
                <a:gridCol w="2970137">
                  <a:extLst>
                    <a:ext uri="{9D8B030D-6E8A-4147-A177-3AD203B41FA5}">
                      <a16:colId xmlns:a16="http://schemas.microsoft.com/office/drawing/2014/main" val="1368965753"/>
                    </a:ext>
                  </a:extLst>
                </a:gridCol>
                <a:gridCol w="2970137">
                  <a:extLst>
                    <a:ext uri="{9D8B030D-6E8A-4147-A177-3AD203B41FA5}">
                      <a16:colId xmlns:a16="http://schemas.microsoft.com/office/drawing/2014/main" val="3486589752"/>
                    </a:ext>
                  </a:extLst>
                </a:gridCol>
                <a:gridCol w="2970137">
                  <a:extLst>
                    <a:ext uri="{9D8B030D-6E8A-4147-A177-3AD203B41FA5}">
                      <a16:colId xmlns:a16="http://schemas.microsoft.com/office/drawing/2014/main" val="4203782159"/>
                    </a:ext>
                  </a:extLst>
                </a:gridCol>
                <a:gridCol w="1322832">
                  <a:extLst>
                    <a:ext uri="{9D8B030D-6E8A-4147-A177-3AD203B41FA5}">
                      <a16:colId xmlns:a16="http://schemas.microsoft.com/office/drawing/2014/main" val="182836943"/>
                    </a:ext>
                  </a:extLst>
                </a:gridCol>
                <a:gridCol w="1322832">
                  <a:extLst>
                    <a:ext uri="{9D8B030D-6E8A-4147-A177-3AD203B41FA5}">
                      <a16:colId xmlns:a16="http://schemas.microsoft.com/office/drawing/2014/main" val="3882649198"/>
                    </a:ext>
                  </a:extLst>
                </a:gridCol>
                <a:gridCol w="1322832">
                  <a:extLst>
                    <a:ext uri="{9D8B030D-6E8A-4147-A177-3AD203B41FA5}">
                      <a16:colId xmlns:a16="http://schemas.microsoft.com/office/drawing/2014/main" val="3454173125"/>
                    </a:ext>
                  </a:extLst>
                </a:gridCol>
                <a:gridCol w="1322832">
                  <a:extLst>
                    <a:ext uri="{9D8B030D-6E8A-4147-A177-3AD203B41FA5}">
                      <a16:colId xmlns:a16="http://schemas.microsoft.com/office/drawing/2014/main" val="2670680119"/>
                    </a:ext>
                  </a:extLst>
                </a:gridCol>
              </a:tblGrid>
              <a:tr h="487680">
                <a:tc>
                  <a:txBody>
                    <a:bodyPr/>
                    <a:lstStyle/>
                    <a:p>
                      <a:pPr algn="l" fontAlgn="b"/>
                      <a:endParaRPr lang="fr-FR" sz="1600" b="0" i="0" u="none" strike="noStrike">
                        <a:solidFill>
                          <a:srgbClr val="000000"/>
                        </a:solidFill>
                        <a:effectLst/>
                        <a:latin typeface="Calibri" panose="020F0502020204030204" pitchFamily="34" charset="0"/>
                      </a:endParaRPr>
                    </a:p>
                  </a:txBody>
                  <a:tcPr marL="8467" marR="8467" marT="8467" marB="0" anchor="b">
                    <a:lnL>
                      <a:noFill/>
                    </a:lnL>
                    <a:lnR w="12700" cap="flat" cmpd="sng" algn="ctr">
                      <a:solidFill>
                        <a:srgbClr val="000000"/>
                      </a:solidFill>
                      <a:prstDash val="solid"/>
                      <a:round/>
                      <a:headEnd type="none" w="med" len="med"/>
                      <a:tailEnd type="none" w="med" len="med"/>
                    </a:lnR>
                    <a:lnT>
                      <a:noFill/>
                    </a:lnT>
                    <a:lnB>
                      <a:noFill/>
                    </a:lnB>
                  </a:tcPr>
                </a:tc>
                <a:tc gridSpan="7">
                  <a:txBody>
                    <a:bodyPr/>
                    <a:lstStyle/>
                    <a:p>
                      <a:endParaRPr lang="fr-FR" sz="2400"/>
                    </a:p>
                  </a:txBody>
                  <a:tcPr marL="121920" marR="121920" marT="60960" marB="60960">
                    <a:lnL w="12700" cap="flat" cmpd="sng" algn="ctr">
                      <a:solidFill>
                        <a:srgbClr val="000000"/>
                      </a:solidFill>
                      <a:prstDash val="solid"/>
                      <a:round/>
                      <a:headEnd type="none" w="med" len="med"/>
                      <a:tailEnd type="none" w="med" len="med"/>
                    </a:ln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534400759"/>
                  </a:ext>
                </a:extLst>
              </a:tr>
              <a:tr h="1514628">
                <a:tc>
                  <a:txBody>
                    <a:bodyPr/>
                    <a:lstStyle/>
                    <a:p>
                      <a:pPr algn="l" fontAlgn="b"/>
                      <a:endParaRPr lang="fr-FR" sz="1600" b="0" i="0" u="none" strike="noStrike">
                        <a:solidFill>
                          <a:srgbClr val="000000"/>
                        </a:solidFill>
                        <a:effectLst/>
                        <a:latin typeface="Calibri" panose="020F0502020204030204" pitchFamily="34" charset="0"/>
                      </a:endParaRPr>
                    </a:p>
                  </a:txBody>
                  <a:tcPr marL="8467" marR="8467" marT="8467"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fr-FR" sz="1600" b="1" i="0" u="none" strike="noStrike" dirty="0">
                          <a:solidFill>
                            <a:srgbClr val="000000"/>
                          </a:solidFill>
                          <a:effectLst/>
                          <a:latin typeface="Calibri" panose="020F0502020204030204" pitchFamily="34" charset="0"/>
                        </a:rPr>
                        <a:t> ANALYSE FINANCIERE DU PORTEUR ET DU BUDGET PROJET (GO NO GO)</a:t>
                      </a:r>
                    </a:p>
                  </a:txBody>
                  <a:tcPr marL="8467" marR="8467" marT="84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1" i="0" u="none" strike="noStrike" dirty="0">
                          <a:solidFill>
                            <a:srgbClr val="000000"/>
                          </a:solidFill>
                          <a:effectLst/>
                          <a:latin typeface="Calibri" panose="020F0502020204030204" pitchFamily="34" charset="0"/>
                        </a:rPr>
                        <a:t>ENVOI DOSSIERS EVALUATEURS </a:t>
                      </a:r>
                    </a:p>
                    <a:p>
                      <a:pPr algn="ctr" fontAlgn="ctr"/>
                      <a:r>
                        <a:rPr lang="fr-FR" sz="1600" b="1" i="0" u="none" strike="noStrike" dirty="0">
                          <a:solidFill>
                            <a:srgbClr val="000000"/>
                          </a:solidFill>
                          <a:effectLst/>
                          <a:latin typeface="Calibri" panose="020F0502020204030204" pitchFamily="34" charset="0"/>
                        </a:rPr>
                        <a:t>(3 semaines avant </a:t>
                      </a:r>
                      <a:r>
                        <a:rPr lang="fr-FR" sz="1600" b="1" i="0" u="none" strike="noStrike" dirty="0" err="1">
                          <a:solidFill>
                            <a:srgbClr val="000000"/>
                          </a:solidFill>
                          <a:effectLst/>
                          <a:latin typeface="Calibri" panose="020F0502020204030204" pitchFamily="34" charset="0"/>
                        </a:rPr>
                        <a:t>préselection</a:t>
                      </a:r>
                      <a:r>
                        <a:rPr lang="fr-FR" sz="1600" b="1" i="0" u="none" strike="noStrike" dirty="0">
                          <a:solidFill>
                            <a:srgbClr val="000000"/>
                          </a:solidFill>
                          <a:effectLst/>
                          <a:latin typeface="Calibri" panose="020F0502020204030204" pitchFamily="34" charset="0"/>
                        </a:rPr>
                        <a:t>)</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1" i="0" u="none" strike="noStrike" dirty="0">
                          <a:solidFill>
                            <a:srgbClr val="000000"/>
                          </a:solidFill>
                          <a:effectLst/>
                          <a:latin typeface="Calibri" panose="020F0502020204030204" pitchFamily="34" charset="0"/>
                        </a:rPr>
                        <a:t>PRESELECTION </a:t>
                      </a:r>
                    </a:p>
                    <a:p>
                      <a:pPr algn="ctr" fontAlgn="ctr"/>
                      <a:r>
                        <a:rPr lang="fr-FR" sz="1600" b="1" i="0" u="none" strike="noStrike" dirty="0">
                          <a:solidFill>
                            <a:srgbClr val="000000"/>
                          </a:solidFill>
                          <a:effectLst/>
                          <a:latin typeface="Calibri" panose="020F0502020204030204" pitchFamily="34" charset="0"/>
                        </a:rPr>
                        <a:t>(15 jours avant GTP)</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1" i="0" u="none" strike="noStrike" dirty="0">
                          <a:solidFill>
                            <a:srgbClr val="000000"/>
                          </a:solidFill>
                          <a:effectLst/>
                          <a:latin typeface="Calibri" panose="020F0502020204030204" pitchFamily="34" charset="0"/>
                        </a:rPr>
                        <a:t>Mois</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1" i="0" u="none" strike="noStrike" dirty="0">
                          <a:solidFill>
                            <a:srgbClr val="000000"/>
                          </a:solidFill>
                          <a:effectLst/>
                          <a:latin typeface="Calibri" panose="020F0502020204030204" pitchFamily="34" charset="0"/>
                        </a:rPr>
                        <a:t>GTP</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1" i="0" u="none" strike="noStrike" dirty="0">
                          <a:solidFill>
                            <a:srgbClr val="000000"/>
                          </a:solidFill>
                          <a:effectLst/>
                          <a:latin typeface="Calibri" panose="020F0502020204030204" pitchFamily="34" charset="0"/>
                        </a:rPr>
                        <a:t>PREPARATOI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1" i="0" u="none" strike="noStrike" dirty="0">
                          <a:solidFill>
                            <a:srgbClr val="000000"/>
                          </a:solidFill>
                          <a:effectLst/>
                          <a:latin typeface="Calibri" panose="020F0502020204030204" pitchFamily="34" charset="0"/>
                        </a:rPr>
                        <a:t>CA</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597149233"/>
                  </a:ext>
                </a:extLst>
              </a:tr>
              <a:tr h="375420">
                <a:tc rowSpan="2">
                  <a:txBody>
                    <a:bodyPr/>
                    <a:lstStyle/>
                    <a:p>
                      <a:pPr algn="ctr" fontAlgn="ctr"/>
                      <a:r>
                        <a:rPr lang="fr-FR" sz="2100" b="1" i="0" u="none" strike="noStrike" dirty="0">
                          <a:solidFill>
                            <a:srgbClr val="000000"/>
                          </a:solidFill>
                          <a:effectLst/>
                          <a:latin typeface="Calibri" panose="020F0502020204030204" pitchFamily="34" charset="0"/>
                        </a:rPr>
                        <a:t>2024</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17/10/202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07/11/202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dirty="0">
                          <a:solidFill>
                            <a:srgbClr val="000000"/>
                          </a:solidFill>
                          <a:effectLst/>
                          <a:latin typeface="Calibri" panose="020F0502020204030204" pitchFamily="34" charset="0"/>
                        </a:rPr>
                        <a:t>Novem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19</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19</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97680376"/>
                  </a:ext>
                </a:extLst>
              </a:tr>
              <a:tr h="388367">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04/11/202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dirty="0">
                          <a:solidFill>
                            <a:srgbClr val="000000"/>
                          </a:solidFill>
                          <a:effectLst/>
                          <a:latin typeface="Calibri" panose="020F0502020204030204" pitchFamily="34" charset="0"/>
                        </a:rPr>
                        <a:t>25/11/202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dirty="0">
                          <a:solidFill>
                            <a:srgbClr val="000000"/>
                          </a:solidFill>
                          <a:effectLst/>
                          <a:latin typeface="Calibri" panose="020F0502020204030204" pitchFamily="34" charset="0"/>
                        </a:rPr>
                        <a:t>Décem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17</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fr-FR" sz="1600" b="0" i="0" u="none" strike="noStrike">
                          <a:solidFill>
                            <a:srgbClr val="000000"/>
                          </a:solidFill>
                          <a:effectLst/>
                          <a:latin typeface="Calibri" panose="020F0502020204030204" pitchFamily="34" charset="0"/>
                        </a:rPr>
                        <a:t>17</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255227348"/>
                  </a:ext>
                </a:extLst>
              </a:tr>
              <a:tr h="375420">
                <a:tc rowSpan="12">
                  <a:txBody>
                    <a:bodyPr/>
                    <a:lstStyle/>
                    <a:p>
                      <a:pPr algn="ctr" fontAlgn="ctr"/>
                      <a:r>
                        <a:rPr lang="fr-FR" sz="2100" b="1" i="0" u="none" strike="noStrike" dirty="0">
                          <a:solidFill>
                            <a:srgbClr val="000000"/>
                          </a:solidFill>
                          <a:effectLst/>
                          <a:latin typeface="Calibri" panose="020F0502020204030204" pitchFamily="34" charset="0"/>
                        </a:rPr>
                        <a:t>2025</a:t>
                      </a:r>
                    </a:p>
                  </a:txBody>
                  <a:tcPr marL="121920" marR="121920" marT="60960" marB="6096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fr-FR" sz="1600" b="0" i="0" u="none" strike="noStrike">
                          <a:solidFill>
                            <a:srgbClr val="000000"/>
                          </a:solidFill>
                          <a:effectLst/>
                          <a:latin typeface="Calibri" panose="020F0502020204030204" pitchFamily="34" charset="0"/>
                        </a:rPr>
                        <a:t>16/12/2024</a:t>
                      </a:r>
                    </a:p>
                  </a:txBody>
                  <a:tcPr marL="8467" marR="8467" marT="84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7/12/202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7/0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Janvier</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a:solidFill>
                            <a:srgbClr val="000000"/>
                          </a:solidFill>
                          <a:effectLst/>
                          <a:latin typeface="Calibri" panose="020F0502020204030204" pitchFamily="34" charset="0"/>
                        </a:rPr>
                        <a:t>21</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9</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a:solidFill>
                            <a:srgbClr val="000000"/>
                          </a:solidFill>
                          <a:effectLst/>
                          <a:latin typeface="Calibri" panose="020F0502020204030204" pitchFamily="34" charset="0"/>
                        </a:rPr>
                        <a:t>21</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401855682"/>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20/0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21/0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11/02/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Février</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3</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5</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76472203"/>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7/02/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8/02/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11/03/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Mars</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3</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5</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636035924"/>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7/03/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dirty="0">
                          <a:solidFill>
                            <a:srgbClr val="000000"/>
                          </a:solidFill>
                          <a:effectLst/>
                          <a:latin typeface="Calibri" panose="020F0502020204030204" pitchFamily="34" charset="0"/>
                        </a:rPr>
                        <a:t>18/03/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8/04/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Avril</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2</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0</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2</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133017861"/>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21/04/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22/04/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13/05/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Mai</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7</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7</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941550099"/>
                  </a:ext>
                </a:extLst>
              </a:tr>
              <a:tr h="375420">
                <a:tc vMerge="1">
                  <a:txBody>
                    <a:bodyPr/>
                    <a:lstStyle/>
                    <a:p>
                      <a:endParaRPr lang="fr-FR"/>
                    </a:p>
                  </a:txBody>
                  <a:tcPr/>
                </a:tc>
                <a:tc gridSpan="3">
                  <a:txBody>
                    <a:bodyPr/>
                    <a:lstStyle/>
                    <a:p>
                      <a:pPr algn="ctr" fontAlgn="ctr"/>
                      <a:endParaRPr lang="fr-FR" sz="1600" b="0" i="0" u="none" strike="noStrike" dirty="0">
                        <a:solidFill>
                          <a:srgbClr val="FFFFFF"/>
                        </a:solidFill>
                        <a:effectLst/>
                        <a:latin typeface="Calibri" panose="020F0502020204030204" pitchFamily="34" charset="0"/>
                      </a:endParaRPr>
                    </a:p>
                  </a:txBody>
                  <a:tcPr marL="121920" marR="121920" marT="60960" marB="6096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endParaRPr lang="fr-FR"/>
                    </a:p>
                  </a:txBody>
                  <a:tcPr/>
                </a:tc>
                <a:tc hMerge="1">
                  <a:txBody>
                    <a:bodyPr/>
                    <a:lstStyle/>
                    <a:p>
                      <a:endParaRPr lang="fr-FR"/>
                    </a:p>
                  </a:txBody>
                  <a:tcPr/>
                </a:tc>
                <a:tc>
                  <a:txBody>
                    <a:bodyPr/>
                    <a:lstStyle/>
                    <a:p>
                      <a:pPr algn="ctr" fontAlgn="ctr"/>
                      <a:r>
                        <a:rPr lang="fr-FR" sz="1600" b="0" i="0" u="none" strike="noStrike" dirty="0">
                          <a:solidFill>
                            <a:srgbClr val="000000"/>
                          </a:solidFill>
                          <a:effectLst/>
                          <a:latin typeface="Calibri" panose="020F0502020204030204" pitchFamily="34" charset="0"/>
                        </a:rPr>
                        <a:t>Juin</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19</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741295601"/>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26/05/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27/05/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17/06/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Juillet</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1</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821226966"/>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02/07/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03/07/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24/07/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Août</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fr-FR" sz="1600" b="0" i="0" u="none" strike="noStrike" dirty="0">
                          <a:solidFill>
                            <a:srgbClr val="000000"/>
                          </a:solidFill>
                          <a:effectLst/>
                          <a:latin typeface="Calibri" panose="020F0502020204030204" pitchFamily="34" charset="0"/>
                        </a:rPr>
                        <a:t> </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891854011"/>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8/08/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9/08/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9/09/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Septem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3</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1</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3</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595505372"/>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5/09/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6/09/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7/10/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Octo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21</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7</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7</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24510242"/>
                  </a:ext>
                </a:extLst>
              </a:tr>
              <a:tr h="375420">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3/10/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4/10/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4/1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Novem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8</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6</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8</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715006976"/>
                  </a:ext>
                </a:extLst>
              </a:tr>
              <a:tr h="388367">
                <a:tc vMerge="1">
                  <a:txBody>
                    <a:bodyPr/>
                    <a:lstStyle/>
                    <a:p>
                      <a:endParaRPr lang="fr-FR"/>
                    </a:p>
                  </a:txBody>
                  <a:tcPr/>
                </a:tc>
                <a:tc>
                  <a:txBody>
                    <a:bodyPr/>
                    <a:lstStyle/>
                    <a:p>
                      <a:pPr algn="ctr" fontAlgn="ctr"/>
                      <a:r>
                        <a:rPr lang="fr-FR" sz="1600" b="0" i="0" u="none" strike="noStrike">
                          <a:solidFill>
                            <a:srgbClr val="000000"/>
                          </a:solidFill>
                          <a:effectLst/>
                          <a:latin typeface="Calibri" panose="020F0502020204030204" pitchFamily="34" charset="0"/>
                        </a:rPr>
                        <a:t>10/1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algn="ctr" fontAlgn="ctr"/>
                      <a:r>
                        <a:rPr lang="fr-FR" sz="1600" b="0" i="0" u="none" strike="noStrike">
                          <a:solidFill>
                            <a:srgbClr val="000000"/>
                          </a:solidFill>
                          <a:effectLst/>
                          <a:latin typeface="Calibri" panose="020F0502020204030204" pitchFamily="34" charset="0"/>
                        </a:rPr>
                        <a:t>11/11/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fr-FR" sz="1600" b="0" i="0" u="none" strike="noStrike" dirty="0">
                          <a:solidFill>
                            <a:srgbClr val="000000"/>
                          </a:solidFill>
                          <a:effectLst/>
                          <a:latin typeface="Calibri" panose="020F0502020204030204" pitchFamily="34" charset="0"/>
                        </a:rPr>
                        <a:t>02/12/2025</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ctr" fontAlgn="ctr"/>
                      <a:r>
                        <a:rPr lang="fr-FR" sz="1600" b="0" i="0" u="none" strike="noStrike" dirty="0">
                          <a:solidFill>
                            <a:srgbClr val="000000"/>
                          </a:solidFill>
                          <a:effectLst/>
                          <a:latin typeface="Calibri" panose="020F0502020204030204" pitchFamily="34" charset="0"/>
                        </a:rPr>
                        <a:t>Décembre</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6</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4</a:t>
                      </a:r>
                    </a:p>
                  </a:txBody>
                  <a:tcPr marL="8467" marR="8467" marT="84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fontAlgn="ctr"/>
                      <a:r>
                        <a:rPr lang="fr-FR" sz="1600" b="0" i="0" u="none" strike="noStrike" dirty="0">
                          <a:solidFill>
                            <a:srgbClr val="000000"/>
                          </a:solidFill>
                          <a:effectLst/>
                          <a:latin typeface="Calibri" panose="020F0502020204030204" pitchFamily="34" charset="0"/>
                        </a:rPr>
                        <a:t>16</a:t>
                      </a:r>
                    </a:p>
                  </a:txBody>
                  <a:tcPr marL="8467" marR="8467" marT="84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69805028"/>
                  </a:ext>
                </a:extLst>
              </a:tr>
              <a:tr h="388367">
                <a:tc>
                  <a:txBody>
                    <a:bodyPr/>
                    <a:lstStyle/>
                    <a:p>
                      <a:pPr algn="ctr" fontAlgn="ctr"/>
                      <a:r>
                        <a:rPr lang="fr-FR" sz="2100" b="1" i="0" u="none" strike="noStrike" dirty="0">
                          <a:solidFill>
                            <a:srgbClr val="000000"/>
                          </a:solidFill>
                          <a:effectLst/>
                          <a:latin typeface="Calibri" panose="020F0502020204030204" pitchFamily="34" charset="0"/>
                        </a:rPr>
                        <a:t>2026</a:t>
                      </a:r>
                    </a:p>
                  </a:txBody>
                  <a:tcPr marL="8467" marR="8467" marT="84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 </a:t>
                      </a:r>
                    </a:p>
                  </a:txBody>
                  <a:tcPr marL="8467" marR="8467" marT="846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a:solidFill>
                            <a:srgbClr val="000000"/>
                          </a:solidFill>
                          <a:effectLst/>
                          <a:latin typeface="Calibri" panose="020F0502020204030204" pitchFamily="34" charset="0"/>
                        </a:rPr>
                        <a:t> </a:t>
                      </a:r>
                    </a:p>
                  </a:txBody>
                  <a:tcPr marL="8467" marR="8467" marT="84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a:solidFill>
                            <a:srgbClr val="000000"/>
                          </a:solidFill>
                          <a:effectLst/>
                          <a:latin typeface="Calibri" panose="020F0502020204030204" pitchFamily="34" charset="0"/>
                        </a:rPr>
                        <a:t> </a:t>
                      </a:r>
                    </a:p>
                  </a:txBody>
                  <a:tcPr marL="8467" marR="8467" marT="84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fr-FR" sz="1600" b="0" i="0" u="none" strike="noStrike" dirty="0">
                        <a:solidFill>
                          <a:srgbClr val="000000"/>
                        </a:solidFill>
                        <a:effectLst/>
                        <a:latin typeface="Calibri" panose="020F0502020204030204" pitchFamily="34" charset="0"/>
                      </a:endParaRPr>
                    </a:p>
                  </a:txBody>
                  <a:tcPr marL="8467" marR="8467" marT="84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 </a:t>
                      </a:r>
                    </a:p>
                  </a:txBody>
                  <a:tcPr marL="8467" marR="8467" marT="84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a:solidFill>
                            <a:srgbClr val="000000"/>
                          </a:solidFill>
                          <a:effectLst/>
                          <a:latin typeface="Calibri" panose="020F0502020204030204" pitchFamily="34" charset="0"/>
                        </a:rPr>
                        <a:t> </a:t>
                      </a:r>
                    </a:p>
                  </a:txBody>
                  <a:tcPr marL="8467" marR="8467" marT="846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 </a:t>
                      </a:r>
                    </a:p>
                  </a:txBody>
                  <a:tcPr marL="8467" marR="8467" marT="846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3679356"/>
                  </a:ext>
                </a:extLst>
              </a:tr>
            </a:tbl>
          </a:graphicData>
        </a:graphic>
      </p:graphicFrame>
    </p:spTree>
    <p:extLst>
      <p:ext uri="{BB962C8B-B14F-4D97-AF65-F5344CB8AC3E}">
        <p14:creationId xmlns:p14="http://schemas.microsoft.com/office/powerpoint/2010/main" val="4139177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C58BA5-05DC-C0D2-B64D-09EA86893B8D}"/>
              </a:ext>
            </a:extLst>
          </p:cNvPr>
          <p:cNvSpPr/>
          <p:nvPr/>
        </p:nvSpPr>
        <p:spPr>
          <a:xfrm>
            <a:off x="14417137" y="7551833"/>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extBox 5">
            <a:extLst>
              <a:ext uri="{FF2B5EF4-FFF2-40B4-BE49-F238E27FC236}">
                <a16:creationId xmlns:a16="http://schemas.microsoft.com/office/drawing/2014/main" id="{A0FD1C0C-D969-1998-54FA-0FC02520F5CB}"/>
              </a:ext>
            </a:extLst>
          </p:cNvPr>
          <p:cNvSpPr txBox="1"/>
          <p:nvPr/>
        </p:nvSpPr>
        <p:spPr>
          <a:xfrm>
            <a:off x="599090" y="3477726"/>
            <a:ext cx="15142934" cy="3277820"/>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IV. Modalités et conditions d’accès 2025</a:t>
            </a:r>
            <a:endParaRPr lang="fr-FR" sz="7100" dirty="0">
              <a:solidFill>
                <a:prstClr val="black"/>
              </a:solidFill>
              <a:latin typeface="Arial Black"/>
              <a:cs typeface="Arial"/>
            </a:endParaRPr>
          </a:p>
          <a:p>
            <a:pPr defTabSz="812810">
              <a:defRPr/>
            </a:pPr>
            <a:r>
              <a:rPr lang="fr-FR" sz="7100" b="1" dirty="0">
                <a:solidFill>
                  <a:prstClr val="black"/>
                </a:solidFill>
                <a:latin typeface="Arial Black"/>
                <a:cs typeface="Arial"/>
              </a:rPr>
              <a:t>	 </a:t>
            </a: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9</a:t>
            </a:fld>
            <a:endParaRPr lang="fr-FR" sz="1333">
              <a:solidFill>
                <a:prstClr val="black"/>
              </a:solidFill>
              <a:latin typeface="Calibri"/>
            </a:endParaRPr>
          </a:p>
        </p:txBody>
      </p:sp>
      <p:pic>
        <p:nvPicPr>
          <p:cNvPr id="3" name="Image 2" descr="Une image contenant Police, Graphique, logo, symbole&#10;&#10;Description générée automatiquement">
            <a:extLst>
              <a:ext uri="{FF2B5EF4-FFF2-40B4-BE49-F238E27FC236}">
                <a16:creationId xmlns:a16="http://schemas.microsoft.com/office/drawing/2014/main" id="{BC9A4D79-E6F1-575C-79D0-BC3FAB20DCDC}"/>
              </a:ext>
            </a:extLst>
          </p:cNvPr>
          <p:cNvPicPr>
            <a:picLocks noChangeAspect="1"/>
          </p:cNvPicPr>
          <p:nvPr/>
        </p:nvPicPr>
        <p:blipFill>
          <a:blip r:embed="rId3"/>
          <a:stretch>
            <a:fillRect/>
          </a:stretch>
        </p:blipFill>
        <p:spPr>
          <a:xfrm>
            <a:off x="14153656" y="7712943"/>
            <a:ext cx="1985643" cy="800945"/>
          </a:xfrm>
          <a:prstGeom prst="rect">
            <a:avLst/>
          </a:prstGeom>
        </p:spPr>
      </p:pic>
    </p:spTree>
    <p:extLst>
      <p:ext uri="{BB962C8B-B14F-4D97-AF65-F5344CB8AC3E}">
        <p14:creationId xmlns:p14="http://schemas.microsoft.com/office/powerpoint/2010/main" val="4217844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080C504-F8A4-8337-312E-3DF836AF2462}"/>
              </a:ext>
            </a:extLst>
          </p:cNvPr>
          <p:cNvSpPr/>
          <p:nvPr/>
        </p:nvSpPr>
        <p:spPr>
          <a:xfrm>
            <a:off x="8156868" y="1511299"/>
            <a:ext cx="8099132" cy="6373911"/>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32">
            <a:extLst>
              <a:ext uri="{FF2B5EF4-FFF2-40B4-BE49-F238E27FC236}">
                <a16:creationId xmlns:a16="http://schemas.microsoft.com/office/drawing/2014/main" id="{F9FDEE5C-B1EF-7E5A-5124-6B6621AD2804}"/>
              </a:ext>
            </a:extLst>
          </p:cNvPr>
          <p:cNvSpPr/>
          <p:nvPr/>
        </p:nvSpPr>
        <p:spPr>
          <a:xfrm>
            <a:off x="4457" y="1511300"/>
            <a:ext cx="8100000" cy="6373911"/>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Espace réservé du numéro de diapositive 2">
            <a:extLst>
              <a:ext uri="{FF2B5EF4-FFF2-40B4-BE49-F238E27FC236}">
                <a16:creationId xmlns:a16="http://schemas.microsoft.com/office/drawing/2014/main" id="{8115D3D4-3F26-132E-E20F-BFEDD3C25579}"/>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0</a:t>
            </a:fld>
            <a:endParaRPr lang="fr-FR" sz="1400">
              <a:solidFill>
                <a:prstClr val="black"/>
              </a:solidFill>
              <a:latin typeface="Calibri"/>
            </a:endParaRPr>
          </a:p>
        </p:txBody>
      </p:sp>
      <p:sp>
        <p:nvSpPr>
          <p:cNvPr id="4" name="Title 2">
            <a:extLst>
              <a:ext uri="{FF2B5EF4-FFF2-40B4-BE49-F238E27FC236}">
                <a16:creationId xmlns:a16="http://schemas.microsoft.com/office/drawing/2014/main" id="{41F8A947-0767-14D4-4967-2B5783720B55}"/>
              </a:ext>
            </a:extLst>
          </p:cNvPr>
          <p:cNvSpPr>
            <a:spLocks noGrp="1"/>
          </p:cNvSpPr>
          <p:nvPr>
            <p:ph type="title"/>
          </p:nvPr>
        </p:nvSpPr>
        <p:spPr>
          <a:xfrm>
            <a:off x="1667003" y="447605"/>
            <a:ext cx="12088497" cy="535531"/>
          </a:xfrm>
        </p:spPr>
        <p:txBody>
          <a:bodyPr/>
          <a:lstStyle/>
          <a:p>
            <a:r>
              <a:rPr lang="fr-FR" sz="3200">
                <a:solidFill>
                  <a:schemeClr val="tx1"/>
                </a:solidFill>
                <a:latin typeface="Arial Black"/>
              </a:rPr>
              <a:t>Appels à projets VS. Appels à candidatures</a:t>
            </a:r>
          </a:p>
        </p:txBody>
      </p:sp>
      <p:grpSp>
        <p:nvGrpSpPr>
          <p:cNvPr id="8" name="Groupe 7">
            <a:extLst>
              <a:ext uri="{FF2B5EF4-FFF2-40B4-BE49-F238E27FC236}">
                <a16:creationId xmlns:a16="http://schemas.microsoft.com/office/drawing/2014/main" id="{1AB369C4-42E9-568E-93F0-DF4CDFD9525C}"/>
              </a:ext>
            </a:extLst>
          </p:cNvPr>
          <p:cNvGrpSpPr/>
          <p:nvPr/>
        </p:nvGrpSpPr>
        <p:grpSpPr>
          <a:xfrm>
            <a:off x="1302580" y="1485219"/>
            <a:ext cx="6663492" cy="1077218"/>
            <a:chOff x="1545079" y="1325309"/>
            <a:chExt cx="6663492" cy="1077218"/>
          </a:xfrm>
        </p:grpSpPr>
        <p:sp>
          <p:nvSpPr>
            <p:cNvPr id="9" name="Rectangle 8">
              <a:extLst>
                <a:ext uri="{FF2B5EF4-FFF2-40B4-BE49-F238E27FC236}">
                  <a16:creationId xmlns:a16="http://schemas.microsoft.com/office/drawing/2014/main" id="{C16702EC-7B72-0ADD-AF20-C780CBDD2A14}"/>
                </a:ext>
              </a:extLst>
            </p:cNvPr>
            <p:cNvSpPr/>
            <p:nvPr/>
          </p:nvSpPr>
          <p:spPr>
            <a:xfrm>
              <a:off x="1545079" y="1441285"/>
              <a:ext cx="497268" cy="591910"/>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a:pPr algn="ctr"/>
              <a:endParaRPr lang="fr-FR" sz="1600">
                <a:latin typeface="Arial" panose="020B0604020202020204" pitchFamily="34" charset="0"/>
                <a:cs typeface="Arial" panose="020B0604020202020204" pitchFamily="34" charset="0"/>
              </a:endParaRPr>
            </a:p>
          </p:txBody>
        </p:sp>
        <p:sp>
          <p:nvSpPr>
            <p:cNvPr id="10" name="ZoneTexte 3">
              <a:extLst>
                <a:ext uri="{FF2B5EF4-FFF2-40B4-BE49-F238E27FC236}">
                  <a16:creationId xmlns:a16="http://schemas.microsoft.com/office/drawing/2014/main" id="{5D2DFE5B-3A8B-77A3-4E3E-34DDE7AC0F5E}"/>
                </a:ext>
              </a:extLst>
            </p:cNvPr>
            <p:cNvSpPr txBox="1"/>
            <p:nvPr/>
          </p:nvSpPr>
          <p:spPr>
            <a:xfrm>
              <a:off x="1793713" y="1325309"/>
              <a:ext cx="6414858" cy="1077218"/>
            </a:xfrm>
            <a:prstGeom prst="rect">
              <a:avLst/>
            </a:prstGeom>
            <a:noFill/>
          </p:spPr>
          <p:txBody>
            <a:bodyPr wrap="square">
              <a:spAutoFit/>
            </a:bodyPr>
            <a:lstStyle>
              <a:defPPr>
                <a:defRPr lang="fr-FR"/>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a:pPr marL="0" indent="0">
                <a:spcBef>
                  <a:spcPts val="0"/>
                </a:spcBef>
                <a:buNone/>
              </a:pPr>
              <a:endParaRPr lang="fr-FR" sz="1600">
                <a:solidFill>
                  <a:sysClr val="windowText" lastClr="000000"/>
                </a:solidFill>
                <a:latin typeface="Arial" panose="020B0604020202020204" pitchFamily="34" charset="0"/>
                <a:cs typeface="Arial" panose="020B0604020202020204" pitchFamily="34" charset="0"/>
              </a:endParaRPr>
            </a:p>
            <a:p>
              <a:pPr algn="just"/>
              <a:r>
                <a:rPr lang="fr-FR" sz="2400" b="1" i="0">
                  <a:solidFill>
                    <a:sysClr val="windowText" lastClr="000000"/>
                  </a:solidFill>
                  <a:effectLst/>
                  <a:latin typeface="Arial Black" panose="020B0A04020102020204" pitchFamily="34" charset="0"/>
                  <a:cs typeface="Arial" panose="020B0604020202020204" pitchFamily="34" charset="0"/>
                </a:rPr>
                <a:t>APPELS À PROJETS (hors </a:t>
              </a:r>
              <a:r>
                <a:rPr lang="fr-FR" sz="2400" b="1" i="0" err="1">
                  <a:solidFill>
                    <a:sysClr val="windowText" lastClr="000000"/>
                  </a:solidFill>
                  <a:effectLst/>
                  <a:latin typeface="Arial Black" panose="020B0A04020102020204" pitchFamily="34" charset="0"/>
                  <a:cs typeface="Arial" panose="020B0604020202020204" pitchFamily="34" charset="0"/>
                </a:rPr>
                <a:t>Inv</a:t>
              </a:r>
              <a:r>
                <a:rPr lang="fr-FR" sz="2400" b="1" i="0">
                  <a:solidFill>
                    <a:sysClr val="windowText" lastClr="000000"/>
                  </a:solidFill>
                  <a:effectLst/>
                  <a:latin typeface="Arial Black" panose="020B0A04020102020204" pitchFamily="34" charset="0"/>
                  <a:cs typeface="Arial" panose="020B0604020202020204" pitchFamily="34" charset="0"/>
                </a:rPr>
                <a:t> innovant et </a:t>
              </a:r>
              <a:r>
                <a:rPr lang="fr-FR" sz="2400" b="1" i="0" err="1">
                  <a:solidFill>
                    <a:sysClr val="windowText" lastClr="000000"/>
                  </a:solidFill>
                  <a:effectLst/>
                  <a:latin typeface="Arial Black" panose="020B0A04020102020204" pitchFamily="34" charset="0"/>
                  <a:cs typeface="Arial" panose="020B0604020202020204" pitchFamily="34" charset="0"/>
                </a:rPr>
                <a:t>Inv</a:t>
              </a:r>
              <a:r>
                <a:rPr lang="fr-FR" sz="2400" b="1" i="0">
                  <a:solidFill>
                    <a:sysClr val="windowText" lastClr="000000"/>
                  </a:solidFill>
                  <a:effectLst/>
                  <a:latin typeface="Arial Black" panose="020B0A04020102020204" pitchFamily="34" charset="0"/>
                  <a:cs typeface="Arial" panose="020B0604020202020204" pitchFamily="34" charset="0"/>
                </a:rPr>
                <a:t> énergétique</a:t>
              </a:r>
            </a:p>
          </p:txBody>
        </p:sp>
      </p:grpSp>
      <p:grpSp>
        <p:nvGrpSpPr>
          <p:cNvPr id="11" name="Groupe 10">
            <a:extLst>
              <a:ext uri="{FF2B5EF4-FFF2-40B4-BE49-F238E27FC236}">
                <a16:creationId xmlns:a16="http://schemas.microsoft.com/office/drawing/2014/main" id="{285B928D-E5F7-6B30-C036-7A057618C6E0}"/>
              </a:ext>
            </a:extLst>
          </p:cNvPr>
          <p:cNvGrpSpPr/>
          <p:nvPr/>
        </p:nvGrpSpPr>
        <p:grpSpPr>
          <a:xfrm>
            <a:off x="9457630" y="1485219"/>
            <a:ext cx="5137144" cy="707886"/>
            <a:chOff x="1545079" y="1325309"/>
            <a:chExt cx="5137144" cy="707886"/>
          </a:xfrm>
        </p:grpSpPr>
        <p:sp>
          <p:nvSpPr>
            <p:cNvPr id="23" name="Rectangle 22">
              <a:extLst>
                <a:ext uri="{FF2B5EF4-FFF2-40B4-BE49-F238E27FC236}">
                  <a16:creationId xmlns:a16="http://schemas.microsoft.com/office/drawing/2014/main" id="{DB5DCFC7-9288-6DA4-D657-09D666466FA7}"/>
                </a:ext>
              </a:extLst>
            </p:cNvPr>
            <p:cNvSpPr/>
            <p:nvPr/>
          </p:nvSpPr>
          <p:spPr>
            <a:xfrm>
              <a:off x="1545079" y="1441285"/>
              <a:ext cx="497268" cy="591910"/>
            </a:xfrm>
            <a:prstGeom prst="rect">
              <a:avLst/>
            </a:prstGeom>
            <a:solidFill>
              <a:schemeClr val="bg1"/>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a:pPr algn="ctr"/>
              <a:endParaRPr lang="fr-FR" sz="1600">
                <a:latin typeface="Arial" panose="020B0604020202020204" pitchFamily="34" charset="0"/>
                <a:cs typeface="Arial" panose="020B0604020202020204" pitchFamily="34" charset="0"/>
              </a:endParaRPr>
            </a:p>
          </p:txBody>
        </p:sp>
        <p:sp>
          <p:nvSpPr>
            <p:cNvPr id="24" name="ZoneTexte 3">
              <a:extLst>
                <a:ext uri="{FF2B5EF4-FFF2-40B4-BE49-F238E27FC236}">
                  <a16:creationId xmlns:a16="http://schemas.microsoft.com/office/drawing/2014/main" id="{4ECE959F-C498-C11D-A552-C891EC688CCB}"/>
                </a:ext>
              </a:extLst>
            </p:cNvPr>
            <p:cNvSpPr txBox="1"/>
            <p:nvPr/>
          </p:nvSpPr>
          <p:spPr>
            <a:xfrm>
              <a:off x="1793712" y="1325309"/>
              <a:ext cx="4888511" cy="707886"/>
            </a:xfrm>
            <a:prstGeom prst="rect">
              <a:avLst/>
            </a:prstGeom>
            <a:noFill/>
          </p:spPr>
          <p:txBody>
            <a:bodyPr wrap="square">
              <a:spAutoFit/>
            </a:bodyPr>
            <a:lstStyle>
              <a:defPPr>
                <a:defRPr lang="fr-FR"/>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a:pPr marL="0" indent="0">
                <a:spcBef>
                  <a:spcPts val="0"/>
                </a:spcBef>
                <a:buNone/>
              </a:pPr>
              <a:endParaRPr lang="fr-FR" sz="1600">
                <a:solidFill>
                  <a:sysClr val="windowText" lastClr="000000"/>
                </a:solidFill>
                <a:latin typeface="Arial" panose="020B0604020202020204" pitchFamily="34" charset="0"/>
                <a:cs typeface="Arial" panose="020B0604020202020204" pitchFamily="34" charset="0"/>
              </a:endParaRPr>
            </a:p>
            <a:p>
              <a:pPr algn="just"/>
              <a:r>
                <a:rPr lang="fr-FR" sz="2400" b="1" i="0">
                  <a:solidFill>
                    <a:sysClr val="windowText" lastClr="000000"/>
                  </a:solidFill>
                  <a:effectLst/>
                  <a:latin typeface="Arial Black" panose="020B0A04020102020204" pitchFamily="34" charset="0"/>
                  <a:cs typeface="Arial" panose="020B0604020202020204" pitchFamily="34" charset="0"/>
                </a:rPr>
                <a:t>APPELS À CANDIDATURES</a:t>
              </a:r>
            </a:p>
          </p:txBody>
        </p:sp>
      </p:grpSp>
      <p:sp>
        <p:nvSpPr>
          <p:cNvPr id="25" name="ZoneTexte 24">
            <a:extLst>
              <a:ext uri="{FF2B5EF4-FFF2-40B4-BE49-F238E27FC236}">
                <a16:creationId xmlns:a16="http://schemas.microsoft.com/office/drawing/2014/main" id="{64D2D244-D8C3-FC03-2565-0590A514BF3F}"/>
              </a:ext>
            </a:extLst>
          </p:cNvPr>
          <p:cNvSpPr txBox="1"/>
          <p:nvPr/>
        </p:nvSpPr>
        <p:spPr>
          <a:xfrm>
            <a:off x="1072366" y="2628639"/>
            <a:ext cx="6233934" cy="86177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Je souhaite obtenir un cofinancement pour réaliser mon projet innovant</a:t>
            </a:r>
            <a:r>
              <a:rPr lang="fr-FR" sz="1600">
                <a:latin typeface="Arial" panose="020B0604020202020204" pitchFamily="34" charset="0"/>
                <a:cs typeface="Arial" panose="020B0604020202020204" pitchFamily="34" charset="0"/>
              </a:rPr>
              <a:t>, en lien avec une thématique proposée</a:t>
            </a:r>
          </a:p>
          <a:p>
            <a:pPr algn="r"/>
            <a:r>
              <a:rPr lang="fr-FR" sz="1600">
                <a:latin typeface="Arial" panose="020B0604020202020204" pitchFamily="34" charset="0"/>
                <a:cs typeface="Arial" panose="020B0604020202020204" pitchFamily="34" charset="0"/>
              </a:rPr>
              <a:t>par le CCCA-BTP</a:t>
            </a:r>
          </a:p>
        </p:txBody>
      </p:sp>
      <p:sp>
        <p:nvSpPr>
          <p:cNvPr id="27" name="ZoneTexte 26">
            <a:extLst>
              <a:ext uri="{FF2B5EF4-FFF2-40B4-BE49-F238E27FC236}">
                <a16:creationId xmlns:a16="http://schemas.microsoft.com/office/drawing/2014/main" id="{CE9AA457-31C5-24C0-1200-26238BF3BAC3}"/>
              </a:ext>
            </a:extLst>
          </p:cNvPr>
          <p:cNvSpPr txBox="1"/>
          <p:nvPr/>
        </p:nvSpPr>
        <p:spPr>
          <a:xfrm>
            <a:off x="1072366" y="6285512"/>
            <a:ext cx="6296924" cy="1077218"/>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Je réalise mon projet en autonomie </a:t>
            </a:r>
            <a:r>
              <a:rPr lang="fr-FR" sz="1600">
                <a:latin typeface="Arial" panose="020B0604020202020204" pitchFamily="34" charset="0"/>
                <a:cs typeface="Arial" panose="020B0604020202020204" pitchFamily="34" charset="0"/>
              </a:rPr>
              <a:t>et je suis responsable de son exécution. </a:t>
            </a:r>
            <a:r>
              <a:rPr lang="fr-FR" sz="1600" b="1">
                <a:latin typeface="Arial" panose="020B0604020202020204" pitchFamily="34" charset="0"/>
                <a:cs typeface="Arial" panose="020B0604020202020204" pitchFamily="34" charset="0"/>
              </a:rPr>
              <a:t>Je m’engage à participer aux instances prévues par le CCCA-BTP</a:t>
            </a:r>
            <a:r>
              <a:rPr lang="fr-FR" sz="1600">
                <a:latin typeface="Arial" panose="020B0604020202020204" pitchFamily="34" charset="0"/>
                <a:cs typeface="Arial" panose="020B0604020202020204" pitchFamily="34" charset="0"/>
              </a:rPr>
              <a:t> pour le tenir informé de l’état d’avancement de mon projet et je participe à la valorisation prévue en fin de projet </a:t>
            </a:r>
          </a:p>
        </p:txBody>
      </p:sp>
      <p:sp>
        <p:nvSpPr>
          <p:cNvPr id="28" name="ZoneTexte 27">
            <a:extLst>
              <a:ext uri="{FF2B5EF4-FFF2-40B4-BE49-F238E27FC236}">
                <a16:creationId xmlns:a16="http://schemas.microsoft.com/office/drawing/2014/main" id="{31BDD34D-6EAD-D74B-380E-0C01FD369455}"/>
              </a:ext>
            </a:extLst>
          </p:cNvPr>
          <p:cNvSpPr txBox="1"/>
          <p:nvPr/>
        </p:nvSpPr>
        <p:spPr>
          <a:xfrm>
            <a:off x="8917180" y="6285512"/>
            <a:ext cx="6387712" cy="1323439"/>
          </a:xfrm>
          <a:prstGeom prst="rect">
            <a:avLst/>
          </a:prstGeom>
          <a:noFill/>
        </p:spPr>
        <p:txBody>
          <a:bodyPr wrap="square">
            <a:spAutoFit/>
          </a:bodyPr>
          <a:lstStyle/>
          <a:p>
            <a:r>
              <a:rPr lang="fr-FR" sz="1600">
                <a:latin typeface="Arial" panose="020B0604020202020204" pitchFamily="34" charset="0"/>
                <a:cs typeface="Arial" panose="020B0604020202020204" pitchFamily="34" charset="0"/>
              </a:rPr>
              <a:t>Je sollicite l’accompagnement proposé en faisant acte de candidature. Si je suis sélectionné, </a:t>
            </a:r>
            <a:r>
              <a:rPr lang="fr-FR" sz="1600" b="1">
                <a:latin typeface="Arial" panose="020B0604020202020204" pitchFamily="34" charset="0"/>
                <a:cs typeface="Arial" panose="020B0604020202020204" pitchFamily="34" charset="0"/>
              </a:rPr>
              <a:t>je bénéficie de l’expertise du CCCA-BTP sur la thématique concernée avec une subvention </a:t>
            </a:r>
            <a:r>
              <a:rPr lang="fr-FR" sz="1600">
                <a:latin typeface="Arial" panose="020B0604020202020204" pitchFamily="34" charset="0"/>
                <a:cs typeface="Arial" panose="020B0604020202020204" pitchFamily="34" charset="0"/>
              </a:rPr>
              <a:t>pour m’aider dans le déploiement du dispositif poussé par les équipes.</a:t>
            </a:r>
          </a:p>
        </p:txBody>
      </p:sp>
      <p:sp>
        <p:nvSpPr>
          <p:cNvPr id="32" name="ZoneTexte 31">
            <a:extLst>
              <a:ext uri="{FF2B5EF4-FFF2-40B4-BE49-F238E27FC236}">
                <a16:creationId xmlns:a16="http://schemas.microsoft.com/office/drawing/2014/main" id="{0F8E07A0-84E1-9445-A5B1-58AA70C8628F}"/>
              </a:ext>
            </a:extLst>
          </p:cNvPr>
          <p:cNvSpPr txBox="1"/>
          <p:nvPr/>
        </p:nvSpPr>
        <p:spPr>
          <a:xfrm>
            <a:off x="5184404" y="8152438"/>
            <a:ext cx="5887192" cy="646331"/>
          </a:xfrm>
          <a:prstGeom prst="rect">
            <a:avLst/>
          </a:prstGeom>
          <a:noFill/>
        </p:spPr>
        <p:txBody>
          <a:bodyPr wrap="square">
            <a:spAutoFit/>
          </a:bodyPr>
          <a:lstStyle/>
          <a:p>
            <a:pPr algn="ctr"/>
            <a:r>
              <a:rPr lang="fr-FR" b="1">
                <a:latin typeface="Arial" panose="020B0604020202020204" pitchFamily="34" charset="0"/>
                <a:cs typeface="Arial" panose="020B0604020202020204" pitchFamily="34" charset="0"/>
              </a:rPr>
              <a:t>Pour en savoir plus : </a:t>
            </a:r>
          </a:p>
          <a:p>
            <a:pPr algn="ctr"/>
            <a:r>
              <a:rPr lang="fr-FR">
                <a:latin typeface="Arial" panose="020B0604020202020204" pitchFamily="34" charset="0"/>
                <a:cs typeface="Arial" panose="020B0604020202020204" pitchFamily="34" charset="0"/>
              </a:rPr>
              <a:t>https://www.appels-a-projets-cccabtp.fr/</a:t>
            </a:r>
          </a:p>
        </p:txBody>
      </p:sp>
      <p:cxnSp>
        <p:nvCxnSpPr>
          <p:cNvPr id="36" name="Connecteur droit 35">
            <a:extLst>
              <a:ext uri="{FF2B5EF4-FFF2-40B4-BE49-F238E27FC236}">
                <a16:creationId xmlns:a16="http://schemas.microsoft.com/office/drawing/2014/main" id="{AD330631-1508-BE45-E156-633E5EE7BF9F}"/>
              </a:ext>
            </a:extLst>
          </p:cNvPr>
          <p:cNvCxnSpPr>
            <a:cxnSpLocks/>
          </p:cNvCxnSpPr>
          <p:nvPr/>
        </p:nvCxnSpPr>
        <p:spPr>
          <a:xfrm>
            <a:off x="1072366" y="5760008"/>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Ellipse 39">
            <a:extLst>
              <a:ext uri="{FF2B5EF4-FFF2-40B4-BE49-F238E27FC236}">
                <a16:creationId xmlns:a16="http://schemas.microsoft.com/office/drawing/2014/main" id="{84090A04-0BCF-C306-A4CC-31CCC9DCB5B1}"/>
              </a:ext>
            </a:extLst>
          </p:cNvPr>
          <p:cNvSpPr/>
          <p:nvPr/>
        </p:nvSpPr>
        <p:spPr>
          <a:xfrm>
            <a:off x="7673463" y="4309895"/>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Ellipse 40">
            <a:extLst>
              <a:ext uri="{FF2B5EF4-FFF2-40B4-BE49-F238E27FC236}">
                <a16:creationId xmlns:a16="http://schemas.microsoft.com/office/drawing/2014/main" id="{7F11724A-C8B6-7BE8-0BC3-FBBE3599D1B6}"/>
              </a:ext>
            </a:extLst>
          </p:cNvPr>
          <p:cNvSpPr/>
          <p:nvPr/>
        </p:nvSpPr>
        <p:spPr>
          <a:xfrm>
            <a:off x="7735680" y="6341788"/>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ZoneTexte 44">
            <a:extLst>
              <a:ext uri="{FF2B5EF4-FFF2-40B4-BE49-F238E27FC236}">
                <a16:creationId xmlns:a16="http://schemas.microsoft.com/office/drawing/2014/main" id="{01D2251E-D6E4-14A1-675B-A52FB0A6E394}"/>
              </a:ext>
            </a:extLst>
          </p:cNvPr>
          <p:cNvSpPr txBox="1"/>
          <p:nvPr/>
        </p:nvSpPr>
        <p:spPr>
          <a:xfrm>
            <a:off x="8917180" y="4474708"/>
            <a:ext cx="6387712" cy="584775"/>
          </a:xfrm>
          <a:prstGeom prst="rect">
            <a:avLst/>
          </a:prstGeom>
          <a:noFill/>
        </p:spPr>
        <p:txBody>
          <a:bodyPr wrap="square">
            <a:spAutoFit/>
          </a:bodyPr>
          <a:lstStyle/>
          <a:p>
            <a:r>
              <a:rPr lang="fr-FR" sz="1600" b="1">
                <a:latin typeface="Arial" panose="020B0604020202020204" pitchFamily="34" charset="0"/>
                <a:cs typeface="Arial" panose="020B0604020202020204" pitchFamily="34" charset="0"/>
              </a:rPr>
              <a:t>Je suis un organisme de formation en apprentissage </a:t>
            </a:r>
            <a:r>
              <a:rPr lang="fr-FR" sz="1600">
                <a:latin typeface="Arial" panose="020B0604020202020204" pitchFamily="34" charset="0"/>
                <a:cs typeface="Arial" panose="020B0604020202020204" pitchFamily="34" charset="0"/>
              </a:rPr>
              <a:t>préparant aux métiers du BTP</a:t>
            </a:r>
          </a:p>
        </p:txBody>
      </p:sp>
      <p:cxnSp>
        <p:nvCxnSpPr>
          <p:cNvPr id="46" name="Connecteur droit 45">
            <a:extLst>
              <a:ext uri="{FF2B5EF4-FFF2-40B4-BE49-F238E27FC236}">
                <a16:creationId xmlns:a16="http://schemas.microsoft.com/office/drawing/2014/main" id="{280052A8-A5F0-E0A6-02ED-AB1C02D6516E}"/>
              </a:ext>
            </a:extLst>
          </p:cNvPr>
          <p:cNvCxnSpPr>
            <a:cxnSpLocks/>
          </p:cNvCxnSpPr>
          <p:nvPr/>
        </p:nvCxnSpPr>
        <p:spPr>
          <a:xfrm>
            <a:off x="1072366" y="3783954"/>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Ellipse 46">
            <a:extLst>
              <a:ext uri="{FF2B5EF4-FFF2-40B4-BE49-F238E27FC236}">
                <a16:creationId xmlns:a16="http://schemas.microsoft.com/office/drawing/2014/main" id="{8AD145E4-A74F-A960-E929-453BEB43DACC}"/>
              </a:ext>
            </a:extLst>
          </p:cNvPr>
          <p:cNvSpPr/>
          <p:nvPr/>
        </p:nvSpPr>
        <p:spPr>
          <a:xfrm>
            <a:off x="7670800" y="2602326"/>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8" name="ZoneTexte 47">
            <a:extLst>
              <a:ext uri="{FF2B5EF4-FFF2-40B4-BE49-F238E27FC236}">
                <a16:creationId xmlns:a16="http://schemas.microsoft.com/office/drawing/2014/main" id="{08E4DBC4-E536-6B54-5B1B-37ABE0657BF4}"/>
              </a:ext>
            </a:extLst>
          </p:cNvPr>
          <p:cNvSpPr txBox="1"/>
          <p:nvPr/>
        </p:nvSpPr>
        <p:spPr>
          <a:xfrm>
            <a:off x="1072366" y="4228486"/>
            <a:ext cx="6296924" cy="1077218"/>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Je peux être une structure autre qu’un organisme de formation mais j’ai un projet qui entre dans le développement de la formation professionnelle initiale,</a:t>
            </a:r>
            <a:r>
              <a:rPr lang="fr-FR" sz="1600">
                <a:latin typeface="Arial" panose="020B0604020202020204" pitchFamily="34" charset="0"/>
                <a:cs typeface="Arial" panose="020B0604020202020204" pitchFamily="34" charset="0"/>
              </a:rPr>
              <a:t> notamment de l'apprentissage</a:t>
            </a:r>
            <a:r>
              <a:rPr lang="fr-FR" sz="1600" b="1">
                <a:latin typeface="Arial" panose="020B0604020202020204" pitchFamily="34" charset="0"/>
                <a:cs typeface="Arial" panose="020B0604020202020204" pitchFamily="34" charset="0"/>
              </a:rPr>
              <a:t>, </a:t>
            </a:r>
            <a:r>
              <a:rPr lang="fr-FR" sz="1600">
                <a:latin typeface="Arial" panose="020B0604020202020204" pitchFamily="34" charset="0"/>
                <a:cs typeface="Arial" panose="020B0604020202020204" pitchFamily="34" charset="0"/>
              </a:rPr>
              <a:t>et de la formation professionnelle continu</a:t>
            </a:r>
            <a:r>
              <a:rPr lang="fr-FR" sz="1600" b="1">
                <a:latin typeface="Arial" panose="020B0604020202020204" pitchFamily="34" charset="0"/>
                <a:cs typeface="Arial" panose="020B0604020202020204" pitchFamily="34" charset="0"/>
              </a:rPr>
              <a:t>e</a:t>
            </a:r>
            <a:r>
              <a:rPr lang="fr-FR" sz="1600">
                <a:latin typeface="Arial" panose="020B0604020202020204" pitchFamily="34" charset="0"/>
                <a:cs typeface="Arial" panose="020B0604020202020204" pitchFamily="34" charset="0"/>
              </a:rPr>
              <a:t> dans les métiers du BTP</a:t>
            </a:r>
          </a:p>
        </p:txBody>
      </p:sp>
      <p:sp>
        <p:nvSpPr>
          <p:cNvPr id="49" name="ZoneTexte 48">
            <a:extLst>
              <a:ext uri="{FF2B5EF4-FFF2-40B4-BE49-F238E27FC236}">
                <a16:creationId xmlns:a16="http://schemas.microsoft.com/office/drawing/2014/main" id="{8D2852EB-F72B-B1C9-6262-EC58DCBF7798}"/>
              </a:ext>
            </a:extLst>
          </p:cNvPr>
          <p:cNvSpPr txBox="1"/>
          <p:nvPr/>
        </p:nvSpPr>
        <p:spPr>
          <a:xfrm>
            <a:off x="8917180" y="2644028"/>
            <a:ext cx="6387712" cy="830997"/>
          </a:xfrm>
          <a:prstGeom prst="rect">
            <a:avLst/>
          </a:prstGeom>
          <a:noFill/>
        </p:spPr>
        <p:txBody>
          <a:bodyPr wrap="square">
            <a:spAutoFit/>
          </a:bodyPr>
          <a:lstStyle/>
          <a:p>
            <a:r>
              <a:rPr lang="fr-FR" sz="1600" b="1">
                <a:latin typeface="Arial" panose="020B0604020202020204" pitchFamily="34" charset="0"/>
                <a:cs typeface="Arial" panose="020B0604020202020204" pitchFamily="34" charset="0"/>
              </a:rPr>
              <a:t>Je souhaite être accompagné via un appui direct du CCCA-BTP, accompagné d’une</a:t>
            </a:r>
            <a:r>
              <a:rPr lang="fr-FR" sz="1600">
                <a:latin typeface="Arial" panose="020B0604020202020204" pitchFamily="34" charset="0"/>
                <a:cs typeface="Arial" panose="020B0604020202020204" pitchFamily="34" charset="0"/>
              </a:rPr>
              <a:t> subvention sur un sujet spécifique préalablement défini</a:t>
            </a:r>
          </a:p>
        </p:txBody>
      </p:sp>
      <p:pic>
        <p:nvPicPr>
          <p:cNvPr id="51" name="Graphique 50" descr="Mille contour">
            <a:extLst>
              <a:ext uri="{FF2B5EF4-FFF2-40B4-BE49-F238E27FC236}">
                <a16:creationId xmlns:a16="http://schemas.microsoft.com/office/drawing/2014/main" id="{37285C08-3950-72A8-B0AD-23F589CCA5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94345" y="2597917"/>
            <a:ext cx="914400" cy="914400"/>
          </a:xfrm>
          <a:prstGeom prst="rect">
            <a:avLst/>
          </a:prstGeom>
        </p:spPr>
      </p:pic>
      <p:pic>
        <p:nvPicPr>
          <p:cNvPr id="55" name="Graphique 54" descr="Utilisateurs contour">
            <a:extLst>
              <a:ext uri="{FF2B5EF4-FFF2-40B4-BE49-F238E27FC236}">
                <a16:creationId xmlns:a16="http://schemas.microsoft.com/office/drawing/2014/main" id="{A96FD880-A881-6755-9A60-6406E21F90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88801" y="4281986"/>
            <a:ext cx="914400" cy="914400"/>
          </a:xfrm>
          <a:prstGeom prst="rect">
            <a:avLst/>
          </a:prstGeom>
        </p:spPr>
      </p:pic>
      <p:pic>
        <p:nvPicPr>
          <p:cNvPr id="57" name="Graphique 56" descr="Engrenages contour">
            <a:extLst>
              <a:ext uri="{FF2B5EF4-FFF2-40B4-BE49-F238E27FC236}">
                <a16:creationId xmlns:a16="http://schemas.microsoft.com/office/drawing/2014/main" id="{176E49E8-A0D8-9DD0-CBAE-2CCE72F83E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83269" y="6341788"/>
            <a:ext cx="914400" cy="914400"/>
          </a:xfrm>
          <a:prstGeom prst="rect">
            <a:avLst/>
          </a:prstGeom>
        </p:spPr>
      </p:pic>
      <p:sp>
        <p:nvSpPr>
          <p:cNvPr id="3" name="Rectangle 2">
            <a:extLst>
              <a:ext uri="{FF2B5EF4-FFF2-40B4-BE49-F238E27FC236}">
                <a16:creationId xmlns:a16="http://schemas.microsoft.com/office/drawing/2014/main" id="{91304A89-8C42-160A-629F-F1D983522BBB}"/>
              </a:ext>
            </a:extLst>
          </p:cNvPr>
          <p:cNvSpPr/>
          <p:nvPr/>
        </p:nvSpPr>
        <p:spPr>
          <a:xfrm>
            <a:off x="14793414"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55432A91-46C0-1C6A-3975-5950D9B7E6B5}"/>
              </a:ext>
            </a:extLst>
          </p:cNvPr>
          <p:cNvPicPr>
            <a:picLocks noChangeAspect="1"/>
          </p:cNvPicPr>
          <p:nvPr/>
        </p:nvPicPr>
        <p:blipFill>
          <a:blip r:embed="rId9"/>
          <a:stretch>
            <a:fillRect/>
          </a:stretch>
        </p:blipFill>
        <p:spPr>
          <a:xfrm>
            <a:off x="14395548" y="160525"/>
            <a:ext cx="1823083" cy="828038"/>
          </a:xfrm>
          <a:prstGeom prst="rect">
            <a:avLst/>
          </a:prstGeom>
        </p:spPr>
      </p:pic>
    </p:spTree>
    <p:extLst>
      <p:ext uri="{BB962C8B-B14F-4D97-AF65-F5344CB8AC3E}">
        <p14:creationId xmlns:p14="http://schemas.microsoft.com/office/powerpoint/2010/main" val="3797859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959A4-F51C-5CC8-FF56-DCB276F95D88}"/>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34872F7-CCCF-BAE9-0E88-F9246AB8F999}"/>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1</a:t>
            </a:fld>
            <a:endParaRPr lang="fr-FR" sz="1400">
              <a:solidFill>
                <a:prstClr val="black"/>
              </a:solidFill>
              <a:latin typeface="Calibri"/>
            </a:endParaRPr>
          </a:p>
        </p:txBody>
      </p:sp>
      <p:sp>
        <p:nvSpPr>
          <p:cNvPr id="4" name="Title 2">
            <a:extLst>
              <a:ext uri="{FF2B5EF4-FFF2-40B4-BE49-F238E27FC236}">
                <a16:creationId xmlns:a16="http://schemas.microsoft.com/office/drawing/2014/main" id="{B6C77683-6820-68D5-8B15-0E971D86CCC4}"/>
              </a:ext>
            </a:extLst>
          </p:cNvPr>
          <p:cNvSpPr>
            <a:spLocks noGrp="1"/>
          </p:cNvSpPr>
          <p:nvPr>
            <p:ph type="title"/>
          </p:nvPr>
        </p:nvSpPr>
        <p:spPr>
          <a:xfrm>
            <a:off x="1667003" y="226006"/>
            <a:ext cx="12088497" cy="978729"/>
          </a:xfrm>
        </p:spPr>
        <p:txBody>
          <a:bodyPr/>
          <a:lstStyle/>
          <a:p>
            <a:r>
              <a:rPr lang="fr-FR" sz="3200">
                <a:solidFill>
                  <a:schemeClr val="tx1"/>
                </a:solidFill>
                <a:latin typeface="Arial Black"/>
              </a:rPr>
              <a:t>Synthèse des éléments fondamentaux des différents dispositifs</a:t>
            </a:r>
          </a:p>
        </p:txBody>
      </p:sp>
      <p:sp>
        <p:nvSpPr>
          <p:cNvPr id="32" name="ZoneTexte 31">
            <a:extLst>
              <a:ext uri="{FF2B5EF4-FFF2-40B4-BE49-F238E27FC236}">
                <a16:creationId xmlns:a16="http://schemas.microsoft.com/office/drawing/2014/main" id="{175F7E2E-547C-086B-B35B-5FCE6F340A94}"/>
              </a:ext>
            </a:extLst>
          </p:cNvPr>
          <p:cNvSpPr txBox="1"/>
          <p:nvPr/>
        </p:nvSpPr>
        <p:spPr>
          <a:xfrm>
            <a:off x="5184404" y="8152438"/>
            <a:ext cx="5887192" cy="646331"/>
          </a:xfrm>
          <a:prstGeom prst="rect">
            <a:avLst/>
          </a:prstGeom>
          <a:noFill/>
        </p:spPr>
        <p:txBody>
          <a:bodyPr wrap="square">
            <a:spAutoFit/>
          </a:bodyPr>
          <a:lstStyle/>
          <a:p>
            <a:pPr algn="ctr"/>
            <a:r>
              <a:rPr lang="fr-FR" b="1">
                <a:latin typeface="Arial" panose="020B0604020202020204" pitchFamily="34" charset="0"/>
                <a:cs typeface="Arial" panose="020B0604020202020204" pitchFamily="34" charset="0"/>
              </a:rPr>
              <a:t>Pour en savoir plus : </a:t>
            </a:r>
          </a:p>
          <a:p>
            <a:pPr algn="ctr"/>
            <a:r>
              <a:rPr lang="fr-FR">
                <a:latin typeface="Arial" panose="020B0604020202020204" pitchFamily="34" charset="0"/>
                <a:cs typeface="Arial" panose="020B0604020202020204" pitchFamily="34" charset="0"/>
              </a:rPr>
              <a:t>https://www.appels-a-projets-cccabtp.fr/</a:t>
            </a:r>
          </a:p>
        </p:txBody>
      </p:sp>
      <p:sp>
        <p:nvSpPr>
          <p:cNvPr id="3" name="Rectangle 2">
            <a:extLst>
              <a:ext uri="{FF2B5EF4-FFF2-40B4-BE49-F238E27FC236}">
                <a16:creationId xmlns:a16="http://schemas.microsoft.com/office/drawing/2014/main" id="{52D52266-1079-23AB-6B5C-91A2FD002DF0}"/>
              </a:ext>
            </a:extLst>
          </p:cNvPr>
          <p:cNvSpPr/>
          <p:nvPr/>
        </p:nvSpPr>
        <p:spPr>
          <a:xfrm>
            <a:off x="14793414"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7F3B4E77-7BE8-C64D-390A-984E014CBB9C}"/>
              </a:ext>
            </a:extLst>
          </p:cNvPr>
          <p:cNvPicPr>
            <a:picLocks noChangeAspect="1"/>
          </p:cNvPicPr>
          <p:nvPr/>
        </p:nvPicPr>
        <p:blipFill>
          <a:blip r:embed="rId3"/>
          <a:stretch>
            <a:fillRect/>
          </a:stretch>
        </p:blipFill>
        <p:spPr>
          <a:xfrm>
            <a:off x="14395548" y="160525"/>
            <a:ext cx="1823083" cy="828038"/>
          </a:xfrm>
          <a:prstGeom prst="rect">
            <a:avLst/>
          </a:prstGeom>
        </p:spPr>
      </p:pic>
      <p:graphicFrame>
        <p:nvGraphicFramePr>
          <p:cNvPr id="5" name="Tableau 4">
            <a:extLst>
              <a:ext uri="{FF2B5EF4-FFF2-40B4-BE49-F238E27FC236}">
                <a16:creationId xmlns:a16="http://schemas.microsoft.com/office/drawing/2014/main" id="{83D0ED16-1D8A-7E27-D021-672AEFC5B164}"/>
              </a:ext>
            </a:extLst>
          </p:cNvPr>
          <p:cNvGraphicFramePr>
            <a:graphicFrameLocks noGrp="1"/>
          </p:cNvGraphicFramePr>
          <p:nvPr>
            <p:extLst>
              <p:ext uri="{D42A27DB-BD31-4B8C-83A1-F6EECF244321}">
                <p14:modId xmlns:p14="http://schemas.microsoft.com/office/powerpoint/2010/main" val="3212579746"/>
              </p:ext>
            </p:extLst>
          </p:nvPr>
        </p:nvGraphicFramePr>
        <p:xfrm>
          <a:off x="613611" y="1412123"/>
          <a:ext cx="15180570" cy="6680317"/>
        </p:xfrm>
        <a:graphic>
          <a:graphicData uri="http://schemas.openxmlformats.org/drawingml/2006/table">
            <a:tbl>
              <a:tblPr firstRow="1" bandRow="1">
                <a:tableStyleId>{69012ECD-51FC-41F1-AA8D-1B2483CD663E}</a:tableStyleId>
              </a:tblPr>
              <a:tblGrid>
                <a:gridCol w="2945555">
                  <a:extLst>
                    <a:ext uri="{9D8B030D-6E8A-4147-A177-3AD203B41FA5}">
                      <a16:colId xmlns:a16="http://schemas.microsoft.com/office/drawing/2014/main" val="13327867"/>
                    </a:ext>
                  </a:extLst>
                </a:gridCol>
                <a:gridCol w="3068675">
                  <a:extLst>
                    <a:ext uri="{9D8B030D-6E8A-4147-A177-3AD203B41FA5}">
                      <a16:colId xmlns:a16="http://schemas.microsoft.com/office/drawing/2014/main" val="3542265170"/>
                    </a:ext>
                  </a:extLst>
                </a:gridCol>
                <a:gridCol w="3035679">
                  <a:extLst>
                    <a:ext uri="{9D8B030D-6E8A-4147-A177-3AD203B41FA5}">
                      <a16:colId xmlns:a16="http://schemas.microsoft.com/office/drawing/2014/main" val="724431835"/>
                    </a:ext>
                  </a:extLst>
                </a:gridCol>
                <a:gridCol w="3700788">
                  <a:extLst>
                    <a:ext uri="{9D8B030D-6E8A-4147-A177-3AD203B41FA5}">
                      <a16:colId xmlns:a16="http://schemas.microsoft.com/office/drawing/2014/main" val="1807150619"/>
                    </a:ext>
                  </a:extLst>
                </a:gridCol>
                <a:gridCol w="2429873">
                  <a:extLst>
                    <a:ext uri="{9D8B030D-6E8A-4147-A177-3AD203B41FA5}">
                      <a16:colId xmlns:a16="http://schemas.microsoft.com/office/drawing/2014/main" val="3842937917"/>
                    </a:ext>
                  </a:extLst>
                </a:gridCol>
              </a:tblGrid>
              <a:tr h="725805">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endParaRPr lang="fr-FR" sz="1100">
                        <a:solidFill>
                          <a:schemeClr val="bg1"/>
                        </a:solidFill>
                        <a:latin typeface="+mn-lt"/>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a:solidFill>
                            <a:schemeClr val="bg1"/>
                          </a:solidFill>
                          <a:latin typeface="+mn-lt"/>
                        </a:rPr>
                        <a:t>Appels à Projets</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a:solidFill>
                            <a:schemeClr val="bg1"/>
                          </a:solidFill>
                          <a:latin typeface="+mn-lt"/>
                        </a:rPr>
                        <a:t>Investissements innovants</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a:solidFill>
                            <a:schemeClr val="bg1"/>
                          </a:solidFill>
                          <a:latin typeface="+mn-lt"/>
                        </a:rPr>
                        <a:t>Investissement énergétique : espace formation et hébergement</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a:solidFill>
                            <a:schemeClr val="bg1"/>
                          </a:solidFill>
                          <a:latin typeface="+mn-lt"/>
                        </a:rPr>
                        <a:t>Appels  Candidatures</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2004760"/>
                  </a:ext>
                </a:extLst>
              </a:tr>
              <a:tr h="4152036">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100" b="1">
                          <a:solidFill>
                            <a:schemeClr val="tx1"/>
                          </a:solidFill>
                          <a:uFill>
                            <a:solidFill>
                              <a:srgbClr val="5B9BD5"/>
                            </a:solidFill>
                          </a:uFill>
                          <a:latin typeface="+mn-lt"/>
                        </a:rPr>
                        <a:t>Critères d’accès</a:t>
                      </a:r>
                    </a:p>
                    <a:p>
                      <a:endParaRPr lang="fr-FR" sz="1100">
                        <a:solidFill>
                          <a:schemeClr val="tx1"/>
                        </a:solidFill>
                        <a:latin typeface="+mn-lt"/>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Toute structure est éligible au dépôt d’un ou plusieurs projets dans le cadre des appels à projets à la condition que le projet s’inscrive dans les missions du CCCA-BTP à savoir que le projet « concourt au développement de la formation professionnelle initiale, notamment de l'apprentissage, et de la formation professionnelle continue dans les métiers des professions du bâtiment et des travaux publics » article L.6331-36 du Code du Travail.</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1100" kern="1200">
                        <a:solidFill>
                          <a:schemeClr val="tx1"/>
                        </a:solidFill>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Dans l’hypothèse où le porteur de projet n’est pas lui-même un organisme de formation aux métiers du BTP, il est demandé que le projet soit expérimenté dans un organisme de formation aux métiers du BTP</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Tout organisme de formation en apprentissage aux métiers du BTP est éligible au dépôt d’un ou plusieurs projets dans le cadre de l’appel à projet « investissements innovants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1100" kern="1200">
                        <a:solidFill>
                          <a:schemeClr val="tx1"/>
                        </a:solidFill>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Avec critères alternatifs</a:t>
                      </a: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1/L’organisme de formation doit justifier d’un nombre minimal d’au-moins 50 jeunes en apprentissage et au moins deux sections dans les premiers niveaux de formation (niveau 3 et 4)</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1100" kern="1200">
                        <a:solidFill>
                          <a:schemeClr val="tx1"/>
                        </a:solidFill>
                        <a:latin typeface="+mn-lt"/>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2/L’organisme de formation doit démontrer que 75 % des apprentis préparant dans leur établissement une certification du bâtiment ou des travaux publics, ont signé un contrat d’apprentissage avec une entreprise du BTP.</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lvl="0"/>
                      <a:r>
                        <a:rPr lang="fr-FR" sz="1100" kern="1200">
                          <a:solidFill>
                            <a:schemeClr val="tx1"/>
                          </a:solidFill>
                          <a:latin typeface="+mn-lt"/>
                        </a:rPr>
                        <a:t>Tout organisme de formation en apprentissage formant aux métiers du BTP (hors lycées professionnels), propriétaires de leurs espaces (formation et/ou hébergement) implantés sur l’ensemble du territoire national est éligible au dépôt d’un ou plusieurs projets dans le cadre de l’appel à projet investissement énergétique :</a:t>
                      </a:r>
                    </a:p>
                    <a:p>
                      <a:pPr lvl="0"/>
                      <a:endParaRPr lang="fr-FR" sz="1100" kern="1200">
                        <a:solidFill>
                          <a:schemeClr val="tx1"/>
                        </a:solidFill>
                        <a:latin typeface="+mn-lt"/>
                      </a:endParaRPr>
                    </a:p>
                    <a:p>
                      <a:pPr lvl="0"/>
                      <a:r>
                        <a:rPr lang="fr-FR" sz="1100" kern="1200">
                          <a:solidFill>
                            <a:schemeClr val="tx1"/>
                          </a:solidFill>
                          <a:latin typeface="+mn-lt"/>
                        </a:rPr>
                        <a:t>Pour les espaces de formation : </a:t>
                      </a:r>
                    </a:p>
                    <a:p>
                      <a:pPr lvl="1"/>
                      <a:r>
                        <a:rPr lang="fr-FR" sz="1100" kern="1200">
                          <a:solidFill>
                            <a:schemeClr val="tx1"/>
                          </a:solidFill>
                          <a:latin typeface="+mn-lt"/>
                        </a:rPr>
                        <a:t>Le dossier déposé doit correspondre à un projet de rénovation  énergétique du bâti (mono-geste ou rénovation globale)</a:t>
                      </a:r>
                    </a:p>
                    <a:p>
                      <a:pPr lvl="0"/>
                      <a:r>
                        <a:rPr lang="fr-FR" sz="1100" kern="1200">
                          <a:solidFill>
                            <a:schemeClr val="tx1"/>
                          </a:solidFill>
                          <a:latin typeface="+mn-lt"/>
                        </a:rPr>
                        <a:t>Pour les espaces d’hébergement </a:t>
                      </a:r>
                    </a:p>
                    <a:p>
                      <a:pPr lvl="0"/>
                      <a:r>
                        <a:rPr lang="fr-FR" sz="1100" kern="1200">
                          <a:solidFill>
                            <a:schemeClr val="tx1"/>
                          </a:solidFill>
                          <a:latin typeface="+mn-lt"/>
                        </a:rPr>
                        <a:t>L’objet du projet peut être la réalisation d’une construction neuve </a:t>
                      </a:r>
                    </a:p>
                    <a:p>
                      <a:r>
                        <a:rPr lang="fr-FR" sz="1100" kern="1200">
                          <a:solidFill>
                            <a:schemeClr val="tx1"/>
                          </a:solidFill>
                          <a:latin typeface="+mn-lt"/>
                        </a:rPr>
                        <a:t>Et/ou</a:t>
                      </a:r>
                    </a:p>
                    <a:p>
                      <a:pPr lvl="0"/>
                      <a:r>
                        <a:rPr lang="fr-FR" sz="1100" kern="1200">
                          <a:solidFill>
                            <a:schemeClr val="tx1"/>
                          </a:solidFill>
                          <a:latin typeface="+mn-lt"/>
                        </a:rPr>
                        <a:t>Un projet de rénovation énergétique du bâti (mono-geste ou rénovation globale) </a:t>
                      </a:r>
                    </a:p>
                    <a:p>
                      <a:pPr lvl="3"/>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lvl="0" algn="just"/>
                      <a:r>
                        <a:rPr lang="fr-FR" sz="1100" kern="1200">
                          <a:solidFill>
                            <a:schemeClr val="tx1"/>
                          </a:solidFill>
                          <a:latin typeface="+mn-lt"/>
                        </a:rPr>
                        <a:t>Tout organisme de formation en apprentissage formant aux métiers du BTP est éligible au dépôt d’une candidature dans le cadre des appels à candidatures du CCCA-BTP. </a:t>
                      </a:r>
                    </a:p>
                    <a:p>
                      <a:pPr lvl="0" algn="just"/>
                      <a:endParaRPr lang="fr-FR" sz="1100" kern="1200">
                        <a:solidFill>
                          <a:schemeClr val="tx1"/>
                        </a:solidFill>
                        <a:latin typeface="+mn-lt"/>
                      </a:endParaRPr>
                    </a:p>
                    <a:p>
                      <a:pPr marL="0" marR="0" lvl="0" indent="0" algn="just" defTabSz="1219215"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mn-lt"/>
                        </a:rPr>
                        <a:t>En justifiant un des trois critères alternatifs suivants:</a:t>
                      </a:r>
                      <a:r>
                        <a:rPr lang="fr-FR" sz="1100" kern="1200">
                          <a:solidFill>
                            <a:schemeClr val="tx1"/>
                          </a:solidFill>
                          <a:latin typeface="+mn-lt"/>
                        </a:rPr>
                        <a:t> </a:t>
                      </a:r>
                      <a:r>
                        <a:rPr lang="fr-FR" sz="1100" kern="1200">
                          <a:solidFill>
                            <a:schemeClr val="tx1"/>
                          </a:solidFill>
                          <a:latin typeface="+mn-lt"/>
                          <a:ea typeface="+mn-ea"/>
                          <a:cs typeface="+mn-cs"/>
                        </a:rPr>
                        <a:t>1/L’organisme de formation doit justifier d’un nombre minimal d’au-moins 50 jeunes en apprentissage et au moins une section dans les premiers niveaux de formation (niveau 3 et 4)</a:t>
                      </a:r>
                    </a:p>
                    <a:p>
                      <a:pPr lvl="0" algn="just"/>
                      <a:endParaRPr lang="fr-FR" sz="1100" kern="1200">
                        <a:solidFill>
                          <a:schemeClr val="tx1"/>
                        </a:solidFill>
                        <a:latin typeface="+mn-lt"/>
                        <a:ea typeface="+mn-ea"/>
                        <a:cs typeface="+mn-cs"/>
                      </a:endParaRPr>
                    </a:p>
                    <a:p>
                      <a:pPr lvl="0" algn="just"/>
                      <a:r>
                        <a:rPr lang="fr-FR" sz="1100" kern="1200">
                          <a:solidFill>
                            <a:schemeClr val="tx1"/>
                          </a:solidFill>
                          <a:latin typeface="+mn-lt"/>
                          <a:ea typeface="+mn-ea"/>
                          <a:cs typeface="+mn-cs"/>
                        </a:rPr>
                        <a:t>2/L’organisme de formation doit justifier qu’il compte au moins 50 % des jeunes formés en apprentissage aux métiers du BTP</a:t>
                      </a:r>
                    </a:p>
                    <a:p>
                      <a:pPr lvl="0" algn="just"/>
                      <a:endParaRPr lang="fr-FR" sz="1100" kern="1200">
                        <a:solidFill>
                          <a:schemeClr val="tx1"/>
                        </a:solidFill>
                        <a:latin typeface="+mn-lt"/>
                        <a:ea typeface="+mn-ea"/>
                        <a:cs typeface="+mn-cs"/>
                      </a:endParaRPr>
                    </a:p>
                    <a:p>
                      <a:pPr lvl="0" algn="just"/>
                      <a:r>
                        <a:rPr lang="fr-FR" sz="1100" kern="1200">
                          <a:solidFill>
                            <a:schemeClr val="tx1"/>
                          </a:solidFill>
                          <a:latin typeface="+mn-lt"/>
                          <a:ea typeface="+mn-ea"/>
                          <a:cs typeface="+mn-cs"/>
                        </a:rPr>
                        <a:t>3/L’organisme de formation doit démontrer que 75 % des apprentis préparant dans leur établissement une certification du bâtiment ou des travaux publics, ont signé un contrat d’apprentissage avec une entreprise du BTP</a:t>
                      </a:r>
                    </a:p>
                    <a:p>
                      <a:pPr lvl="0"/>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4392639"/>
                  </a:ext>
                </a:extLst>
              </a:tr>
              <a:tr h="542146">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100" b="1">
                          <a:solidFill>
                            <a:schemeClr val="tx1"/>
                          </a:solidFill>
                          <a:uFill>
                            <a:solidFill>
                              <a:srgbClr val="5B9BD5"/>
                            </a:solidFill>
                          </a:uFill>
                          <a:latin typeface="+mn-lt"/>
                        </a:rPr>
                        <a:t>L’obligation d’essaimage des productions et résultats des projets financés par le CCCA-BTP</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NA</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309899"/>
                  </a:ext>
                </a:extLst>
              </a:tr>
              <a:tr h="775482">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100" b="1">
                          <a:solidFill>
                            <a:schemeClr val="tx1"/>
                          </a:solidFill>
                          <a:uFill>
                            <a:solidFill>
                              <a:srgbClr val="5B9BD5"/>
                            </a:solidFill>
                          </a:uFill>
                          <a:latin typeface="+mn-lt"/>
                        </a:rPr>
                        <a:t>Pas de limite de budget projet </a:t>
                      </a:r>
                      <a:endParaRPr lang="fr-FR" sz="1100" b="1">
                        <a:solidFill>
                          <a:schemeClr val="tx1"/>
                        </a:solidFill>
                        <a:uFill>
                          <a:solidFill>
                            <a:srgbClr val="5B9BD5"/>
                          </a:solidFill>
                        </a:u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X</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100" kern="1200">
                          <a:solidFill>
                            <a:schemeClr val="tx1"/>
                          </a:solidFill>
                          <a:latin typeface="+mn-lt"/>
                        </a:rPr>
                        <a:t>NA</a:t>
                      </a:r>
                      <a:endParaRPr lang="fr-FR" sz="11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0964902"/>
                  </a:ext>
                </a:extLst>
              </a:tr>
            </a:tbl>
          </a:graphicData>
        </a:graphic>
      </p:graphicFrame>
      <p:sp>
        <p:nvSpPr>
          <p:cNvPr id="2" name="Rectangle 1">
            <a:extLst>
              <a:ext uri="{FF2B5EF4-FFF2-40B4-BE49-F238E27FC236}">
                <a16:creationId xmlns:a16="http://schemas.microsoft.com/office/drawing/2014/main" id="{C1C8E3A2-DE13-622E-775A-CCD15FE6C65A}"/>
              </a:ext>
            </a:extLst>
          </p:cNvPr>
          <p:cNvSpPr/>
          <p:nvPr/>
        </p:nvSpPr>
        <p:spPr>
          <a:xfrm>
            <a:off x="9683114" y="2154477"/>
            <a:ext cx="3632549" cy="5754950"/>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65583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2789EC-E2A8-0F42-220E-7CEC6D0C415D}"/>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5E6D0EE-6A72-7375-296A-1E1E21575BEF}"/>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2</a:t>
            </a:fld>
            <a:endParaRPr lang="fr-FR" sz="1400">
              <a:solidFill>
                <a:prstClr val="black"/>
              </a:solidFill>
              <a:latin typeface="Calibri"/>
            </a:endParaRPr>
          </a:p>
        </p:txBody>
      </p:sp>
      <p:sp>
        <p:nvSpPr>
          <p:cNvPr id="4" name="Title 2">
            <a:extLst>
              <a:ext uri="{FF2B5EF4-FFF2-40B4-BE49-F238E27FC236}">
                <a16:creationId xmlns:a16="http://schemas.microsoft.com/office/drawing/2014/main" id="{EBBE1B26-7063-B626-40FC-323C4D9EC3BF}"/>
              </a:ext>
            </a:extLst>
          </p:cNvPr>
          <p:cNvSpPr>
            <a:spLocks noGrp="1"/>
          </p:cNvSpPr>
          <p:nvPr>
            <p:ph type="title"/>
          </p:nvPr>
        </p:nvSpPr>
        <p:spPr>
          <a:xfrm>
            <a:off x="1667003" y="226006"/>
            <a:ext cx="12088497" cy="978729"/>
          </a:xfrm>
        </p:spPr>
        <p:txBody>
          <a:bodyPr/>
          <a:lstStyle/>
          <a:p>
            <a:r>
              <a:rPr lang="fr-FR" sz="3200">
                <a:solidFill>
                  <a:schemeClr val="tx1"/>
                </a:solidFill>
                <a:latin typeface="Arial Black"/>
              </a:rPr>
              <a:t>Synthèse des éléments fondamentaux des différents dispositifs</a:t>
            </a:r>
          </a:p>
        </p:txBody>
      </p:sp>
      <p:sp>
        <p:nvSpPr>
          <p:cNvPr id="32" name="ZoneTexte 31">
            <a:extLst>
              <a:ext uri="{FF2B5EF4-FFF2-40B4-BE49-F238E27FC236}">
                <a16:creationId xmlns:a16="http://schemas.microsoft.com/office/drawing/2014/main" id="{CD9668B0-8A42-FF1E-5A4B-8ABA3E5AE428}"/>
              </a:ext>
            </a:extLst>
          </p:cNvPr>
          <p:cNvSpPr txBox="1"/>
          <p:nvPr/>
        </p:nvSpPr>
        <p:spPr>
          <a:xfrm>
            <a:off x="5184404" y="8395384"/>
            <a:ext cx="5887192" cy="646331"/>
          </a:xfrm>
          <a:prstGeom prst="rect">
            <a:avLst/>
          </a:prstGeom>
          <a:noFill/>
        </p:spPr>
        <p:txBody>
          <a:bodyPr wrap="square">
            <a:spAutoFit/>
          </a:bodyPr>
          <a:lstStyle/>
          <a:p>
            <a:pPr algn="ctr"/>
            <a:r>
              <a:rPr lang="fr-FR" b="1">
                <a:latin typeface="Arial" panose="020B0604020202020204" pitchFamily="34" charset="0"/>
                <a:cs typeface="Arial" panose="020B0604020202020204" pitchFamily="34" charset="0"/>
              </a:rPr>
              <a:t>Pour en savoir plus : </a:t>
            </a:r>
          </a:p>
          <a:p>
            <a:pPr algn="ctr"/>
            <a:r>
              <a:rPr lang="fr-FR">
                <a:latin typeface="Arial" panose="020B0604020202020204" pitchFamily="34" charset="0"/>
                <a:cs typeface="Arial" panose="020B0604020202020204" pitchFamily="34" charset="0"/>
              </a:rPr>
              <a:t>https://www.appels-a-projets-cccabtp.fr/</a:t>
            </a:r>
          </a:p>
        </p:txBody>
      </p:sp>
      <p:sp>
        <p:nvSpPr>
          <p:cNvPr id="3" name="Rectangle 2">
            <a:extLst>
              <a:ext uri="{FF2B5EF4-FFF2-40B4-BE49-F238E27FC236}">
                <a16:creationId xmlns:a16="http://schemas.microsoft.com/office/drawing/2014/main" id="{24E95FB9-BD4F-FDC1-466A-9BBF0F81CAA1}"/>
              </a:ext>
            </a:extLst>
          </p:cNvPr>
          <p:cNvSpPr/>
          <p:nvPr/>
        </p:nvSpPr>
        <p:spPr>
          <a:xfrm>
            <a:off x="14793414"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2B5D0A0D-0912-E6DA-D5B4-3CD68B5B7CBC}"/>
              </a:ext>
            </a:extLst>
          </p:cNvPr>
          <p:cNvPicPr>
            <a:picLocks noChangeAspect="1"/>
          </p:cNvPicPr>
          <p:nvPr/>
        </p:nvPicPr>
        <p:blipFill>
          <a:blip r:embed="rId3"/>
          <a:stretch>
            <a:fillRect/>
          </a:stretch>
        </p:blipFill>
        <p:spPr>
          <a:xfrm>
            <a:off x="14395548" y="160525"/>
            <a:ext cx="1823083" cy="828038"/>
          </a:xfrm>
          <a:prstGeom prst="rect">
            <a:avLst/>
          </a:prstGeom>
        </p:spPr>
      </p:pic>
      <p:graphicFrame>
        <p:nvGraphicFramePr>
          <p:cNvPr id="7" name="Tableau 6">
            <a:extLst>
              <a:ext uri="{FF2B5EF4-FFF2-40B4-BE49-F238E27FC236}">
                <a16:creationId xmlns:a16="http://schemas.microsoft.com/office/drawing/2014/main" id="{EA4B9034-C66A-6B59-A561-C100DA457CF1}"/>
              </a:ext>
            </a:extLst>
          </p:cNvPr>
          <p:cNvGraphicFramePr>
            <a:graphicFrameLocks noGrp="1"/>
          </p:cNvGraphicFramePr>
          <p:nvPr>
            <p:extLst>
              <p:ext uri="{D42A27DB-BD31-4B8C-83A1-F6EECF244321}">
                <p14:modId xmlns:p14="http://schemas.microsoft.com/office/powerpoint/2010/main" val="4263216103"/>
              </p:ext>
            </p:extLst>
          </p:nvPr>
        </p:nvGraphicFramePr>
        <p:xfrm>
          <a:off x="235528" y="1523531"/>
          <a:ext cx="15863454" cy="6862380"/>
        </p:xfrm>
        <a:graphic>
          <a:graphicData uri="http://schemas.openxmlformats.org/drawingml/2006/table">
            <a:tbl>
              <a:tblPr firstRow="1" bandRow="1">
                <a:tableStyleId>{69012ECD-51FC-41F1-AA8D-1B2483CD663E}</a:tableStyleId>
              </a:tblPr>
              <a:tblGrid>
                <a:gridCol w="3513512">
                  <a:extLst>
                    <a:ext uri="{9D8B030D-6E8A-4147-A177-3AD203B41FA5}">
                      <a16:colId xmlns:a16="http://schemas.microsoft.com/office/drawing/2014/main" val="13327867"/>
                    </a:ext>
                  </a:extLst>
                </a:gridCol>
                <a:gridCol w="3090672">
                  <a:extLst>
                    <a:ext uri="{9D8B030D-6E8A-4147-A177-3AD203B41FA5}">
                      <a16:colId xmlns:a16="http://schemas.microsoft.com/office/drawing/2014/main" val="3542265170"/>
                    </a:ext>
                  </a:extLst>
                </a:gridCol>
                <a:gridCol w="2468880">
                  <a:extLst>
                    <a:ext uri="{9D8B030D-6E8A-4147-A177-3AD203B41FA5}">
                      <a16:colId xmlns:a16="http://schemas.microsoft.com/office/drawing/2014/main" val="724431835"/>
                    </a:ext>
                  </a:extLst>
                </a:gridCol>
                <a:gridCol w="3474720">
                  <a:extLst>
                    <a:ext uri="{9D8B030D-6E8A-4147-A177-3AD203B41FA5}">
                      <a16:colId xmlns:a16="http://schemas.microsoft.com/office/drawing/2014/main" val="1807150619"/>
                    </a:ext>
                  </a:extLst>
                </a:gridCol>
                <a:gridCol w="3315670">
                  <a:extLst>
                    <a:ext uri="{9D8B030D-6E8A-4147-A177-3AD203B41FA5}">
                      <a16:colId xmlns:a16="http://schemas.microsoft.com/office/drawing/2014/main" val="3842937917"/>
                    </a:ext>
                  </a:extLst>
                </a:gridCol>
              </a:tblGrid>
              <a:tr h="437355">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endParaRPr lang="fr-FR" sz="1200">
                        <a:solidFill>
                          <a:schemeClr val="bg1"/>
                        </a:solidFill>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b="1">
                          <a:solidFill>
                            <a:schemeClr val="bg1"/>
                          </a:solidFill>
                        </a:rPr>
                        <a:t>Appels à Projets</a:t>
                      </a:r>
                      <a:endParaRPr lang="fr-FR" sz="1800" b="1">
                        <a:solidFill>
                          <a:schemeClr val="bg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b="1">
                          <a:solidFill>
                            <a:schemeClr val="bg1"/>
                          </a:solidFill>
                        </a:rPr>
                        <a:t>Investissements innovants</a:t>
                      </a:r>
                      <a:endParaRPr lang="fr-FR" sz="1800" b="1">
                        <a:solidFill>
                          <a:schemeClr val="bg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a:solidFill>
                            <a:schemeClr val="bg1"/>
                          </a:solidFill>
                        </a:rPr>
                        <a:t>Investissement énergétique : espace formation et hébergement</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b="1" kern="1200">
                          <a:solidFill>
                            <a:schemeClr val="lt1"/>
                          </a:solidFill>
                          <a:latin typeface="Calibri"/>
                        </a:defRPr>
                      </a:lvl1pPr>
                      <a:lvl2pPr marL="609608" algn="l" defTabSz="1219215" rtl="0" eaLnBrk="1" latinLnBrk="0" hangingPunct="1">
                        <a:defRPr sz="2400" b="1" kern="1200">
                          <a:solidFill>
                            <a:schemeClr val="lt1"/>
                          </a:solidFill>
                          <a:latin typeface="Calibri"/>
                        </a:defRPr>
                      </a:lvl2pPr>
                      <a:lvl3pPr marL="1219215" algn="l" defTabSz="1219215" rtl="0" eaLnBrk="1" latinLnBrk="0" hangingPunct="1">
                        <a:defRPr sz="2400" b="1" kern="1200">
                          <a:solidFill>
                            <a:schemeClr val="lt1"/>
                          </a:solidFill>
                          <a:latin typeface="Calibri"/>
                        </a:defRPr>
                      </a:lvl3pPr>
                      <a:lvl4pPr marL="1828823" algn="l" defTabSz="1219215" rtl="0" eaLnBrk="1" latinLnBrk="0" hangingPunct="1">
                        <a:defRPr sz="2400" b="1" kern="1200">
                          <a:solidFill>
                            <a:schemeClr val="lt1"/>
                          </a:solidFill>
                          <a:latin typeface="Calibri"/>
                        </a:defRPr>
                      </a:lvl4pPr>
                      <a:lvl5pPr marL="2438430" algn="l" defTabSz="1219215" rtl="0" eaLnBrk="1" latinLnBrk="0" hangingPunct="1">
                        <a:defRPr sz="2400" b="1" kern="1200">
                          <a:solidFill>
                            <a:schemeClr val="lt1"/>
                          </a:solidFill>
                          <a:latin typeface="Calibri"/>
                        </a:defRPr>
                      </a:lvl5pPr>
                      <a:lvl6pPr marL="3048038" algn="l" defTabSz="1219215" rtl="0" eaLnBrk="1" latinLnBrk="0" hangingPunct="1">
                        <a:defRPr sz="2400" b="1" kern="1200">
                          <a:solidFill>
                            <a:schemeClr val="lt1"/>
                          </a:solidFill>
                          <a:latin typeface="Calibri"/>
                        </a:defRPr>
                      </a:lvl6pPr>
                      <a:lvl7pPr marL="3657646" algn="l" defTabSz="1219215" rtl="0" eaLnBrk="1" latinLnBrk="0" hangingPunct="1">
                        <a:defRPr sz="2400" b="1" kern="1200">
                          <a:solidFill>
                            <a:schemeClr val="lt1"/>
                          </a:solidFill>
                          <a:latin typeface="Calibri"/>
                        </a:defRPr>
                      </a:lvl7pPr>
                      <a:lvl8pPr marL="4267253" algn="l" defTabSz="1219215" rtl="0" eaLnBrk="1" latinLnBrk="0" hangingPunct="1">
                        <a:defRPr sz="2400" b="1" kern="1200">
                          <a:solidFill>
                            <a:schemeClr val="lt1"/>
                          </a:solidFill>
                          <a:latin typeface="Calibri"/>
                        </a:defRPr>
                      </a:lvl8pPr>
                      <a:lvl9pPr marL="4876861" algn="l" defTabSz="1219215" rtl="0" eaLnBrk="1" latinLnBrk="0" hangingPunct="1">
                        <a:defRPr sz="2400" b="1" kern="1200">
                          <a:solidFill>
                            <a:schemeClr val="lt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800" b="1">
                          <a:solidFill>
                            <a:schemeClr val="bg1"/>
                          </a:solidFill>
                        </a:rPr>
                        <a:t>Appels  Candidatures</a:t>
                      </a:r>
                      <a:endParaRPr lang="fr-FR" sz="1800" b="1">
                        <a:solidFill>
                          <a:schemeClr val="bg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2004760"/>
                  </a:ext>
                </a:extLst>
              </a:tr>
              <a:tr h="1652163">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algn="just"/>
                      <a:r>
                        <a:rPr lang="fr-FR" sz="1600" b="1">
                          <a:solidFill>
                            <a:schemeClr val="tx1"/>
                          </a:solidFill>
                        </a:rPr>
                        <a:t>Auto-financement/Co-financement</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600" kern="1200">
                          <a:solidFill>
                            <a:schemeClr val="tx1"/>
                          </a:solidFill>
                          <a:effectLst/>
                          <a:uFill>
                            <a:solidFill>
                              <a:srgbClr val="5B9BD5"/>
                            </a:solidFill>
                          </a:uFill>
                          <a:latin typeface="Calibri"/>
                          <a:ea typeface="+mn-ea"/>
                          <a:cs typeface="+mn-cs"/>
                        </a:rPr>
                        <a:t>Obligation d’auto-financement du porteur de projet sans obligation de pourcentage minimal.</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1600" kern="1200">
                        <a:solidFill>
                          <a:schemeClr val="tx1"/>
                        </a:solidFill>
                        <a:effectLst/>
                        <a:uFill>
                          <a:solidFill>
                            <a:srgbClr val="5B9BD5"/>
                          </a:solidFill>
                        </a:uFill>
                        <a:latin typeface="Calibri"/>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600" kern="1200">
                          <a:solidFill>
                            <a:schemeClr val="tx1"/>
                          </a:solidFill>
                          <a:effectLst/>
                          <a:uFill>
                            <a:solidFill>
                              <a:srgbClr val="5B9BD5"/>
                            </a:solidFill>
                          </a:uFill>
                          <a:latin typeface="Calibri"/>
                          <a:ea typeface="+mn-ea"/>
                          <a:cs typeface="+mn-cs"/>
                        </a:rPr>
                        <a:t>Les projets doivent démontrer un auto-financement et/ou co-financement à hauteur de 50 % du budget du projet ; </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1600" kern="1200">
                        <a:solidFill>
                          <a:schemeClr val="tx1"/>
                        </a:solidFill>
                        <a:effectLst/>
                        <a:uFill>
                          <a:solidFill>
                            <a:srgbClr val="5B9BD5"/>
                          </a:solidFill>
                        </a:uFill>
                        <a:latin typeface="Calibri"/>
                        <a:ea typeface="+mn-ea"/>
                        <a:cs typeface="+mn-cs"/>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1600" kern="1200">
                          <a:solidFill>
                            <a:schemeClr val="tx1"/>
                          </a:solidFill>
                          <a:effectLst/>
                          <a:uFill>
                            <a:solidFill>
                              <a:srgbClr val="5B9BD5"/>
                            </a:solidFill>
                          </a:uFill>
                          <a:latin typeface="Calibri"/>
                          <a:ea typeface="+mn-ea"/>
                          <a:cs typeface="+mn-cs"/>
                        </a:rPr>
                        <a:t>Le co-financement ne peut provenir d’un OPCO.</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l" defTabSz="514350" rtl="0" eaLnBrk="1" fontAlgn="auto" latinLnBrk="0" hangingPunct="1">
                        <a:lnSpc>
                          <a:spcPct val="100000"/>
                        </a:lnSpc>
                        <a:spcBef>
                          <a:spcPts val="0"/>
                        </a:spcBef>
                        <a:spcAft>
                          <a:spcPts val="0"/>
                        </a:spcAft>
                        <a:buClrTx/>
                        <a:buSzTx/>
                        <a:buFontTx/>
                        <a:buNone/>
                        <a:tabLst/>
                        <a:defRPr/>
                      </a:pPr>
                      <a:r>
                        <a:rPr lang="fr-FR" sz="1300" kern="1200">
                          <a:solidFill>
                            <a:schemeClr val="tx1"/>
                          </a:solidFill>
                        </a:rPr>
                        <a:t>Les projets doivent démontrer un auto-financement et/ou co-financement à hauteur du budget du projet restant, déduction de la subvention du CCCA-BTP;</a:t>
                      </a:r>
                    </a:p>
                    <a:p>
                      <a:pPr marL="0" marR="0" lvl="0" indent="0" algn="l" defTabSz="514350" rtl="0" eaLnBrk="1" fontAlgn="auto" latinLnBrk="0" hangingPunct="1">
                        <a:lnSpc>
                          <a:spcPct val="100000"/>
                        </a:lnSpc>
                        <a:spcBef>
                          <a:spcPts val="0"/>
                        </a:spcBef>
                        <a:spcAft>
                          <a:spcPts val="0"/>
                        </a:spcAft>
                        <a:buClrTx/>
                        <a:buSzTx/>
                        <a:buFontTx/>
                        <a:buNone/>
                        <a:tabLst/>
                        <a:defRPr/>
                      </a:pPr>
                      <a:r>
                        <a:rPr lang="fr-FR" sz="1300" kern="1200">
                          <a:solidFill>
                            <a:schemeClr val="tx1"/>
                          </a:solidFill>
                        </a:rPr>
                        <a:t>Le co-financement ne peut provenir d’un OPCO.</a:t>
                      </a: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3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900" kern="1200">
                          <a:solidFill>
                            <a:schemeClr val="tx1"/>
                          </a:solidFill>
                          <a:latin typeface="Calibri"/>
                          <a:ea typeface="+mn-ea"/>
                          <a:cs typeface="+mn-cs"/>
                        </a:rPr>
                        <a:t>NA</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8315279"/>
                  </a:ext>
                </a:extLst>
              </a:tr>
              <a:tr h="847961">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600">
                          <a:solidFill>
                            <a:schemeClr val="tx1"/>
                          </a:solidFill>
                          <a:uFill>
                            <a:solidFill>
                              <a:srgbClr val="5B9BD5"/>
                            </a:solidFill>
                          </a:uFill>
                        </a:rPr>
                        <a:t>S</a:t>
                      </a:r>
                      <a:r>
                        <a:rPr lang="fr-FR" sz="1600">
                          <a:solidFill>
                            <a:schemeClr val="tx1"/>
                          </a:solidFill>
                          <a:effectLst/>
                          <a:uFill>
                            <a:solidFill>
                              <a:srgbClr val="5B9BD5"/>
                            </a:solidFill>
                          </a:uFill>
                        </a:rPr>
                        <a:t>i demande d’équipements et autres immobilisations dédiés au projet (matériel, agencement …) : </a:t>
                      </a:r>
                      <a:r>
                        <a:rPr lang="fr-FR" sz="1600">
                          <a:solidFill>
                            <a:schemeClr val="tx1"/>
                          </a:solidFill>
                          <a:uFill>
                            <a:solidFill>
                              <a:srgbClr val="5B9BD5"/>
                            </a:solidFill>
                          </a:uFill>
                        </a:rPr>
                        <a:t>p</a:t>
                      </a:r>
                      <a:r>
                        <a:rPr lang="fr-FR" sz="1600">
                          <a:solidFill>
                            <a:schemeClr val="tx1"/>
                          </a:solidFill>
                          <a:effectLst/>
                          <a:uFill>
                            <a:solidFill>
                              <a:srgbClr val="5B9BD5"/>
                            </a:solidFill>
                          </a:uFill>
                        </a:rPr>
                        <a:t>rise en charge maximum de 50 % </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24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p>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24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900" kern="1200">
                          <a:solidFill>
                            <a:schemeClr val="tx1"/>
                          </a:solidFill>
                        </a:rPr>
                        <a:t>NA</a:t>
                      </a:r>
                      <a:endParaRPr lang="fr-FR" sz="19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900" kern="1200">
                          <a:solidFill>
                            <a:schemeClr val="tx1"/>
                          </a:solidFill>
                        </a:rPr>
                        <a:t>NA</a:t>
                      </a:r>
                      <a:endParaRPr lang="fr-FR" sz="19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3652237"/>
                  </a:ext>
                </a:extLst>
              </a:tr>
              <a:tr h="298566">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600">
                          <a:effectLst/>
                          <a:uFill>
                            <a:solidFill>
                              <a:srgbClr val="5B9BD5"/>
                            </a:solidFill>
                          </a:uFill>
                        </a:rPr>
                        <a:t>Financement // au coût du projet = Taux d’intervention</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2000" kern="1200">
                          <a:solidFill>
                            <a:schemeClr val="tx1"/>
                          </a:solidFill>
                        </a:rPr>
                        <a:t>80 % max</a:t>
                      </a:r>
                      <a:endParaRPr lang="fr-FR" sz="20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2000" kern="1200">
                          <a:solidFill>
                            <a:schemeClr val="tx1"/>
                          </a:solidFill>
                        </a:rPr>
                        <a:t>50 % max</a:t>
                      </a:r>
                      <a:endParaRPr lang="fr-FR" sz="20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2000" kern="1200">
                          <a:solidFill>
                            <a:schemeClr val="tx1"/>
                          </a:solidFill>
                        </a:rPr>
                        <a:t>80 % max</a:t>
                      </a:r>
                    </a:p>
                    <a:p>
                      <a:pPr marL="0" marR="0" lvl="0" indent="0" algn="ctr" defTabSz="514350" rtl="0" eaLnBrk="1" fontAlgn="auto" latinLnBrk="0" hangingPunct="1">
                        <a:lnSpc>
                          <a:spcPct val="100000"/>
                        </a:lnSpc>
                        <a:spcBef>
                          <a:spcPts val="0"/>
                        </a:spcBef>
                        <a:spcAft>
                          <a:spcPts val="0"/>
                        </a:spcAft>
                        <a:buClrTx/>
                        <a:buSzTx/>
                        <a:buFontTx/>
                        <a:buNone/>
                        <a:tabLst/>
                        <a:defRPr/>
                      </a:pPr>
                      <a:r>
                        <a:rPr lang="fr-FR" sz="2000" kern="1200">
                          <a:solidFill>
                            <a:schemeClr val="tx1"/>
                          </a:solidFill>
                        </a:rPr>
                        <a:t>2 M€ de subvention max par projet</a:t>
                      </a:r>
                      <a:endParaRPr lang="fr-FR" sz="20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2000" kern="1200">
                          <a:solidFill>
                            <a:schemeClr val="tx1"/>
                          </a:solidFill>
                        </a:rPr>
                        <a:t>NA</a:t>
                      </a:r>
                      <a:endParaRPr lang="fr-FR" sz="20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471364"/>
                  </a:ext>
                </a:extLst>
              </a:tr>
              <a:tr h="1437847">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r>
                        <a:rPr lang="fr-FR" sz="1400">
                          <a:effectLst/>
                          <a:uFill>
                            <a:solidFill>
                              <a:srgbClr val="5B9BD5"/>
                            </a:solidFill>
                          </a:uFill>
                        </a:rPr>
                        <a:t>S’il y a sous-traitance dans un projet, prise en charge maximum de 30 % des dépenses et l’obligation de mise en place de modalités de transfert de compétences du prestataire vers le porteur de projet afin de pérenniser les projets. Le pourcentage pourra être exceptionnellement augmenté sous réserve que le porteur de projets apporte des éléments d’argumentation concrète.</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2400" kern="120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just" defTabSz="514350" rtl="0" eaLnBrk="1" fontAlgn="auto" latinLnBrk="0" hangingPunct="1">
                        <a:lnSpc>
                          <a:spcPct val="100000"/>
                        </a:lnSpc>
                        <a:spcBef>
                          <a:spcPts val="0"/>
                        </a:spcBef>
                        <a:spcAft>
                          <a:spcPts val="0"/>
                        </a:spcAft>
                        <a:buClrTx/>
                        <a:buSzTx/>
                        <a:buFontTx/>
                        <a:buNone/>
                        <a:tabLst/>
                        <a:defRPr/>
                      </a:pPr>
                      <a:endParaRPr lang="fr-FR" sz="2400" kern="1200">
                        <a:solidFill>
                          <a:schemeClr val="tx1"/>
                        </a:solidFill>
                      </a:endParaRPr>
                    </a:p>
                    <a:p>
                      <a:pPr marL="0" marR="0" lvl="0" indent="0" algn="just"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2400" kern="1200">
                        <a:solidFill>
                          <a:schemeClr val="tx1"/>
                        </a:solidFill>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endParaRPr lang="fr-FR" sz="24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1219215" rtl="0" eaLnBrk="1" latinLnBrk="0" hangingPunct="1">
                        <a:defRPr sz="2400" kern="1200">
                          <a:solidFill>
                            <a:schemeClr val="dk1"/>
                          </a:solidFill>
                          <a:latin typeface="Calibri"/>
                        </a:defRPr>
                      </a:lvl1pPr>
                      <a:lvl2pPr marL="609608" algn="l" defTabSz="1219215" rtl="0" eaLnBrk="1" latinLnBrk="0" hangingPunct="1">
                        <a:defRPr sz="2400" kern="1200">
                          <a:solidFill>
                            <a:schemeClr val="dk1"/>
                          </a:solidFill>
                          <a:latin typeface="Calibri"/>
                        </a:defRPr>
                      </a:lvl2pPr>
                      <a:lvl3pPr marL="1219215" algn="l" defTabSz="1219215" rtl="0" eaLnBrk="1" latinLnBrk="0" hangingPunct="1">
                        <a:defRPr sz="2400" kern="1200">
                          <a:solidFill>
                            <a:schemeClr val="dk1"/>
                          </a:solidFill>
                          <a:latin typeface="Calibri"/>
                        </a:defRPr>
                      </a:lvl3pPr>
                      <a:lvl4pPr marL="1828823" algn="l" defTabSz="1219215" rtl="0" eaLnBrk="1" latinLnBrk="0" hangingPunct="1">
                        <a:defRPr sz="2400" kern="1200">
                          <a:solidFill>
                            <a:schemeClr val="dk1"/>
                          </a:solidFill>
                          <a:latin typeface="Calibri"/>
                        </a:defRPr>
                      </a:lvl4pPr>
                      <a:lvl5pPr marL="2438430" algn="l" defTabSz="1219215" rtl="0" eaLnBrk="1" latinLnBrk="0" hangingPunct="1">
                        <a:defRPr sz="2400" kern="1200">
                          <a:solidFill>
                            <a:schemeClr val="dk1"/>
                          </a:solidFill>
                          <a:latin typeface="Calibri"/>
                        </a:defRPr>
                      </a:lvl5pPr>
                      <a:lvl6pPr marL="3048038" algn="l" defTabSz="1219215" rtl="0" eaLnBrk="1" latinLnBrk="0" hangingPunct="1">
                        <a:defRPr sz="2400" kern="1200">
                          <a:solidFill>
                            <a:schemeClr val="dk1"/>
                          </a:solidFill>
                          <a:latin typeface="Calibri"/>
                        </a:defRPr>
                      </a:lvl6pPr>
                      <a:lvl7pPr marL="3657646" algn="l" defTabSz="1219215" rtl="0" eaLnBrk="1" latinLnBrk="0" hangingPunct="1">
                        <a:defRPr sz="2400" kern="1200">
                          <a:solidFill>
                            <a:schemeClr val="dk1"/>
                          </a:solidFill>
                          <a:latin typeface="Calibri"/>
                        </a:defRPr>
                      </a:lvl7pPr>
                      <a:lvl8pPr marL="4267253" algn="l" defTabSz="1219215" rtl="0" eaLnBrk="1" latinLnBrk="0" hangingPunct="1">
                        <a:defRPr sz="2400" kern="1200">
                          <a:solidFill>
                            <a:schemeClr val="dk1"/>
                          </a:solidFill>
                          <a:latin typeface="Calibri"/>
                        </a:defRPr>
                      </a:lvl8pPr>
                      <a:lvl9pPr marL="4876861" algn="l" defTabSz="1219215" rtl="0" eaLnBrk="1" latinLnBrk="0" hangingPunct="1">
                        <a:defRPr sz="2400" kern="1200">
                          <a:solidFill>
                            <a:schemeClr val="dk1"/>
                          </a:solidFill>
                          <a:latin typeface="Calibri"/>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400" kern="1200">
                        <a:solidFill>
                          <a:schemeClr val="tx1"/>
                        </a:solidFill>
                      </a:endParaRPr>
                    </a:p>
                    <a:p>
                      <a:pPr marL="0" marR="0" lvl="0" indent="0" algn="ctr" defTabSz="514350" rtl="0" eaLnBrk="1" fontAlgn="auto" latinLnBrk="0" hangingPunct="1">
                        <a:lnSpc>
                          <a:spcPct val="100000"/>
                        </a:lnSpc>
                        <a:spcBef>
                          <a:spcPts val="0"/>
                        </a:spcBef>
                        <a:spcAft>
                          <a:spcPts val="0"/>
                        </a:spcAft>
                        <a:buClrTx/>
                        <a:buSzTx/>
                        <a:buFontTx/>
                        <a:buNone/>
                        <a:tabLst/>
                        <a:defRPr/>
                      </a:pPr>
                      <a:endParaRPr lang="fr-FR" sz="1400" kern="1200">
                        <a:solidFill>
                          <a:schemeClr val="tx1"/>
                        </a:solidFill>
                      </a:endParaRPr>
                    </a:p>
                    <a:p>
                      <a:pPr marL="0" marR="0" lvl="0" indent="0" algn="ctr" defTabSz="514350" rtl="0" eaLnBrk="1" fontAlgn="auto" latinLnBrk="0" hangingPunct="1">
                        <a:lnSpc>
                          <a:spcPct val="100000"/>
                        </a:lnSpc>
                        <a:spcBef>
                          <a:spcPts val="0"/>
                        </a:spcBef>
                        <a:spcAft>
                          <a:spcPts val="0"/>
                        </a:spcAft>
                        <a:buClrTx/>
                        <a:buSzTx/>
                        <a:buFontTx/>
                        <a:buNone/>
                        <a:tabLst/>
                        <a:defRPr/>
                      </a:pPr>
                      <a:r>
                        <a:rPr lang="fr-FR" sz="2400" kern="1200">
                          <a:solidFill>
                            <a:schemeClr val="tx1"/>
                          </a:solidFill>
                        </a:rPr>
                        <a:t>X</a:t>
                      </a:r>
                      <a:endParaRPr lang="fr-FR" sz="2400" kern="1200">
                        <a:solidFill>
                          <a:schemeClr val="tx1"/>
                        </a:solidFill>
                        <a:latin typeface="+mn-lt"/>
                        <a:ea typeface="+mn-ea"/>
                        <a:cs typeface="+mn-cs"/>
                      </a:endParaRPr>
                    </a:p>
                  </a:txBody>
                  <a:tcPr marL="110604" marR="110604" marT="55302" marB="5530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9546266"/>
                  </a:ext>
                </a:extLst>
              </a:tr>
            </a:tbl>
          </a:graphicData>
        </a:graphic>
      </p:graphicFrame>
      <p:sp>
        <p:nvSpPr>
          <p:cNvPr id="2" name="Rectangle 1">
            <a:extLst>
              <a:ext uri="{FF2B5EF4-FFF2-40B4-BE49-F238E27FC236}">
                <a16:creationId xmlns:a16="http://schemas.microsoft.com/office/drawing/2014/main" id="{0BE2E9CF-6480-A050-7EDF-A66FAF37889B}"/>
              </a:ext>
            </a:extLst>
          </p:cNvPr>
          <p:cNvSpPr/>
          <p:nvPr/>
        </p:nvSpPr>
        <p:spPr>
          <a:xfrm>
            <a:off x="9305426" y="2167002"/>
            <a:ext cx="3532340" cy="6218909"/>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244442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E4D381-F356-0CE7-5A56-BB971C6EF126}"/>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C9213030-FFAF-C1FF-EA7A-B3FD5A3B1A11}"/>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3</a:t>
            </a:fld>
            <a:endParaRPr lang="fr-FR" sz="1400">
              <a:solidFill>
                <a:prstClr val="black"/>
              </a:solidFill>
              <a:latin typeface="Calibri"/>
            </a:endParaRPr>
          </a:p>
        </p:txBody>
      </p:sp>
      <p:sp>
        <p:nvSpPr>
          <p:cNvPr id="4" name="Title 2">
            <a:extLst>
              <a:ext uri="{FF2B5EF4-FFF2-40B4-BE49-F238E27FC236}">
                <a16:creationId xmlns:a16="http://schemas.microsoft.com/office/drawing/2014/main" id="{DE3092F7-4CC8-BE69-5F21-670C301491A9}"/>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D35856AB-DDF4-9A92-C083-E2BD6A654830}"/>
              </a:ext>
            </a:extLst>
          </p:cNvPr>
          <p:cNvSpPr/>
          <p:nvPr/>
        </p:nvSpPr>
        <p:spPr>
          <a:xfrm>
            <a:off x="183124" y="6139356"/>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2" name="Freeform 4">
            <a:extLst>
              <a:ext uri="{FF2B5EF4-FFF2-40B4-BE49-F238E27FC236}">
                <a16:creationId xmlns:a16="http://schemas.microsoft.com/office/drawing/2014/main" id="{97AB466F-FB16-4C42-54A8-56F98F05C9A9}"/>
              </a:ext>
            </a:extLst>
          </p:cNvPr>
          <p:cNvSpPr/>
          <p:nvPr/>
        </p:nvSpPr>
        <p:spPr>
          <a:xfrm>
            <a:off x="9358375" y="2590540"/>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63C95034-023B-DE20-ECFB-22AC916A21A7}"/>
              </a:ext>
            </a:extLst>
          </p:cNvPr>
          <p:cNvGrpSpPr>
            <a:grpSpLocks noChangeAspect="1"/>
          </p:cNvGrpSpPr>
          <p:nvPr/>
        </p:nvGrpSpPr>
        <p:grpSpPr>
          <a:xfrm>
            <a:off x="12414857" y="6512497"/>
            <a:ext cx="656439" cy="614232"/>
            <a:chOff x="0" y="0"/>
            <a:chExt cx="816458" cy="866165"/>
          </a:xfrm>
        </p:grpSpPr>
        <p:sp>
          <p:nvSpPr>
            <p:cNvPr id="74" name="Freeform 8">
              <a:extLst>
                <a:ext uri="{FF2B5EF4-FFF2-40B4-BE49-F238E27FC236}">
                  <a16:creationId xmlns:a16="http://schemas.microsoft.com/office/drawing/2014/main" id="{16EE517C-8C04-314E-EE21-F837EF40E9EF}"/>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grpSp>
        <p:nvGrpSpPr>
          <p:cNvPr id="75" name="Group 9">
            <a:extLst>
              <a:ext uri="{FF2B5EF4-FFF2-40B4-BE49-F238E27FC236}">
                <a16:creationId xmlns:a16="http://schemas.microsoft.com/office/drawing/2014/main" id="{3EC7735D-E39B-4D21-8BF6-D4B38E6EC2F7}"/>
              </a:ext>
            </a:extLst>
          </p:cNvPr>
          <p:cNvGrpSpPr>
            <a:grpSpLocks noChangeAspect="1"/>
          </p:cNvGrpSpPr>
          <p:nvPr/>
        </p:nvGrpSpPr>
        <p:grpSpPr>
          <a:xfrm>
            <a:off x="189678" y="907973"/>
            <a:ext cx="1069959" cy="855491"/>
            <a:chOff x="0" y="0"/>
            <a:chExt cx="1567358" cy="1293952"/>
          </a:xfrm>
        </p:grpSpPr>
        <p:sp>
          <p:nvSpPr>
            <p:cNvPr id="76" name="Freeform 10">
              <a:extLst>
                <a:ext uri="{FF2B5EF4-FFF2-40B4-BE49-F238E27FC236}">
                  <a16:creationId xmlns:a16="http://schemas.microsoft.com/office/drawing/2014/main" id="{00EC0209-348D-EC47-CE57-89E64E0F4EA5}"/>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7" name="Freeform 11">
            <a:extLst>
              <a:ext uri="{FF2B5EF4-FFF2-40B4-BE49-F238E27FC236}">
                <a16:creationId xmlns:a16="http://schemas.microsoft.com/office/drawing/2014/main" id="{45D32944-DEF5-7520-6CE6-126C2B1FB7C8}"/>
              </a:ext>
            </a:extLst>
          </p:cNvPr>
          <p:cNvSpPr/>
          <p:nvPr/>
        </p:nvSpPr>
        <p:spPr>
          <a:xfrm>
            <a:off x="12989077" y="6252459"/>
            <a:ext cx="1313699" cy="1539070"/>
          </a:xfrm>
          <a:custGeom>
            <a:avLst/>
            <a:gdLst/>
            <a:ahLst/>
            <a:cxnLst/>
            <a:rect l="l" t="t" r="r" b="b"/>
            <a:pathLst>
              <a:path w="2080384" h="2039864">
                <a:moveTo>
                  <a:pt x="0" y="0"/>
                </a:moveTo>
                <a:lnTo>
                  <a:pt x="2080384" y="0"/>
                </a:lnTo>
                <a:lnTo>
                  <a:pt x="2080384" y="2039865"/>
                </a:lnTo>
                <a:lnTo>
                  <a:pt x="0" y="203986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8" name="Freeform 12">
            <a:extLst>
              <a:ext uri="{FF2B5EF4-FFF2-40B4-BE49-F238E27FC236}">
                <a16:creationId xmlns:a16="http://schemas.microsoft.com/office/drawing/2014/main" id="{D715F7A4-D3E4-32E7-1D98-DE66C6883FE4}"/>
              </a:ext>
            </a:extLst>
          </p:cNvPr>
          <p:cNvSpPr/>
          <p:nvPr/>
        </p:nvSpPr>
        <p:spPr>
          <a:xfrm>
            <a:off x="12256685" y="6408344"/>
            <a:ext cx="4061518" cy="2787280"/>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81" name="TextBox 15">
            <a:extLst>
              <a:ext uri="{FF2B5EF4-FFF2-40B4-BE49-F238E27FC236}">
                <a16:creationId xmlns:a16="http://schemas.microsoft.com/office/drawing/2014/main" id="{61B9112D-5F68-F350-E35A-6F51A4D8C6D4}"/>
              </a:ext>
            </a:extLst>
          </p:cNvPr>
          <p:cNvSpPr txBox="1"/>
          <p:nvPr/>
        </p:nvSpPr>
        <p:spPr>
          <a:xfrm>
            <a:off x="690791" y="1078624"/>
            <a:ext cx="3649940" cy="562142"/>
          </a:xfrm>
          <a:prstGeom prst="rect">
            <a:avLst/>
          </a:prstGeom>
        </p:spPr>
        <p:txBody>
          <a:bodyPr wrap="square" lIns="0" tIns="0" rIns="0" bIns="0" rtlCol="0" anchor="t">
            <a:spAutoFit/>
          </a:bodyPr>
          <a:lstStyle/>
          <a:p>
            <a:pPr algn="ctr" defTabSz="914400">
              <a:lnSpc>
                <a:spcPts val="5038"/>
              </a:lnSpc>
            </a:pPr>
            <a:r>
              <a:rPr lang="fr-FR" sz="2400" b="1">
                <a:latin typeface="เอฟซี พาเลท"/>
              </a:rPr>
              <a:t>DÉPENSES ÉLIGIBLES </a:t>
            </a:r>
            <a:endParaRPr lang="en-US" sz="2400" b="1">
              <a:latin typeface="เอฟซี พาเลท"/>
            </a:endParaRPr>
          </a:p>
        </p:txBody>
      </p:sp>
      <p:sp>
        <p:nvSpPr>
          <p:cNvPr id="95" name="ZoneTexte 94">
            <a:extLst>
              <a:ext uri="{FF2B5EF4-FFF2-40B4-BE49-F238E27FC236}">
                <a16:creationId xmlns:a16="http://schemas.microsoft.com/office/drawing/2014/main" id="{644FCB21-6613-B976-09A7-24A23D864CDE}"/>
              </a:ext>
            </a:extLst>
          </p:cNvPr>
          <p:cNvSpPr txBox="1"/>
          <p:nvPr/>
        </p:nvSpPr>
        <p:spPr>
          <a:xfrm>
            <a:off x="11780986" y="7261950"/>
            <a:ext cx="4501056" cy="461665"/>
          </a:xfrm>
          <a:prstGeom prst="rect">
            <a:avLst/>
          </a:prstGeom>
          <a:noFill/>
        </p:spPr>
        <p:txBody>
          <a:bodyPr wrap="square">
            <a:spAutoFit/>
          </a:bodyPr>
          <a:lstStyle/>
          <a:p>
            <a:pPr algn="ctr"/>
            <a:r>
              <a:rPr lang="fr-FR" sz="2400" b="1">
                <a:latin typeface="Arial Black" panose="020B0A04020102020204" pitchFamily="34" charset="0"/>
                <a:cs typeface="Arial" panose="020B0604020202020204" pitchFamily="34" charset="0"/>
              </a:rPr>
              <a:t>APPEL A PROJETS</a:t>
            </a:r>
          </a:p>
        </p:txBody>
      </p:sp>
      <p:sp>
        <p:nvSpPr>
          <p:cNvPr id="98" name="TextBox 15">
            <a:extLst>
              <a:ext uri="{FF2B5EF4-FFF2-40B4-BE49-F238E27FC236}">
                <a16:creationId xmlns:a16="http://schemas.microsoft.com/office/drawing/2014/main" id="{849D9924-F4BE-4A7F-179B-D1E8A3E2F335}"/>
              </a:ext>
            </a:extLst>
          </p:cNvPr>
          <p:cNvSpPr txBox="1"/>
          <p:nvPr/>
        </p:nvSpPr>
        <p:spPr>
          <a:xfrm>
            <a:off x="690791" y="5986414"/>
            <a:ext cx="4661118" cy="562655"/>
          </a:xfrm>
          <a:prstGeom prst="rect">
            <a:avLst/>
          </a:prstGeom>
        </p:spPr>
        <p:txBody>
          <a:bodyPr wrap="square" lIns="0" tIns="0" rIns="0" bIns="0" rtlCol="0" anchor="t">
            <a:spAutoFit/>
          </a:bodyPr>
          <a:lstStyle/>
          <a:p>
            <a:pPr algn="ctr" defTabSz="914400">
              <a:lnSpc>
                <a:spcPts val="5038"/>
              </a:lnSpc>
            </a:pPr>
            <a:r>
              <a:rPr lang="en-US" sz="2400" b="1">
                <a:latin typeface="เอฟซี พาเลท"/>
              </a:rPr>
              <a:t>D</a:t>
            </a:r>
            <a:r>
              <a:rPr lang="fr-FR" sz="2400" b="1">
                <a:latin typeface="เอฟซี พาเลท"/>
              </a:rPr>
              <a:t>É</a:t>
            </a:r>
            <a:r>
              <a:rPr lang="en-US" sz="2400" b="1">
                <a:latin typeface="เอฟซี พาเลท"/>
              </a:rPr>
              <a:t>PENSES IN</a:t>
            </a:r>
            <a:r>
              <a:rPr lang="fr-FR" sz="2400" b="1">
                <a:latin typeface="เอฟซี พาเลท"/>
              </a:rPr>
              <a:t>É</a:t>
            </a:r>
            <a:r>
              <a:rPr lang="en-US" sz="2400" b="1">
                <a:latin typeface="เอฟซี พาเลท"/>
              </a:rPr>
              <a:t>LIGIBLES</a:t>
            </a:r>
          </a:p>
        </p:txBody>
      </p:sp>
      <p:sp>
        <p:nvSpPr>
          <p:cNvPr id="111" name="ZoneTexte 110">
            <a:extLst>
              <a:ext uri="{FF2B5EF4-FFF2-40B4-BE49-F238E27FC236}">
                <a16:creationId xmlns:a16="http://schemas.microsoft.com/office/drawing/2014/main" id="{2FB30B09-59D9-06BF-8ED4-D6CCC3362EAE}"/>
              </a:ext>
            </a:extLst>
          </p:cNvPr>
          <p:cNvSpPr txBox="1"/>
          <p:nvPr/>
        </p:nvSpPr>
        <p:spPr>
          <a:xfrm>
            <a:off x="1264024" y="1645735"/>
            <a:ext cx="14803357" cy="4801314"/>
          </a:xfrm>
          <a:prstGeom prst="rect">
            <a:avLst/>
          </a:prstGeom>
          <a:solidFill>
            <a:schemeClr val="bg1"/>
          </a:solidFill>
        </p:spPr>
        <p:txBody>
          <a:bodyPr wrap="square">
            <a:spAutoFit/>
          </a:bodyPr>
          <a:lstStyle/>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coûts de productions intellectuelles réalisées par le Bénéficiaire (par ex : études d’ingénierie, préparation, coordination, suivi, pilotage, etc…) ;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coûts de sous-traitance liés à la production intellectuelle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1171575" lvl="0" indent="-342900" algn="just">
              <a:buFont typeface="Wingdings" panose="05000000000000000000" pitchFamily="2" charset="2"/>
              <a:buChar char=""/>
            </a:pPr>
            <a:r>
              <a:rPr lang="fr-FR" sz="1800">
                <a:solidFill>
                  <a:srgbClr val="1D1D1B"/>
                </a:solidFill>
                <a:effectLst/>
                <a:uFill>
                  <a:solidFill>
                    <a:srgbClr val="727176"/>
                  </a:solidFill>
                </a:uFill>
                <a:latin typeface="Calibri" panose="020F0502020204030204" pitchFamily="34" charset="0"/>
                <a:ea typeface="Calibri" panose="020F0502020204030204" pitchFamily="34" charset="0"/>
                <a:cs typeface="Arial" panose="020B0604020202020204" pitchFamily="34" charset="0"/>
              </a:rPr>
              <a:t>Ils ne doivent pas dépasser 30 % du budget du Projet et doivent être clairement mentionnés dans le budget proposé ;</a:t>
            </a:r>
            <a:endParaRPr lang="fr-FR" sz="1800">
              <a:solidFill>
                <a:srgbClr val="636363"/>
              </a:solidFill>
              <a:effectLst/>
              <a:uFill>
                <a:solidFill>
                  <a:srgbClr val="727176"/>
                </a:solidFill>
              </a:uFill>
              <a:latin typeface="Roboto" panose="02000000000000000000" pitchFamily="2" charset="0"/>
              <a:ea typeface="Calibri" panose="020F0502020204030204" pitchFamily="34" charset="0"/>
              <a:cs typeface="Arial" panose="020B0604020202020204" pitchFamily="34" charset="0"/>
            </a:endParaRPr>
          </a:p>
          <a:p>
            <a:pPr marL="1171575" lvl="0" indent="-342900" algn="just">
              <a:buFont typeface="Wingdings" panose="05000000000000000000" pitchFamily="2" charset="2"/>
              <a:buChar char=""/>
            </a:pPr>
            <a:r>
              <a:rPr lang="fr-FR" sz="1800">
                <a:solidFill>
                  <a:srgbClr val="1D1D1B"/>
                </a:solidFill>
                <a:effectLst/>
                <a:uFill>
                  <a:solidFill>
                    <a:srgbClr val="727176"/>
                  </a:solidFill>
                </a:uFill>
                <a:latin typeface="Calibri" panose="020F0502020204030204" pitchFamily="34" charset="0"/>
                <a:ea typeface="Times New Roman" panose="02020603050405020304" pitchFamily="18" charset="0"/>
                <a:cs typeface="Arial" panose="020B0604020202020204" pitchFamily="34" charset="0"/>
              </a:rPr>
              <a:t>Ce pourcentage pourra être exceptionnellement augmenté sous réserve que le porteur de projets apporte des éléments d’argumentation concrets dans le cadre de son dossier de réponse ;</a:t>
            </a:r>
            <a:r>
              <a:rPr lang="fr-FR" sz="1800">
                <a:solidFill>
                  <a:srgbClr val="1D1D1B"/>
                </a:solidFill>
                <a:effectLst/>
                <a:uFill>
                  <a:solidFill>
                    <a:srgbClr val="727176"/>
                  </a:solidFill>
                </a:uFill>
                <a:latin typeface="Calibri" panose="020F0502020204030204" pitchFamily="34" charset="0"/>
                <a:ea typeface="Calibri" panose="020F0502020204030204" pitchFamily="34" charset="0"/>
                <a:cs typeface="Arial" panose="020B0604020202020204" pitchFamily="34" charset="0"/>
              </a:rPr>
              <a:t> la Convention avec le prestataire choisi doit inclure la montée en compétences de l’équipe Projet interne.</a:t>
            </a:r>
            <a:endParaRPr lang="fr-FR" sz="1800">
              <a:solidFill>
                <a:srgbClr val="636363"/>
              </a:solidFill>
              <a:effectLst/>
              <a:uFill>
                <a:solidFill>
                  <a:srgbClr val="727176"/>
                </a:solidFill>
              </a:uFill>
              <a:latin typeface="Roboto" panose="02000000000000000000" pitchFamily="2" charset="0"/>
              <a:ea typeface="Calibri" panose="020F0502020204030204" pitchFamily="34" charset="0"/>
              <a:cs typeface="Arial" panose="020B0604020202020204" pitchFamily="34"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dépenses de personnel affectées au Projet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coûts de campagne, de promotion ou de communication relatives au Projet, y compris évènementielles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coûts d’équipement et autres immobilisations dédiées au Projet (logiciels, matériels, agencements, etc.) dont la durée d’amortissement est supérieure à 3 ans (donc non pris en charge par les NPEC). Le montant des investissements (équipements et immobilisations) ne peut pas excéder plus de 50% du coût de ces dépenses.</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prestations annexes de type diagnostic et audit.</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prestations externalisées visant la montée en compétence des membres de l’équipe projet en lien avec la mise en œuvre du projet (formation du personnel aux outils ou techniques spécifiques), non pris en charge dans le cadre du plan de formation</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dépenses de fonctionnement spécifiques, strictement engagées pour la mise en œuvre du projet</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frais liés à la réalisation de l’attestation du commissaire aux comptes, ou de l’expert-comptable, spécifique au projet.</a:t>
            </a:r>
          </a:p>
          <a:p>
            <a:pPr marL="342900" indent="-342900" algn="just">
              <a:buFont typeface="Calibri" panose="020F0502020204030204" pitchFamily="34" charset="0"/>
              <a:buChar char="-"/>
            </a:pPr>
            <a:r>
              <a:rPr lang="fr-FR">
                <a:latin typeface="Calibri" panose="020F0502020204030204" pitchFamily="34" charset="0"/>
                <a:ea typeface="Calibri" panose="020F0502020204030204" pitchFamily="34" charset="0"/>
              </a:rPr>
              <a:t>Les coûts de réalisation et mise en forme marketée des productions et résultats des projets. </a:t>
            </a:r>
          </a:p>
        </p:txBody>
      </p:sp>
      <p:sp>
        <p:nvSpPr>
          <p:cNvPr id="3" name="Rectangle 2">
            <a:extLst>
              <a:ext uri="{FF2B5EF4-FFF2-40B4-BE49-F238E27FC236}">
                <a16:creationId xmlns:a16="http://schemas.microsoft.com/office/drawing/2014/main" id="{34D66811-CBC7-0639-7742-CB2A5921307C}"/>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4D2A7B30-6BFE-1B4B-F92A-1A58B776BD7A}"/>
              </a:ext>
            </a:extLst>
          </p:cNvPr>
          <p:cNvPicPr>
            <a:picLocks noChangeAspect="1"/>
          </p:cNvPicPr>
          <p:nvPr/>
        </p:nvPicPr>
        <p:blipFill>
          <a:blip r:embed="rId11"/>
          <a:stretch>
            <a:fillRect/>
          </a:stretch>
        </p:blipFill>
        <p:spPr>
          <a:xfrm>
            <a:off x="14395548" y="160525"/>
            <a:ext cx="1823083" cy="828038"/>
          </a:xfrm>
          <a:prstGeom prst="rect">
            <a:avLst/>
          </a:prstGeom>
        </p:spPr>
      </p:pic>
      <p:sp>
        <p:nvSpPr>
          <p:cNvPr id="5" name="ZoneTexte 4">
            <a:extLst>
              <a:ext uri="{FF2B5EF4-FFF2-40B4-BE49-F238E27FC236}">
                <a16:creationId xmlns:a16="http://schemas.microsoft.com/office/drawing/2014/main" id="{FA1C6772-2BFD-0A71-44FA-92F30D8F613D}"/>
              </a:ext>
            </a:extLst>
          </p:cNvPr>
          <p:cNvSpPr txBox="1"/>
          <p:nvPr/>
        </p:nvSpPr>
        <p:spPr>
          <a:xfrm>
            <a:off x="1149368" y="6770121"/>
            <a:ext cx="10891737" cy="2308324"/>
          </a:xfrm>
          <a:prstGeom prst="rect">
            <a:avLst/>
          </a:prstGeom>
          <a:noFill/>
        </p:spPr>
        <p:txBody>
          <a:bodyPr wrap="square">
            <a:spAutoFit/>
          </a:bodyPr>
          <a:lstStyle/>
          <a:p>
            <a:pPr marL="342900" lvl="0" indent="-342900" algn="just">
              <a:buClr>
                <a:srgbClr val="000000"/>
              </a:buClr>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frais de déplacement, restauration et hébergement des prestataires.</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Clr>
                <a:srgbClr val="000000"/>
              </a:buClr>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a participation aux frais généraux, les frais bancaires et toute dépense non spécifiquement engagée pour la réalisation du projet</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marR="201295" lvl="0" indent="-342900" algn="just">
              <a:buClr>
                <a:srgbClr val="000000"/>
              </a:buClr>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heures de face à face pédagogiques dont le financement est déjà assuré par le NPEC</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marR="201295" lvl="0" indent="-342900" algn="just">
              <a:buClr>
                <a:srgbClr val="000000"/>
              </a:buClr>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heures de formation du personnel dont la prise en charge est assurée dans le cadre du plan de formation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marR="201295" lvl="0" indent="-342900" algn="just">
              <a:buClr>
                <a:srgbClr val="000000"/>
              </a:buClr>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dépenses déjà prises en charge par Constructys (pas de double financement CCCA-BTP et Constructys)</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investissements immobiliers liés à des constructions ou des entretiens d’immeubles,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a:p>
            <a:pPr marL="342900" lvl="0" indent="-342900" algn="just">
              <a:buFont typeface="Calibri" panose="020F0502020204030204" pitchFamily="34" charset="0"/>
              <a:buChar char="-"/>
            </a:pPr>
            <a:r>
              <a:rPr lang="fr-FR" sz="1800">
                <a:solidFill>
                  <a:srgbClr val="1D1D1B"/>
                </a:solidFill>
                <a:effectLst/>
                <a:latin typeface="Calibri" panose="020F0502020204030204" pitchFamily="34" charset="0"/>
                <a:ea typeface="Calibri" panose="020F0502020204030204" pitchFamily="34" charset="0"/>
                <a:cs typeface="Times New Roman" panose="02020603050405020304" pitchFamily="18" charset="0"/>
              </a:rPr>
              <a:t>Les frais liés aux licences : hébergement et maintenance </a:t>
            </a:r>
            <a:endParaRPr lang="fr-FR" sz="1800">
              <a:solidFill>
                <a:srgbClr val="636363"/>
              </a:solidFill>
              <a:effectLst/>
              <a:latin typeface="Roboto" panose="02000000000000000000" pitchFamily="2" charset="0"/>
              <a:ea typeface="Calibri" panose="020F0502020204030204" pitchFamily="34" charset="0"/>
              <a:cs typeface="Times New Roman" panose="02020603050405020304" pitchFamily="18" charset="0"/>
            </a:endParaRPr>
          </a:p>
        </p:txBody>
      </p:sp>
      <p:sp>
        <p:nvSpPr>
          <p:cNvPr id="2" name="TextBox 15">
            <a:extLst>
              <a:ext uri="{FF2B5EF4-FFF2-40B4-BE49-F238E27FC236}">
                <a16:creationId xmlns:a16="http://schemas.microsoft.com/office/drawing/2014/main" id="{E729B07A-0FB7-21A3-CDD0-55297C95D7E6}"/>
              </a:ext>
            </a:extLst>
          </p:cNvPr>
          <p:cNvSpPr txBox="1"/>
          <p:nvPr/>
        </p:nvSpPr>
        <p:spPr>
          <a:xfrm>
            <a:off x="0" y="6239421"/>
            <a:ext cx="4661118" cy="562655"/>
          </a:xfrm>
          <a:prstGeom prst="rect">
            <a:avLst/>
          </a:prstGeom>
        </p:spPr>
        <p:txBody>
          <a:bodyPr wrap="square" lIns="0" tIns="0" rIns="0" bIns="0" rtlCol="0" anchor="t">
            <a:spAutoFit/>
          </a:bodyPr>
          <a:lstStyle/>
          <a:p>
            <a:pPr algn="ctr" defTabSz="914400">
              <a:lnSpc>
                <a:spcPts val="5038"/>
              </a:lnSpc>
            </a:pPr>
            <a:r>
              <a:rPr lang="en-US" sz="2400" b="1">
                <a:latin typeface="เอฟซี พาเลท"/>
              </a:rPr>
              <a:t>D</a:t>
            </a:r>
            <a:r>
              <a:rPr lang="fr-FR" sz="2400" b="1">
                <a:latin typeface="เอฟซี พาเลท"/>
              </a:rPr>
              <a:t>É</a:t>
            </a:r>
            <a:r>
              <a:rPr lang="en-US" sz="2400" b="1">
                <a:latin typeface="เอฟซี พาเลท"/>
              </a:rPr>
              <a:t>PENSES IN</a:t>
            </a:r>
            <a:r>
              <a:rPr lang="fr-FR" sz="2400" b="1">
                <a:latin typeface="เอฟซี พาเลท"/>
              </a:rPr>
              <a:t>É</a:t>
            </a:r>
            <a:r>
              <a:rPr lang="en-US" sz="2400" b="1">
                <a:latin typeface="เอฟซี พาเลท"/>
              </a:rPr>
              <a:t>LIGIBLES</a:t>
            </a:r>
          </a:p>
        </p:txBody>
      </p:sp>
    </p:spTree>
    <p:extLst>
      <p:ext uri="{BB962C8B-B14F-4D97-AF65-F5344CB8AC3E}">
        <p14:creationId xmlns:p14="http://schemas.microsoft.com/office/powerpoint/2010/main" val="33363960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FCBA2-EA55-7A00-BB71-0FAE748743A9}"/>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F0EAF010-0A5E-24DD-49DC-58A4224A12CB}"/>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4</a:t>
            </a:fld>
            <a:endParaRPr lang="fr-FR" sz="1400">
              <a:solidFill>
                <a:prstClr val="black"/>
              </a:solidFill>
              <a:latin typeface="Calibri"/>
            </a:endParaRPr>
          </a:p>
        </p:txBody>
      </p:sp>
      <p:sp>
        <p:nvSpPr>
          <p:cNvPr id="4" name="Title 2">
            <a:extLst>
              <a:ext uri="{FF2B5EF4-FFF2-40B4-BE49-F238E27FC236}">
                <a16:creationId xmlns:a16="http://schemas.microsoft.com/office/drawing/2014/main" id="{992BF984-B313-B787-D625-8AEA6E0D3D1F}"/>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F2C5D436-C150-D68E-2CA6-789C69D96B4D}"/>
              </a:ext>
            </a:extLst>
          </p:cNvPr>
          <p:cNvSpPr/>
          <p:nvPr/>
        </p:nvSpPr>
        <p:spPr>
          <a:xfrm>
            <a:off x="51297" y="650553"/>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5" name="Group 9">
            <a:extLst>
              <a:ext uri="{FF2B5EF4-FFF2-40B4-BE49-F238E27FC236}">
                <a16:creationId xmlns:a16="http://schemas.microsoft.com/office/drawing/2014/main" id="{2D2AAA7C-B193-655B-2CFC-00CB7FEAAF37}"/>
              </a:ext>
            </a:extLst>
          </p:cNvPr>
          <p:cNvGrpSpPr>
            <a:grpSpLocks noChangeAspect="1"/>
          </p:cNvGrpSpPr>
          <p:nvPr/>
        </p:nvGrpSpPr>
        <p:grpSpPr>
          <a:xfrm>
            <a:off x="14739660" y="1452843"/>
            <a:ext cx="1069959" cy="855491"/>
            <a:chOff x="0" y="0"/>
            <a:chExt cx="1567358" cy="1293952"/>
          </a:xfrm>
        </p:grpSpPr>
        <p:sp>
          <p:nvSpPr>
            <p:cNvPr id="76" name="Freeform 10">
              <a:extLst>
                <a:ext uri="{FF2B5EF4-FFF2-40B4-BE49-F238E27FC236}">
                  <a16:creationId xmlns:a16="http://schemas.microsoft.com/office/drawing/2014/main" id="{20062816-DE8A-7056-1D66-7C0603FC0896}"/>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81" name="TextBox 15">
            <a:extLst>
              <a:ext uri="{FF2B5EF4-FFF2-40B4-BE49-F238E27FC236}">
                <a16:creationId xmlns:a16="http://schemas.microsoft.com/office/drawing/2014/main" id="{AF870353-8EEB-5E1A-C8F8-6DFDF3F44A68}"/>
              </a:ext>
            </a:extLst>
          </p:cNvPr>
          <p:cNvSpPr txBox="1"/>
          <p:nvPr/>
        </p:nvSpPr>
        <p:spPr>
          <a:xfrm>
            <a:off x="921179" y="1046235"/>
            <a:ext cx="3649940" cy="562142"/>
          </a:xfrm>
          <a:prstGeom prst="rect">
            <a:avLst/>
          </a:prstGeom>
        </p:spPr>
        <p:txBody>
          <a:bodyPr wrap="square" lIns="0" tIns="0" rIns="0" bIns="0" rtlCol="0" anchor="t">
            <a:spAutoFit/>
          </a:bodyPr>
          <a:lstStyle/>
          <a:p>
            <a:pPr algn="ctr" defTabSz="914400">
              <a:lnSpc>
                <a:spcPts val="5038"/>
              </a:lnSpc>
            </a:pPr>
            <a:r>
              <a:rPr lang="fr-FR" sz="2400" b="1">
                <a:latin typeface="เอฟซี พาเลท"/>
              </a:rPr>
              <a:t>DÉPENSES ÉLIGIBLES </a:t>
            </a:r>
            <a:endParaRPr lang="en-US" sz="2400" b="1">
              <a:latin typeface="เอฟซี พาเลท"/>
            </a:endParaRPr>
          </a:p>
        </p:txBody>
      </p:sp>
      <p:sp>
        <p:nvSpPr>
          <p:cNvPr id="111" name="ZoneTexte 110">
            <a:extLst>
              <a:ext uri="{FF2B5EF4-FFF2-40B4-BE49-F238E27FC236}">
                <a16:creationId xmlns:a16="http://schemas.microsoft.com/office/drawing/2014/main" id="{639908E2-9203-A2C6-272F-3D263F24D272}"/>
              </a:ext>
            </a:extLst>
          </p:cNvPr>
          <p:cNvSpPr txBox="1"/>
          <p:nvPr/>
        </p:nvSpPr>
        <p:spPr>
          <a:xfrm>
            <a:off x="-5752" y="1822785"/>
            <a:ext cx="13033476" cy="7305974"/>
          </a:xfrm>
          <a:prstGeom prst="rect">
            <a:avLst/>
          </a:prstGeom>
          <a:solidFill>
            <a:schemeClr val="bg1"/>
          </a:solidFill>
        </p:spPr>
        <p:txBody>
          <a:bodyPr wrap="square">
            <a:spAutoFit/>
          </a:bodyPr>
          <a:lstStyle/>
          <a:p>
            <a:pPr algn="just" rtl="0" fontAlgn="base">
              <a:lnSpc>
                <a:spcPts val="1350"/>
              </a:lnSpc>
            </a:pPr>
            <a:r>
              <a:rPr lang="fr-FR" u="sng">
                <a:latin typeface="Calibri" panose="020F0502020204030204" pitchFamily="34" charset="0"/>
                <a:ea typeface="Calibri" panose="020F0502020204030204" pitchFamily="34" charset="0"/>
              </a:rPr>
              <a:t>Pour les projets d’investissements innovant incluant du matériel pédagogique ou éducatif : </a:t>
            </a:r>
            <a:endParaRPr lang="fr-FR">
              <a:latin typeface="Calibri" panose="020F0502020204030204" pitchFamily="34" charset="0"/>
              <a:ea typeface="Calibri" panose="020F0502020204030204" pitchFamily="34" charset="0"/>
            </a:endParaRP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investissements quelle que soit leur nature, autres que ceux résultant de procédés de construction, directement liés au projet pédagogique ou éducatif innovant, notamment les dépenses d’équipements et autres immobilisations dédiées au projet (logiciels, matériels, agencements etc…)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prestations intellectuelles supportés par le Bénéficiaire (par ex : études d’ingénierie, préparation, coordination, suivi, pilotage, etc…) ; la sous-traitance liée aux prestations intellectuelles ne doit pas dépasser 30 % du budget du Projet et doivent être clairement mentionnés dans le budget proposé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de campagnes, de promotion, ou de communication (y compris évènementielles)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d’équipements et autres immobilisations dédiées au projet (logiciels, matériels, agencements etc…).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de personnel affectés au projet directement supportées par le porteur de projet. Elles doivent être clairement identifiées dans le fichier joint au cahier des charges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réalisation et mise en forme marketée des productions et résultats des projets. </a:t>
            </a:r>
          </a:p>
          <a:p>
            <a:pPr marL="342900" indent="-342900" algn="just" fontAlgn="base">
              <a:lnSpc>
                <a:spcPct val="106000"/>
              </a:lnSpc>
              <a:buFont typeface="Wingdings" panose="05000000000000000000" pitchFamily="2" charset="2"/>
              <a:buChar char=""/>
              <a:tabLst>
                <a:tab pos="457200" algn="l"/>
              </a:tabLst>
            </a:pPr>
            <a:endParaRPr lang="fr-FR">
              <a:latin typeface="Calibri" panose="020F0502020204030204" pitchFamily="34" charset="0"/>
              <a:ea typeface="Calibri" panose="020F0502020204030204" pitchFamily="34" charset="0"/>
            </a:endParaRPr>
          </a:p>
          <a:p>
            <a:pPr marL="342900" indent="-342900" algn="just" fontAlgn="base">
              <a:lnSpc>
                <a:spcPct val="106000"/>
              </a:lnSpc>
              <a:buFont typeface="Wingdings" panose="05000000000000000000" pitchFamily="2" charset="2"/>
              <a:buChar char=""/>
              <a:tabLst>
                <a:tab pos="457200" algn="l"/>
              </a:tabLst>
            </a:pPr>
            <a:r>
              <a:rPr lang="fr-FR" u="sng">
                <a:latin typeface="Calibri" panose="020F0502020204030204" pitchFamily="34" charset="0"/>
                <a:ea typeface="Calibri" panose="020F0502020204030204" pitchFamily="34" charset="0"/>
              </a:rPr>
              <a:t>Pour les projets d’investissements innovants se rapportant à la phase de construction liée à un projet pédagogique ou éducatif innovant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liés à la conception et à réalisation d’investissements résultant de procédés de constructions directement liés au projet pédagogique ou éducatif innovant retenu dans le cadre de l’appel à projets.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 procédé de construction recouvre la réalisation d’ouvrages fixes et pérennes, comportant ou non des fondations et générant un espace utilisable par l’Homme en sous-sol ou en surface.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prestations intellectuelles supportés par le Bénéficiaire (par ex : études d’ingénierie, préparation, coordination, suivi, pilotage, etc…) ; la sous-traitance liée aux prestations intellectuelle ne doit pas dépasser 30 % du budget du Projet et doivent être clairement mentionnés dans le budget proposé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du personnel affectées au projet directement supportées par le Bénéficiaire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campagne, de promotion ou de communication relatives au Projet, y compris évènementielles ;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réalisation et mise en forme marketée des productions et résultats des projets. </a:t>
            </a:r>
          </a:p>
        </p:txBody>
      </p:sp>
      <p:sp>
        <p:nvSpPr>
          <p:cNvPr id="3" name="Rectangle 2">
            <a:extLst>
              <a:ext uri="{FF2B5EF4-FFF2-40B4-BE49-F238E27FC236}">
                <a16:creationId xmlns:a16="http://schemas.microsoft.com/office/drawing/2014/main" id="{B73BE37E-1633-78C4-97FF-4D9706555BFB}"/>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E66844A1-323E-2604-67E8-33795ACEB56E}"/>
              </a:ext>
            </a:extLst>
          </p:cNvPr>
          <p:cNvPicPr>
            <a:picLocks noChangeAspect="1"/>
          </p:cNvPicPr>
          <p:nvPr/>
        </p:nvPicPr>
        <p:blipFill>
          <a:blip r:embed="rId5"/>
          <a:stretch>
            <a:fillRect/>
          </a:stretch>
        </p:blipFill>
        <p:spPr>
          <a:xfrm>
            <a:off x="14395548" y="160525"/>
            <a:ext cx="1823083" cy="828038"/>
          </a:xfrm>
          <a:prstGeom prst="rect">
            <a:avLst/>
          </a:prstGeom>
        </p:spPr>
      </p:pic>
      <p:sp>
        <p:nvSpPr>
          <p:cNvPr id="72" name="Freeform 4">
            <a:extLst>
              <a:ext uri="{FF2B5EF4-FFF2-40B4-BE49-F238E27FC236}">
                <a16:creationId xmlns:a16="http://schemas.microsoft.com/office/drawing/2014/main" id="{BB788CFC-37BB-452C-81A8-631A936FF722}"/>
              </a:ext>
            </a:extLst>
          </p:cNvPr>
          <p:cNvSpPr/>
          <p:nvPr/>
        </p:nvSpPr>
        <p:spPr>
          <a:xfrm>
            <a:off x="14549731" y="7091090"/>
            <a:ext cx="1245162" cy="889662"/>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AC0BAD4C-1EC3-DE9B-4EF6-EBF538ADEED7}"/>
              </a:ext>
            </a:extLst>
          </p:cNvPr>
          <p:cNvGrpSpPr>
            <a:grpSpLocks noChangeAspect="1"/>
          </p:cNvGrpSpPr>
          <p:nvPr/>
        </p:nvGrpSpPr>
        <p:grpSpPr>
          <a:xfrm>
            <a:off x="12571426" y="3589245"/>
            <a:ext cx="591174" cy="553163"/>
            <a:chOff x="0" y="0"/>
            <a:chExt cx="816458" cy="866165"/>
          </a:xfrm>
        </p:grpSpPr>
        <p:sp>
          <p:nvSpPr>
            <p:cNvPr id="74" name="Freeform 8">
              <a:extLst>
                <a:ext uri="{FF2B5EF4-FFF2-40B4-BE49-F238E27FC236}">
                  <a16:creationId xmlns:a16="http://schemas.microsoft.com/office/drawing/2014/main" id="{0A1EA901-63E4-5270-E253-E282BF28582C}"/>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7" name="Freeform 11">
            <a:extLst>
              <a:ext uri="{FF2B5EF4-FFF2-40B4-BE49-F238E27FC236}">
                <a16:creationId xmlns:a16="http://schemas.microsoft.com/office/drawing/2014/main" id="{4387E241-73F5-F12B-3F9C-3093910CD85E}"/>
              </a:ext>
            </a:extLst>
          </p:cNvPr>
          <p:cNvSpPr/>
          <p:nvPr/>
        </p:nvSpPr>
        <p:spPr>
          <a:xfrm>
            <a:off x="13311925" y="3329207"/>
            <a:ext cx="1082155" cy="1378815"/>
          </a:xfrm>
          <a:custGeom>
            <a:avLst/>
            <a:gdLst/>
            <a:ahLst/>
            <a:cxnLst/>
            <a:rect l="l" t="t" r="r" b="b"/>
            <a:pathLst>
              <a:path w="2080384" h="2039864">
                <a:moveTo>
                  <a:pt x="0" y="0"/>
                </a:moveTo>
                <a:lnTo>
                  <a:pt x="2080384" y="0"/>
                </a:lnTo>
                <a:lnTo>
                  <a:pt x="2080384" y="2039865"/>
                </a:lnTo>
                <a:lnTo>
                  <a:pt x="0" y="2039865"/>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8" name="Freeform 12">
            <a:extLst>
              <a:ext uri="{FF2B5EF4-FFF2-40B4-BE49-F238E27FC236}">
                <a16:creationId xmlns:a16="http://schemas.microsoft.com/office/drawing/2014/main" id="{68FE5B14-7DB1-1AB2-A30B-09F47DDF54BC}"/>
              </a:ext>
            </a:extLst>
          </p:cNvPr>
          <p:cNvSpPr/>
          <p:nvPr/>
        </p:nvSpPr>
        <p:spPr>
          <a:xfrm>
            <a:off x="13030200" y="3459243"/>
            <a:ext cx="3188430" cy="2497057"/>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95" name="ZoneTexte 94">
            <a:extLst>
              <a:ext uri="{FF2B5EF4-FFF2-40B4-BE49-F238E27FC236}">
                <a16:creationId xmlns:a16="http://schemas.microsoft.com/office/drawing/2014/main" id="{9E4BDF40-433E-51A5-0562-68468A184D63}"/>
              </a:ext>
            </a:extLst>
          </p:cNvPr>
          <p:cNvSpPr txBox="1"/>
          <p:nvPr/>
        </p:nvSpPr>
        <p:spPr>
          <a:xfrm>
            <a:off x="12629774" y="4167381"/>
            <a:ext cx="3679926" cy="707886"/>
          </a:xfrm>
          <a:prstGeom prst="rect">
            <a:avLst/>
          </a:prstGeom>
          <a:noFill/>
        </p:spPr>
        <p:txBody>
          <a:bodyPr wrap="square">
            <a:spAutoFit/>
          </a:bodyPr>
          <a:lstStyle/>
          <a:p>
            <a:pPr algn="ctr"/>
            <a:r>
              <a:rPr lang="fr-FR" sz="2000" b="1">
                <a:latin typeface="Arial Black" panose="020B0A04020102020204" pitchFamily="34" charset="0"/>
                <a:cs typeface="Arial" panose="020B0604020202020204" pitchFamily="34" charset="0"/>
              </a:rPr>
              <a:t>INVESTISSEMENT INNOVANT</a:t>
            </a:r>
          </a:p>
        </p:txBody>
      </p:sp>
    </p:spTree>
    <p:extLst>
      <p:ext uri="{BB962C8B-B14F-4D97-AF65-F5344CB8AC3E}">
        <p14:creationId xmlns:p14="http://schemas.microsoft.com/office/powerpoint/2010/main" val="982430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C26CB-BFA9-ECA1-31A3-18FD6DB35D49}"/>
            </a:ext>
          </a:extLst>
        </p:cNvPr>
        <p:cNvGrpSpPr/>
        <p:nvPr/>
      </p:nvGrpSpPr>
      <p:grpSpPr>
        <a:xfrm>
          <a:off x="0" y="0"/>
          <a:ext cx="0" cy="0"/>
          <a:chOff x="0" y="0"/>
          <a:chExt cx="0" cy="0"/>
        </a:xfrm>
      </p:grpSpPr>
      <p:sp>
        <p:nvSpPr>
          <p:cNvPr id="78" name="Freeform 12">
            <a:extLst>
              <a:ext uri="{FF2B5EF4-FFF2-40B4-BE49-F238E27FC236}">
                <a16:creationId xmlns:a16="http://schemas.microsoft.com/office/drawing/2014/main" id="{413B47B7-E548-41DA-7366-D52751B033DF}"/>
              </a:ext>
            </a:extLst>
          </p:cNvPr>
          <p:cNvSpPr/>
          <p:nvPr/>
        </p:nvSpPr>
        <p:spPr>
          <a:xfrm>
            <a:off x="5831349" y="1367761"/>
            <a:ext cx="3801166" cy="2524660"/>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21" name="Espace réservé du numéro de diapositive 2">
            <a:extLst>
              <a:ext uri="{FF2B5EF4-FFF2-40B4-BE49-F238E27FC236}">
                <a16:creationId xmlns:a16="http://schemas.microsoft.com/office/drawing/2014/main" id="{6F8E08A2-C84C-A2F5-D649-021BBBF1D1F7}"/>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5</a:t>
            </a:fld>
            <a:endParaRPr lang="fr-FR" sz="1400">
              <a:solidFill>
                <a:prstClr val="black"/>
              </a:solidFill>
              <a:latin typeface="Calibri"/>
            </a:endParaRPr>
          </a:p>
        </p:txBody>
      </p:sp>
      <p:sp>
        <p:nvSpPr>
          <p:cNvPr id="4" name="Title 2">
            <a:extLst>
              <a:ext uri="{FF2B5EF4-FFF2-40B4-BE49-F238E27FC236}">
                <a16:creationId xmlns:a16="http://schemas.microsoft.com/office/drawing/2014/main" id="{D7DD1B86-0576-B68B-22E5-FF6F5C192272}"/>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C6D7DC4B-3D42-C557-AC09-5DE80512DE62}"/>
              </a:ext>
            </a:extLst>
          </p:cNvPr>
          <p:cNvSpPr/>
          <p:nvPr/>
        </p:nvSpPr>
        <p:spPr>
          <a:xfrm>
            <a:off x="123264" y="3294613"/>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2" name="Freeform 4">
            <a:extLst>
              <a:ext uri="{FF2B5EF4-FFF2-40B4-BE49-F238E27FC236}">
                <a16:creationId xmlns:a16="http://schemas.microsoft.com/office/drawing/2014/main" id="{EC6D4B0D-A686-EC3B-68AA-3E49D056C3A8}"/>
              </a:ext>
            </a:extLst>
          </p:cNvPr>
          <p:cNvSpPr/>
          <p:nvPr/>
        </p:nvSpPr>
        <p:spPr>
          <a:xfrm>
            <a:off x="13795506" y="6692336"/>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2638016E-C52A-EA75-8BDD-99E77506CE81}"/>
              </a:ext>
            </a:extLst>
          </p:cNvPr>
          <p:cNvGrpSpPr>
            <a:grpSpLocks noChangeAspect="1"/>
          </p:cNvGrpSpPr>
          <p:nvPr/>
        </p:nvGrpSpPr>
        <p:grpSpPr>
          <a:xfrm>
            <a:off x="5989521" y="1497763"/>
            <a:ext cx="656439" cy="614232"/>
            <a:chOff x="0" y="0"/>
            <a:chExt cx="816458" cy="866165"/>
          </a:xfrm>
        </p:grpSpPr>
        <p:sp>
          <p:nvSpPr>
            <p:cNvPr id="74" name="Freeform 8">
              <a:extLst>
                <a:ext uri="{FF2B5EF4-FFF2-40B4-BE49-F238E27FC236}">
                  <a16:creationId xmlns:a16="http://schemas.microsoft.com/office/drawing/2014/main" id="{7927CE27-DC9A-181D-DF67-9C4D3F22F292}"/>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grpSp>
        <p:nvGrpSpPr>
          <p:cNvPr id="75" name="Group 9">
            <a:extLst>
              <a:ext uri="{FF2B5EF4-FFF2-40B4-BE49-F238E27FC236}">
                <a16:creationId xmlns:a16="http://schemas.microsoft.com/office/drawing/2014/main" id="{596B5321-0877-7A27-3332-435D13BA40A8}"/>
              </a:ext>
            </a:extLst>
          </p:cNvPr>
          <p:cNvGrpSpPr>
            <a:grpSpLocks noChangeAspect="1"/>
          </p:cNvGrpSpPr>
          <p:nvPr/>
        </p:nvGrpSpPr>
        <p:grpSpPr>
          <a:xfrm>
            <a:off x="1900635" y="6097896"/>
            <a:ext cx="1069959" cy="855491"/>
            <a:chOff x="0" y="0"/>
            <a:chExt cx="1567358" cy="1293952"/>
          </a:xfrm>
        </p:grpSpPr>
        <p:sp>
          <p:nvSpPr>
            <p:cNvPr id="76" name="Freeform 10">
              <a:extLst>
                <a:ext uri="{FF2B5EF4-FFF2-40B4-BE49-F238E27FC236}">
                  <a16:creationId xmlns:a16="http://schemas.microsoft.com/office/drawing/2014/main" id="{1F5BE9E4-CA8A-88E0-BE89-652C2BE657AF}"/>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7" name="Freeform 11">
            <a:extLst>
              <a:ext uri="{FF2B5EF4-FFF2-40B4-BE49-F238E27FC236}">
                <a16:creationId xmlns:a16="http://schemas.microsoft.com/office/drawing/2014/main" id="{C2F95439-B6B0-9008-47CC-4B4E4D2B1AEC}"/>
              </a:ext>
            </a:extLst>
          </p:cNvPr>
          <p:cNvSpPr/>
          <p:nvPr/>
        </p:nvSpPr>
        <p:spPr>
          <a:xfrm>
            <a:off x="6563741" y="1237725"/>
            <a:ext cx="1313699" cy="1539070"/>
          </a:xfrm>
          <a:custGeom>
            <a:avLst/>
            <a:gdLst/>
            <a:ahLst/>
            <a:cxnLst/>
            <a:rect l="l" t="t" r="r" b="b"/>
            <a:pathLst>
              <a:path w="2080384" h="2039864">
                <a:moveTo>
                  <a:pt x="0" y="0"/>
                </a:moveTo>
                <a:lnTo>
                  <a:pt x="2080384" y="0"/>
                </a:lnTo>
                <a:lnTo>
                  <a:pt x="2080384" y="2039865"/>
                </a:lnTo>
                <a:lnTo>
                  <a:pt x="0" y="203986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95" name="ZoneTexte 94">
            <a:extLst>
              <a:ext uri="{FF2B5EF4-FFF2-40B4-BE49-F238E27FC236}">
                <a16:creationId xmlns:a16="http://schemas.microsoft.com/office/drawing/2014/main" id="{2D6FE730-E654-8970-22EB-68AE0FE31043}"/>
              </a:ext>
            </a:extLst>
          </p:cNvPr>
          <p:cNvSpPr txBox="1"/>
          <p:nvPr/>
        </p:nvSpPr>
        <p:spPr>
          <a:xfrm>
            <a:off x="5542597" y="2085521"/>
            <a:ext cx="3801166" cy="707886"/>
          </a:xfrm>
          <a:prstGeom prst="rect">
            <a:avLst/>
          </a:prstGeom>
          <a:noFill/>
        </p:spPr>
        <p:txBody>
          <a:bodyPr wrap="square">
            <a:spAutoFit/>
          </a:bodyPr>
          <a:lstStyle/>
          <a:p>
            <a:pPr algn="ctr"/>
            <a:r>
              <a:rPr lang="fr-FR" sz="2000" b="1">
                <a:latin typeface="Arial Black" panose="020B0A04020102020204" pitchFamily="34" charset="0"/>
                <a:cs typeface="Arial" panose="020B0604020202020204" pitchFamily="34" charset="0"/>
              </a:rPr>
              <a:t>INVESTISSEMENT INNOVANT</a:t>
            </a:r>
          </a:p>
        </p:txBody>
      </p:sp>
      <p:sp>
        <p:nvSpPr>
          <p:cNvPr id="3" name="Rectangle 2">
            <a:extLst>
              <a:ext uri="{FF2B5EF4-FFF2-40B4-BE49-F238E27FC236}">
                <a16:creationId xmlns:a16="http://schemas.microsoft.com/office/drawing/2014/main" id="{EBE3ECA0-550B-40A4-2A4F-042F59AB3010}"/>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59C21947-8850-5264-E23D-971BBE3D08F3}"/>
              </a:ext>
            </a:extLst>
          </p:cNvPr>
          <p:cNvPicPr>
            <a:picLocks noChangeAspect="1"/>
          </p:cNvPicPr>
          <p:nvPr/>
        </p:nvPicPr>
        <p:blipFill>
          <a:blip r:embed="rId11"/>
          <a:stretch>
            <a:fillRect/>
          </a:stretch>
        </p:blipFill>
        <p:spPr>
          <a:xfrm>
            <a:off x="14395548" y="160525"/>
            <a:ext cx="1823083" cy="828038"/>
          </a:xfrm>
          <a:prstGeom prst="rect">
            <a:avLst/>
          </a:prstGeom>
        </p:spPr>
      </p:pic>
      <p:sp>
        <p:nvSpPr>
          <p:cNvPr id="5" name="ZoneTexte 4">
            <a:extLst>
              <a:ext uri="{FF2B5EF4-FFF2-40B4-BE49-F238E27FC236}">
                <a16:creationId xmlns:a16="http://schemas.microsoft.com/office/drawing/2014/main" id="{426E79D2-6AF4-264F-FA8F-EA9E25ECE558}"/>
              </a:ext>
            </a:extLst>
          </p:cNvPr>
          <p:cNvSpPr txBox="1"/>
          <p:nvPr/>
        </p:nvSpPr>
        <p:spPr>
          <a:xfrm>
            <a:off x="1453780" y="3119005"/>
            <a:ext cx="12847320" cy="2722348"/>
          </a:xfrm>
          <a:prstGeom prst="rect">
            <a:avLst/>
          </a:prstGeom>
          <a:noFill/>
        </p:spPr>
        <p:txBody>
          <a:bodyPr wrap="square">
            <a:spAutoFit/>
          </a:bodyPr>
          <a:lstStyle/>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investissements immobiliers liés à des constructions ou des entretiens d’immeubles, l'acquisition de terrain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investissements dont la durée d’amortissement est inférieure à 3 ans,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couvertes par les NPEC.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frais de déplacement, restauration et hébergement des prestataires.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a contribution aux frais généraux, les frais bancaires et les intérêts financiers rattachés à un emprunt et toute charge non spécifique au projet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heures de face à face pédagogiques dont le financement est déjà assuré par le NPEC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heures de formation du personnel dont la prise en charge est assurée dans le cadre du plan de formation  </a:t>
            </a:r>
          </a:p>
          <a:p>
            <a:pPr marL="342900" indent="-342900" algn="just" fontAlgn="base">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dépenses déjà prises en charge par Constructys ou tout autre OPCO </a:t>
            </a:r>
          </a:p>
        </p:txBody>
      </p:sp>
      <p:sp>
        <p:nvSpPr>
          <p:cNvPr id="2" name="TextBox 15">
            <a:extLst>
              <a:ext uri="{FF2B5EF4-FFF2-40B4-BE49-F238E27FC236}">
                <a16:creationId xmlns:a16="http://schemas.microsoft.com/office/drawing/2014/main" id="{9EF6AF57-5B62-9A1B-4447-0CBB93E63444}"/>
              </a:ext>
            </a:extLst>
          </p:cNvPr>
          <p:cNvSpPr txBox="1"/>
          <p:nvPr/>
        </p:nvSpPr>
        <p:spPr>
          <a:xfrm>
            <a:off x="640035" y="2415459"/>
            <a:ext cx="4661118" cy="562655"/>
          </a:xfrm>
          <a:prstGeom prst="rect">
            <a:avLst/>
          </a:prstGeom>
        </p:spPr>
        <p:txBody>
          <a:bodyPr wrap="square" lIns="0" tIns="0" rIns="0" bIns="0" rtlCol="0" anchor="t">
            <a:spAutoFit/>
          </a:bodyPr>
          <a:lstStyle/>
          <a:p>
            <a:pPr algn="ctr" defTabSz="914400">
              <a:lnSpc>
                <a:spcPts val="5038"/>
              </a:lnSpc>
            </a:pPr>
            <a:r>
              <a:rPr lang="en-US" sz="2400" b="1">
                <a:latin typeface="เอฟซี พาเลท"/>
              </a:rPr>
              <a:t>D</a:t>
            </a:r>
            <a:r>
              <a:rPr lang="fr-FR" sz="2400" b="1">
                <a:latin typeface="เอฟซี พาเลท"/>
              </a:rPr>
              <a:t>É</a:t>
            </a:r>
            <a:r>
              <a:rPr lang="en-US" sz="2400" b="1">
                <a:latin typeface="เอฟซี พาเลท"/>
              </a:rPr>
              <a:t>PENSES IN</a:t>
            </a:r>
            <a:r>
              <a:rPr lang="fr-FR" sz="2400" b="1">
                <a:latin typeface="เอฟซี พาเลท"/>
              </a:rPr>
              <a:t>É</a:t>
            </a:r>
            <a:r>
              <a:rPr lang="en-US" sz="2400" b="1">
                <a:latin typeface="เอฟซี พาเลท"/>
              </a:rPr>
              <a:t>LIGIBLES</a:t>
            </a:r>
          </a:p>
        </p:txBody>
      </p:sp>
    </p:spTree>
    <p:extLst>
      <p:ext uri="{BB962C8B-B14F-4D97-AF65-F5344CB8AC3E}">
        <p14:creationId xmlns:p14="http://schemas.microsoft.com/office/powerpoint/2010/main" val="36221868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BC02B2-B70E-05A7-61DA-851C1947F60F}"/>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02067B15-1F6A-7546-2081-92B2CED8EA2E}"/>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6</a:t>
            </a:fld>
            <a:endParaRPr lang="fr-FR" sz="1400">
              <a:solidFill>
                <a:prstClr val="black"/>
              </a:solidFill>
              <a:latin typeface="Calibri"/>
            </a:endParaRPr>
          </a:p>
        </p:txBody>
      </p:sp>
      <p:sp>
        <p:nvSpPr>
          <p:cNvPr id="4" name="Title 2">
            <a:extLst>
              <a:ext uri="{FF2B5EF4-FFF2-40B4-BE49-F238E27FC236}">
                <a16:creationId xmlns:a16="http://schemas.microsoft.com/office/drawing/2014/main" id="{EC767466-8D1B-81E8-BBC0-FE621E48857B}"/>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Dépenses éligibles et inéligibles à financement</a:t>
            </a:r>
          </a:p>
        </p:txBody>
      </p:sp>
      <p:sp>
        <p:nvSpPr>
          <p:cNvPr id="71" name="Freeform 3">
            <a:extLst>
              <a:ext uri="{FF2B5EF4-FFF2-40B4-BE49-F238E27FC236}">
                <a16:creationId xmlns:a16="http://schemas.microsoft.com/office/drawing/2014/main" id="{9A6355B9-B616-98B3-1F7A-61827BA9DA24}"/>
              </a:ext>
            </a:extLst>
          </p:cNvPr>
          <p:cNvSpPr/>
          <p:nvPr/>
        </p:nvSpPr>
        <p:spPr>
          <a:xfrm>
            <a:off x="123264" y="3294613"/>
            <a:ext cx="1015391" cy="957824"/>
          </a:xfrm>
          <a:custGeom>
            <a:avLst/>
            <a:gdLst/>
            <a:ahLst/>
            <a:cxnLst/>
            <a:rect l="l" t="t" r="r" b="b"/>
            <a:pathLst>
              <a:path w="1910963" h="1628775">
                <a:moveTo>
                  <a:pt x="0" y="0"/>
                </a:moveTo>
                <a:lnTo>
                  <a:pt x="1910963" y="0"/>
                </a:lnTo>
                <a:lnTo>
                  <a:pt x="1910963" y="1628775"/>
                </a:lnTo>
                <a:lnTo>
                  <a:pt x="0" y="162877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2" name="Freeform 4">
            <a:extLst>
              <a:ext uri="{FF2B5EF4-FFF2-40B4-BE49-F238E27FC236}">
                <a16:creationId xmlns:a16="http://schemas.microsoft.com/office/drawing/2014/main" id="{CCAF2896-4239-D823-AB1C-ECA0B38E79FD}"/>
              </a:ext>
            </a:extLst>
          </p:cNvPr>
          <p:cNvSpPr/>
          <p:nvPr/>
        </p:nvSpPr>
        <p:spPr>
          <a:xfrm>
            <a:off x="9358375" y="2590540"/>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nvGrpSpPr>
          <p:cNvPr id="73" name="Group 7">
            <a:extLst>
              <a:ext uri="{FF2B5EF4-FFF2-40B4-BE49-F238E27FC236}">
                <a16:creationId xmlns:a16="http://schemas.microsoft.com/office/drawing/2014/main" id="{23ED7E27-2E8D-ACF8-28CC-1A7E1251C4A6}"/>
              </a:ext>
            </a:extLst>
          </p:cNvPr>
          <p:cNvGrpSpPr>
            <a:grpSpLocks noChangeAspect="1"/>
          </p:cNvGrpSpPr>
          <p:nvPr/>
        </p:nvGrpSpPr>
        <p:grpSpPr>
          <a:xfrm>
            <a:off x="12260142" y="6271385"/>
            <a:ext cx="656439" cy="614232"/>
            <a:chOff x="0" y="0"/>
            <a:chExt cx="816458" cy="866165"/>
          </a:xfrm>
        </p:grpSpPr>
        <p:sp>
          <p:nvSpPr>
            <p:cNvPr id="74" name="Freeform 8">
              <a:extLst>
                <a:ext uri="{FF2B5EF4-FFF2-40B4-BE49-F238E27FC236}">
                  <a16:creationId xmlns:a16="http://schemas.microsoft.com/office/drawing/2014/main" id="{B635E967-E2DD-E449-5778-DA372857DFDA}"/>
                </a:ext>
              </a:extLst>
            </p:cNvPr>
            <p:cNvSpPr/>
            <p:nvPr/>
          </p:nvSpPr>
          <p:spPr>
            <a:xfrm>
              <a:off x="-9398" y="0"/>
              <a:ext cx="872871" cy="866140"/>
            </a:xfrm>
            <a:custGeom>
              <a:avLst/>
              <a:gdLst/>
              <a:ahLst/>
              <a:cxnLst/>
              <a:rect l="l" t="t" r="r" b="b"/>
              <a:pathLst>
                <a:path w="872871" h="866140">
                  <a:moveTo>
                    <a:pt x="36830" y="157734"/>
                  </a:moveTo>
                  <a:cubicBezTo>
                    <a:pt x="44577" y="170053"/>
                    <a:pt x="46228" y="179324"/>
                    <a:pt x="45466" y="187198"/>
                  </a:cubicBezTo>
                  <a:cubicBezTo>
                    <a:pt x="44577" y="176657"/>
                    <a:pt x="40767" y="165481"/>
                    <a:pt x="36830" y="157734"/>
                  </a:cubicBezTo>
                  <a:close/>
                  <a:moveTo>
                    <a:pt x="45466" y="187198"/>
                  </a:moveTo>
                  <a:cubicBezTo>
                    <a:pt x="45466" y="187198"/>
                    <a:pt x="45466" y="187198"/>
                    <a:pt x="45466" y="187198"/>
                  </a:cubicBezTo>
                  <a:lnTo>
                    <a:pt x="45466" y="187198"/>
                  </a:lnTo>
                  <a:cubicBezTo>
                    <a:pt x="45466" y="187198"/>
                    <a:pt x="45466" y="187198"/>
                    <a:pt x="45466" y="187198"/>
                  </a:cubicBezTo>
                  <a:close/>
                  <a:moveTo>
                    <a:pt x="616204" y="501396"/>
                  </a:moveTo>
                  <a:cubicBezTo>
                    <a:pt x="628015" y="512826"/>
                    <a:pt x="638937" y="524637"/>
                    <a:pt x="643509" y="540004"/>
                  </a:cubicBezTo>
                  <a:cubicBezTo>
                    <a:pt x="638937" y="524764"/>
                    <a:pt x="627888" y="512826"/>
                    <a:pt x="616204" y="501396"/>
                  </a:cubicBezTo>
                  <a:close/>
                  <a:moveTo>
                    <a:pt x="718693" y="734568"/>
                  </a:moveTo>
                  <a:cubicBezTo>
                    <a:pt x="719201" y="734822"/>
                    <a:pt x="719709" y="735203"/>
                    <a:pt x="720090" y="735584"/>
                  </a:cubicBezTo>
                  <a:cubicBezTo>
                    <a:pt x="719709" y="735203"/>
                    <a:pt x="719201" y="734949"/>
                    <a:pt x="718693" y="734568"/>
                  </a:cubicBezTo>
                  <a:close/>
                  <a:moveTo>
                    <a:pt x="720090" y="735584"/>
                  </a:moveTo>
                  <a:cubicBezTo>
                    <a:pt x="720090" y="735584"/>
                    <a:pt x="720090" y="735584"/>
                    <a:pt x="720090" y="735584"/>
                  </a:cubicBezTo>
                  <a:lnTo>
                    <a:pt x="720090" y="735584"/>
                  </a:lnTo>
                  <a:cubicBezTo>
                    <a:pt x="720090" y="735584"/>
                    <a:pt x="720090" y="735584"/>
                    <a:pt x="720090" y="735584"/>
                  </a:cubicBezTo>
                  <a:close/>
                  <a:moveTo>
                    <a:pt x="725424" y="752094"/>
                  </a:moveTo>
                  <a:cubicBezTo>
                    <a:pt x="726440" y="760222"/>
                    <a:pt x="726440" y="769112"/>
                    <a:pt x="726948" y="773684"/>
                  </a:cubicBezTo>
                  <a:cubicBezTo>
                    <a:pt x="723900" y="767461"/>
                    <a:pt x="725170" y="759587"/>
                    <a:pt x="725424" y="752094"/>
                  </a:cubicBezTo>
                  <a:close/>
                  <a:moveTo>
                    <a:pt x="209169" y="0"/>
                  </a:moveTo>
                  <a:cubicBezTo>
                    <a:pt x="154940" y="0"/>
                    <a:pt x="94615" y="56515"/>
                    <a:pt x="51054" y="83693"/>
                  </a:cubicBezTo>
                  <a:cubicBezTo>
                    <a:pt x="38862" y="85725"/>
                    <a:pt x="33909" y="93218"/>
                    <a:pt x="34925" y="105156"/>
                  </a:cubicBezTo>
                  <a:cubicBezTo>
                    <a:pt x="2921" y="118110"/>
                    <a:pt x="5207" y="189738"/>
                    <a:pt x="19177" y="216281"/>
                  </a:cubicBezTo>
                  <a:cubicBezTo>
                    <a:pt x="19685" y="216281"/>
                    <a:pt x="20193" y="216281"/>
                    <a:pt x="20701" y="216281"/>
                  </a:cubicBezTo>
                  <a:cubicBezTo>
                    <a:pt x="28956" y="216281"/>
                    <a:pt x="34798" y="214122"/>
                    <a:pt x="38608" y="210439"/>
                  </a:cubicBezTo>
                  <a:cubicBezTo>
                    <a:pt x="36830" y="217043"/>
                    <a:pt x="36195" y="224155"/>
                    <a:pt x="39116" y="233299"/>
                  </a:cubicBezTo>
                  <a:lnTo>
                    <a:pt x="0" y="222758"/>
                  </a:lnTo>
                  <a:lnTo>
                    <a:pt x="381" y="224282"/>
                  </a:lnTo>
                  <a:lnTo>
                    <a:pt x="381" y="224282"/>
                  </a:lnTo>
                  <a:cubicBezTo>
                    <a:pt x="43307" y="265049"/>
                    <a:pt x="68199" y="284226"/>
                    <a:pt x="91440" y="302514"/>
                  </a:cubicBezTo>
                  <a:cubicBezTo>
                    <a:pt x="128270" y="346583"/>
                    <a:pt x="179578" y="446786"/>
                    <a:pt x="242189" y="446786"/>
                  </a:cubicBezTo>
                  <a:cubicBezTo>
                    <a:pt x="257302" y="446786"/>
                    <a:pt x="272923" y="440944"/>
                    <a:pt x="289306" y="427228"/>
                  </a:cubicBezTo>
                  <a:cubicBezTo>
                    <a:pt x="333121" y="382143"/>
                    <a:pt x="284480" y="330962"/>
                    <a:pt x="255905" y="293116"/>
                  </a:cubicBezTo>
                  <a:cubicBezTo>
                    <a:pt x="256159" y="293116"/>
                    <a:pt x="256413" y="293116"/>
                    <a:pt x="256667" y="293116"/>
                  </a:cubicBezTo>
                  <a:cubicBezTo>
                    <a:pt x="385445" y="293116"/>
                    <a:pt x="515493" y="410972"/>
                    <a:pt x="606425" y="503936"/>
                  </a:cubicBezTo>
                  <a:cubicBezTo>
                    <a:pt x="608203" y="516255"/>
                    <a:pt x="631317" y="553847"/>
                    <a:pt x="640715" y="553847"/>
                  </a:cubicBezTo>
                  <a:cubicBezTo>
                    <a:pt x="643255" y="553847"/>
                    <a:pt x="644779" y="550926"/>
                    <a:pt x="644525" y="543814"/>
                  </a:cubicBezTo>
                  <a:cubicBezTo>
                    <a:pt x="647065" y="558165"/>
                    <a:pt x="656209" y="588645"/>
                    <a:pt x="671703" y="588645"/>
                  </a:cubicBezTo>
                  <a:cubicBezTo>
                    <a:pt x="671830" y="588645"/>
                    <a:pt x="671957" y="588645"/>
                    <a:pt x="672084" y="588645"/>
                  </a:cubicBezTo>
                  <a:cubicBezTo>
                    <a:pt x="658622" y="599948"/>
                    <a:pt x="691642" y="646049"/>
                    <a:pt x="693293" y="669544"/>
                  </a:cubicBezTo>
                  <a:cubicBezTo>
                    <a:pt x="685546" y="683514"/>
                    <a:pt x="697103" y="695325"/>
                    <a:pt x="697611" y="708406"/>
                  </a:cubicBezTo>
                  <a:cubicBezTo>
                    <a:pt x="688467" y="719582"/>
                    <a:pt x="690118" y="730504"/>
                    <a:pt x="698246" y="741426"/>
                  </a:cubicBezTo>
                  <a:cubicBezTo>
                    <a:pt x="695960" y="757428"/>
                    <a:pt x="691769" y="773303"/>
                    <a:pt x="696849" y="789559"/>
                  </a:cubicBezTo>
                  <a:cubicBezTo>
                    <a:pt x="680847" y="824103"/>
                    <a:pt x="701294" y="844550"/>
                    <a:pt x="727837" y="857250"/>
                  </a:cubicBezTo>
                  <a:cubicBezTo>
                    <a:pt x="740918" y="863346"/>
                    <a:pt x="752602" y="866140"/>
                    <a:pt x="762762" y="866140"/>
                  </a:cubicBezTo>
                  <a:cubicBezTo>
                    <a:pt x="872871" y="866140"/>
                    <a:pt x="820801" y="542544"/>
                    <a:pt x="744982" y="498094"/>
                  </a:cubicBezTo>
                  <a:cubicBezTo>
                    <a:pt x="746252" y="498348"/>
                    <a:pt x="747522" y="498475"/>
                    <a:pt x="748538" y="498475"/>
                  </a:cubicBezTo>
                  <a:cubicBezTo>
                    <a:pt x="766953" y="498475"/>
                    <a:pt x="746252" y="460248"/>
                    <a:pt x="725043" y="452755"/>
                  </a:cubicBezTo>
                  <a:cubicBezTo>
                    <a:pt x="620522" y="280543"/>
                    <a:pt x="433578" y="179578"/>
                    <a:pt x="236982" y="139827"/>
                  </a:cubicBezTo>
                  <a:cubicBezTo>
                    <a:pt x="260096" y="104013"/>
                    <a:pt x="303276" y="61849"/>
                    <a:pt x="260858" y="22479"/>
                  </a:cubicBezTo>
                  <a:cubicBezTo>
                    <a:pt x="244856" y="6350"/>
                    <a:pt x="227330" y="0"/>
                    <a:pt x="209169" y="0"/>
                  </a:cubicBezTo>
                  <a:close/>
                </a:path>
              </a:pathLst>
            </a:custGeom>
            <a:solidFill>
              <a:srgbClr val="7EC2A3"/>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grpSp>
        <p:nvGrpSpPr>
          <p:cNvPr id="75" name="Group 9">
            <a:extLst>
              <a:ext uri="{FF2B5EF4-FFF2-40B4-BE49-F238E27FC236}">
                <a16:creationId xmlns:a16="http://schemas.microsoft.com/office/drawing/2014/main" id="{22A7D9F2-F1F4-7934-B859-F6B3253A9AE3}"/>
              </a:ext>
            </a:extLst>
          </p:cNvPr>
          <p:cNvGrpSpPr>
            <a:grpSpLocks noChangeAspect="1"/>
          </p:cNvGrpSpPr>
          <p:nvPr/>
        </p:nvGrpSpPr>
        <p:grpSpPr>
          <a:xfrm>
            <a:off x="5066060" y="1327306"/>
            <a:ext cx="1069959" cy="855491"/>
            <a:chOff x="0" y="0"/>
            <a:chExt cx="1567358" cy="1293952"/>
          </a:xfrm>
        </p:grpSpPr>
        <p:sp>
          <p:nvSpPr>
            <p:cNvPr id="76" name="Freeform 10">
              <a:extLst>
                <a:ext uri="{FF2B5EF4-FFF2-40B4-BE49-F238E27FC236}">
                  <a16:creationId xmlns:a16="http://schemas.microsoft.com/office/drawing/2014/main" id="{8FB7C75D-D4E6-4D51-2DA9-791D4B535BD8}"/>
                </a:ext>
              </a:extLst>
            </p:cNvPr>
            <p:cNvSpPr/>
            <p:nvPr/>
          </p:nvSpPr>
          <p:spPr>
            <a:xfrm>
              <a:off x="-4191" y="0"/>
              <a:ext cx="1577975" cy="1293876"/>
            </a:xfrm>
            <a:custGeom>
              <a:avLst/>
              <a:gdLst/>
              <a:ahLst/>
              <a:cxnLst/>
              <a:rect l="l" t="t" r="r" b="b"/>
              <a:pathLst>
                <a:path w="1577975" h="1293876">
                  <a:moveTo>
                    <a:pt x="1391031" y="40894"/>
                  </a:moveTo>
                  <a:cubicBezTo>
                    <a:pt x="1386967" y="83693"/>
                    <a:pt x="1394460" y="126873"/>
                    <a:pt x="1401826" y="169037"/>
                  </a:cubicBezTo>
                  <a:lnTo>
                    <a:pt x="1227836" y="285496"/>
                  </a:lnTo>
                  <a:cubicBezTo>
                    <a:pt x="1239520" y="235966"/>
                    <a:pt x="1252728" y="186944"/>
                    <a:pt x="1265428" y="137922"/>
                  </a:cubicBezTo>
                  <a:lnTo>
                    <a:pt x="1391158" y="40894"/>
                  </a:lnTo>
                  <a:close/>
                  <a:moveTo>
                    <a:pt x="1415669" y="193040"/>
                  </a:moveTo>
                  <a:cubicBezTo>
                    <a:pt x="1449832" y="212725"/>
                    <a:pt x="1488948" y="221996"/>
                    <a:pt x="1526540" y="232156"/>
                  </a:cubicBezTo>
                  <a:lnTo>
                    <a:pt x="1421511" y="307594"/>
                  </a:lnTo>
                  <a:lnTo>
                    <a:pt x="1370711" y="343281"/>
                  </a:lnTo>
                  <a:cubicBezTo>
                    <a:pt x="1338072" y="336804"/>
                    <a:pt x="1306703" y="322707"/>
                    <a:pt x="1275842" y="310261"/>
                  </a:cubicBezTo>
                  <a:lnTo>
                    <a:pt x="1261364" y="304038"/>
                  </a:lnTo>
                  <a:cubicBezTo>
                    <a:pt x="1308227" y="264668"/>
                    <a:pt x="1361821" y="228600"/>
                    <a:pt x="1415669" y="192786"/>
                  </a:cubicBezTo>
                  <a:close/>
                  <a:moveTo>
                    <a:pt x="711454" y="377444"/>
                  </a:moveTo>
                  <a:cubicBezTo>
                    <a:pt x="695071" y="377444"/>
                    <a:pt x="677799" y="379603"/>
                    <a:pt x="680212" y="397256"/>
                  </a:cubicBezTo>
                  <a:cubicBezTo>
                    <a:pt x="682117" y="405003"/>
                    <a:pt x="689483" y="406400"/>
                    <a:pt x="700786" y="406400"/>
                  </a:cubicBezTo>
                  <a:cubicBezTo>
                    <a:pt x="707771" y="406400"/>
                    <a:pt x="716153" y="405892"/>
                    <a:pt x="725678" y="405892"/>
                  </a:cubicBezTo>
                  <a:cubicBezTo>
                    <a:pt x="749554" y="405892"/>
                    <a:pt x="780415" y="409448"/>
                    <a:pt x="812165" y="433959"/>
                  </a:cubicBezTo>
                  <a:lnTo>
                    <a:pt x="835914" y="455803"/>
                  </a:lnTo>
                  <a:cubicBezTo>
                    <a:pt x="838835" y="458724"/>
                    <a:pt x="842010" y="459867"/>
                    <a:pt x="845185" y="459867"/>
                  </a:cubicBezTo>
                  <a:cubicBezTo>
                    <a:pt x="855853" y="459867"/>
                    <a:pt x="865505" y="445897"/>
                    <a:pt x="855726" y="436118"/>
                  </a:cubicBezTo>
                  <a:cubicBezTo>
                    <a:pt x="825246" y="400431"/>
                    <a:pt x="778764" y="380111"/>
                    <a:pt x="732155" y="377571"/>
                  </a:cubicBezTo>
                  <a:cubicBezTo>
                    <a:pt x="730631" y="377698"/>
                    <a:pt x="728980" y="377698"/>
                    <a:pt x="727075" y="377698"/>
                  </a:cubicBezTo>
                  <a:cubicBezTo>
                    <a:pt x="722503" y="377698"/>
                    <a:pt x="717169" y="377444"/>
                    <a:pt x="711708" y="377444"/>
                  </a:cubicBezTo>
                  <a:close/>
                  <a:moveTo>
                    <a:pt x="668401" y="624332"/>
                  </a:moveTo>
                  <a:cubicBezTo>
                    <a:pt x="681736" y="624332"/>
                    <a:pt x="694055" y="627888"/>
                    <a:pt x="701675" y="636651"/>
                  </a:cubicBezTo>
                  <a:cubicBezTo>
                    <a:pt x="689356" y="649224"/>
                    <a:pt x="649986" y="660654"/>
                    <a:pt x="659130" y="681990"/>
                  </a:cubicBezTo>
                  <a:cubicBezTo>
                    <a:pt x="662813" y="686562"/>
                    <a:pt x="666750" y="688340"/>
                    <a:pt x="670941" y="688340"/>
                  </a:cubicBezTo>
                  <a:cubicBezTo>
                    <a:pt x="685800" y="688340"/>
                    <a:pt x="702945" y="665353"/>
                    <a:pt x="716153" y="660146"/>
                  </a:cubicBezTo>
                  <a:lnTo>
                    <a:pt x="718947" y="663194"/>
                  </a:lnTo>
                  <a:lnTo>
                    <a:pt x="719582" y="664718"/>
                  </a:lnTo>
                  <a:lnTo>
                    <a:pt x="719836" y="665607"/>
                  </a:lnTo>
                  <a:lnTo>
                    <a:pt x="721360" y="677672"/>
                  </a:lnTo>
                  <a:cubicBezTo>
                    <a:pt x="720090" y="690245"/>
                    <a:pt x="717931" y="698373"/>
                    <a:pt x="715137" y="705104"/>
                  </a:cubicBezTo>
                  <a:lnTo>
                    <a:pt x="715391" y="703834"/>
                  </a:lnTo>
                  <a:lnTo>
                    <a:pt x="710438" y="714248"/>
                  </a:lnTo>
                  <a:cubicBezTo>
                    <a:pt x="706120" y="720090"/>
                    <a:pt x="701802" y="725043"/>
                    <a:pt x="699008" y="726821"/>
                  </a:cubicBezTo>
                  <a:cubicBezTo>
                    <a:pt x="687959" y="734949"/>
                    <a:pt x="672973" y="737743"/>
                    <a:pt x="657987" y="737743"/>
                  </a:cubicBezTo>
                  <a:cubicBezTo>
                    <a:pt x="649224" y="737743"/>
                    <a:pt x="640588" y="736854"/>
                    <a:pt x="632714" y="735457"/>
                  </a:cubicBezTo>
                  <a:cubicBezTo>
                    <a:pt x="615823" y="727456"/>
                    <a:pt x="609600" y="706501"/>
                    <a:pt x="603504" y="690118"/>
                  </a:cubicBezTo>
                  <a:cubicBezTo>
                    <a:pt x="601345" y="675640"/>
                    <a:pt x="610616" y="650748"/>
                    <a:pt x="616077" y="643001"/>
                  </a:cubicBezTo>
                  <a:cubicBezTo>
                    <a:pt x="626745" y="632206"/>
                    <a:pt x="648462" y="624205"/>
                    <a:pt x="668147" y="624205"/>
                  </a:cubicBezTo>
                  <a:close/>
                  <a:moveTo>
                    <a:pt x="699643" y="480695"/>
                  </a:moveTo>
                  <a:cubicBezTo>
                    <a:pt x="704596" y="480695"/>
                    <a:pt x="709295" y="480822"/>
                    <a:pt x="713740" y="481076"/>
                  </a:cubicBezTo>
                  <a:cubicBezTo>
                    <a:pt x="739648" y="484505"/>
                    <a:pt x="766699" y="496189"/>
                    <a:pt x="788289" y="512445"/>
                  </a:cubicBezTo>
                  <a:cubicBezTo>
                    <a:pt x="802513" y="523875"/>
                    <a:pt x="816991" y="537718"/>
                    <a:pt x="825500" y="553974"/>
                  </a:cubicBezTo>
                  <a:lnTo>
                    <a:pt x="726059" y="620522"/>
                  </a:lnTo>
                  <a:cubicBezTo>
                    <a:pt x="711835" y="603631"/>
                    <a:pt x="690372" y="596138"/>
                    <a:pt x="668147" y="596138"/>
                  </a:cubicBezTo>
                  <a:cubicBezTo>
                    <a:pt x="638937" y="596138"/>
                    <a:pt x="608711" y="609219"/>
                    <a:pt x="592074" y="631063"/>
                  </a:cubicBezTo>
                  <a:cubicBezTo>
                    <a:pt x="573024" y="662432"/>
                    <a:pt x="572008" y="701040"/>
                    <a:pt x="592709" y="732155"/>
                  </a:cubicBezTo>
                  <a:cubicBezTo>
                    <a:pt x="604647" y="757936"/>
                    <a:pt x="629666" y="765683"/>
                    <a:pt x="655574" y="765683"/>
                  </a:cubicBezTo>
                  <a:cubicBezTo>
                    <a:pt x="665861" y="765683"/>
                    <a:pt x="676275" y="764413"/>
                    <a:pt x="686054" y="762635"/>
                  </a:cubicBezTo>
                  <a:cubicBezTo>
                    <a:pt x="735076" y="753999"/>
                    <a:pt x="767080" y="686816"/>
                    <a:pt x="740283" y="644652"/>
                  </a:cubicBezTo>
                  <a:lnTo>
                    <a:pt x="837057" y="580009"/>
                  </a:lnTo>
                  <a:cubicBezTo>
                    <a:pt x="845312" y="595757"/>
                    <a:pt x="857377" y="609219"/>
                    <a:pt x="864743" y="625856"/>
                  </a:cubicBezTo>
                  <a:cubicBezTo>
                    <a:pt x="886968" y="710565"/>
                    <a:pt x="840105" y="829183"/>
                    <a:pt x="756920" y="864235"/>
                  </a:cubicBezTo>
                  <a:cubicBezTo>
                    <a:pt x="729742" y="875030"/>
                    <a:pt x="682244" y="882904"/>
                    <a:pt x="637286" y="882904"/>
                  </a:cubicBezTo>
                  <a:cubicBezTo>
                    <a:pt x="596646" y="882904"/>
                    <a:pt x="558038" y="876554"/>
                    <a:pt x="538607" y="860298"/>
                  </a:cubicBezTo>
                  <a:cubicBezTo>
                    <a:pt x="494284" y="822071"/>
                    <a:pt x="471170" y="763270"/>
                    <a:pt x="455803" y="708152"/>
                  </a:cubicBezTo>
                  <a:cubicBezTo>
                    <a:pt x="454533" y="656971"/>
                    <a:pt x="472186" y="592328"/>
                    <a:pt x="500761" y="549783"/>
                  </a:cubicBezTo>
                  <a:cubicBezTo>
                    <a:pt x="537337" y="501396"/>
                    <a:pt x="635889" y="480695"/>
                    <a:pt x="699770" y="480695"/>
                  </a:cubicBezTo>
                  <a:close/>
                  <a:moveTo>
                    <a:pt x="270510" y="315849"/>
                  </a:moveTo>
                  <a:cubicBezTo>
                    <a:pt x="266319" y="315849"/>
                    <a:pt x="262001" y="317754"/>
                    <a:pt x="259334" y="322453"/>
                  </a:cubicBezTo>
                  <a:cubicBezTo>
                    <a:pt x="124460" y="512826"/>
                    <a:pt x="68961" y="749935"/>
                    <a:pt x="181102" y="965200"/>
                  </a:cubicBezTo>
                  <a:cubicBezTo>
                    <a:pt x="185801" y="980186"/>
                    <a:pt x="194818" y="986536"/>
                    <a:pt x="202311" y="986536"/>
                  </a:cubicBezTo>
                  <a:cubicBezTo>
                    <a:pt x="210566" y="986536"/>
                    <a:pt x="216916" y="978535"/>
                    <a:pt x="212852" y="965708"/>
                  </a:cubicBezTo>
                  <a:cubicBezTo>
                    <a:pt x="192278" y="928497"/>
                    <a:pt x="176784" y="888746"/>
                    <a:pt x="165989" y="847471"/>
                  </a:cubicBezTo>
                  <a:cubicBezTo>
                    <a:pt x="149987" y="785495"/>
                    <a:pt x="145034" y="720852"/>
                    <a:pt x="151511" y="657098"/>
                  </a:cubicBezTo>
                  <a:cubicBezTo>
                    <a:pt x="157988" y="591820"/>
                    <a:pt x="178054" y="529209"/>
                    <a:pt x="206375" y="470154"/>
                  </a:cubicBezTo>
                  <a:cubicBezTo>
                    <a:pt x="228600" y="423672"/>
                    <a:pt x="255397" y="379349"/>
                    <a:pt x="283337" y="336169"/>
                  </a:cubicBezTo>
                  <a:cubicBezTo>
                    <a:pt x="289687" y="325501"/>
                    <a:pt x="280035" y="315722"/>
                    <a:pt x="270510" y="315722"/>
                  </a:cubicBezTo>
                  <a:close/>
                  <a:moveTo>
                    <a:pt x="1348613" y="649605"/>
                  </a:moveTo>
                  <a:cubicBezTo>
                    <a:pt x="1340231" y="649605"/>
                    <a:pt x="1331595" y="656463"/>
                    <a:pt x="1334389" y="666877"/>
                  </a:cubicBezTo>
                  <a:cubicBezTo>
                    <a:pt x="1338961" y="697103"/>
                    <a:pt x="1339596" y="731901"/>
                    <a:pt x="1335659" y="763016"/>
                  </a:cubicBezTo>
                  <a:cubicBezTo>
                    <a:pt x="1331087" y="800227"/>
                    <a:pt x="1318133" y="839089"/>
                    <a:pt x="1303655" y="872617"/>
                  </a:cubicBezTo>
                  <a:cubicBezTo>
                    <a:pt x="1298067" y="898525"/>
                    <a:pt x="1213358" y="1029081"/>
                    <a:pt x="1258062" y="1032764"/>
                  </a:cubicBezTo>
                  <a:cubicBezTo>
                    <a:pt x="1273810" y="1032510"/>
                    <a:pt x="1271270" y="1014857"/>
                    <a:pt x="1275334" y="1004062"/>
                  </a:cubicBezTo>
                  <a:cubicBezTo>
                    <a:pt x="1322832" y="893826"/>
                    <a:pt x="1386840" y="784479"/>
                    <a:pt x="1361313" y="659384"/>
                  </a:cubicBezTo>
                  <a:cubicBezTo>
                    <a:pt x="1359662" y="652526"/>
                    <a:pt x="1354328" y="649605"/>
                    <a:pt x="1348740" y="649605"/>
                  </a:cubicBezTo>
                  <a:close/>
                  <a:moveTo>
                    <a:pt x="711327" y="323723"/>
                  </a:moveTo>
                  <a:cubicBezTo>
                    <a:pt x="806323" y="323723"/>
                    <a:pt x="899795" y="372999"/>
                    <a:pt x="950468" y="454533"/>
                  </a:cubicBezTo>
                  <a:lnTo>
                    <a:pt x="953262" y="463169"/>
                  </a:lnTo>
                  <a:cubicBezTo>
                    <a:pt x="919353" y="490855"/>
                    <a:pt x="883666" y="514604"/>
                    <a:pt x="848233" y="538607"/>
                  </a:cubicBezTo>
                  <a:cubicBezTo>
                    <a:pt x="810260" y="476758"/>
                    <a:pt x="749935" y="453263"/>
                    <a:pt x="685927" y="453263"/>
                  </a:cubicBezTo>
                  <a:cubicBezTo>
                    <a:pt x="652272" y="453263"/>
                    <a:pt x="617601" y="459740"/>
                    <a:pt x="584581" y="470535"/>
                  </a:cubicBezTo>
                  <a:cubicBezTo>
                    <a:pt x="511302" y="484759"/>
                    <a:pt x="457073" y="539242"/>
                    <a:pt x="442214" y="612267"/>
                  </a:cubicBezTo>
                  <a:cubicBezTo>
                    <a:pt x="413258" y="699135"/>
                    <a:pt x="431165" y="746252"/>
                    <a:pt x="473075" y="823595"/>
                  </a:cubicBezTo>
                  <a:cubicBezTo>
                    <a:pt x="504825" y="886079"/>
                    <a:pt x="560070" y="910209"/>
                    <a:pt x="624332" y="910209"/>
                  </a:cubicBezTo>
                  <a:cubicBezTo>
                    <a:pt x="632968" y="910209"/>
                    <a:pt x="641858" y="909828"/>
                    <a:pt x="650748" y="908939"/>
                  </a:cubicBezTo>
                  <a:cubicBezTo>
                    <a:pt x="652907" y="908939"/>
                    <a:pt x="655066" y="908939"/>
                    <a:pt x="657098" y="908939"/>
                  </a:cubicBezTo>
                  <a:cubicBezTo>
                    <a:pt x="726694" y="908939"/>
                    <a:pt x="800481" y="889254"/>
                    <a:pt x="842645" y="830072"/>
                  </a:cubicBezTo>
                  <a:cubicBezTo>
                    <a:pt x="883285" y="775843"/>
                    <a:pt x="902970" y="704977"/>
                    <a:pt x="896239" y="637540"/>
                  </a:cubicBezTo>
                  <a:cubicBezTo>
                    <a:pt x="892556" y="609219"/>
                    <a:pt x="872871" y="588010"/>
                    <a:pt x="859282" y="564261"/>
                  </a:cubicBezTo>
                  <a:lnTo>
                    <a:pt x="966216" y="492760"/>
                  </a:lnTo>
                  <a:cubicBezTo>
                    <a:pt x="969264" y="498983"/>
                    <a:pt x="972693" y="504825"/>
                    <a:pt x="976122" y="510286"/>
                  </a:cubicBezTo>
                  <a:cubicBezTo>
                    <a:pt x="990854" y="534035"/>
                    <a:pt x="1009142" y="556133"/>
                    <a:pt x="1020445" y="582041"/>
                  </a:cubicBezTo>
                  <a:cubicBezTo>
                    <a:pt x="1058672" y="705231"/>
                    <a:pt x="991235" y="894715"/>
                    <a:pt x="887730" y="971677"/>
                  </a:cubicBezTo>
                  <a:cubicBezTo>
                    <a:pt x="812673" y="1029335"/>
                    <a:pt x="716534" y="1036828"/>
                    <a:pt x="624332" y="1036828"/>
                  </a:cubicBezTo>
                  <a:cubicBezTo>
                    <a:pt x="608965" y="1036828"/>
                    <a:pt x="593852" y="1036574"/>
                    <a:pt x="578866" y="1036447"/>
                  </a:cubicBezTo>
                  <a:cubicBezTo>
                    <a:pt x="544068" y="1035812"/>
                    <a:pt x="508889" y="1033399"/>
                    <a:pt x="477266" y="1018540"/>
                  </a:cubicBezTo>
                  <a:cubicBezTo>
                    <a:pt x="378079" y="969010"/>
                    <a:pt x="338709" y="852805"/>
                    <a:pt x="301752" y="755523"/>
                  </a:cubicBezTo>
                  <a:cubicBezTo>
                    <a:pt x="279019" y="683133"/>
                    <a:pt x="316484" y="580898"/>
                    <a:pt x="340233" y="510032"/>
                  </a:cubicBezTo>
                  <a:lnTo>
                    <a:pt x="341503" y="506984"/>
                  </a:lnTo>
                  <a:cubicBezTo>
                    <a:pt x="351028" y="485775"/>
                    <a:pt x="362458" y="465074"/>
                    <a:pt x="376301" y="446913"/>
                  </a:cubicBezTo>
                  <a:cubicBezTo>
                    <a:pt x="445643" y="360680"/>
                    <a:pt x="565785" y="347472"/>
                    <a:pt x="667385" y="327406"/>
                  </a:cubicBezTo>
                  <a:cubicBezTo>
                    <a:pt x="682117" y="324993"/>
                    <a:pt x="696849" y="323723"/>
                    <a:pt x="711581" y="323723"/>
                  </a:cubicBezTo>
                  <a:close/>
                  <a:moveTo>
                    <a:pt x="306832" y="1063244"/>
                  </a:moveTo>
                  <a:lnTo>
                    <a:pt x="307086" y="1063498"/>
                  </a:lnTo>
                  <a:lnTo>
                    <a:pt x="307086" y="1063244"/>
                  </a:lnTo>
                  <a:close/>
                  <a:moveTo>
                    <a:pt x="291973" y="1049020"/>
                  </a:moveTo>
                  <a:cubicBezTo>
                    <a:pt x="285369" y="1049020"/>
                    <a:pt x="279146" y="1053465"/>
                    <a:pt x="279146" y="1061974"/>
                  </a:cubicBezTo>
                  <a:cubicBezTo>
                    <a:pt x="280670" y="1099820"/>
                    <a:pt x="324485" y="1110361"/>
                    <a:pt x="343154" y="1138428"/>
                  </a:cubicBezTo>
                  <a:cubicBezTo>
                    <a:pt x="368681" y="1172972"/>
                    <a:pt x="413131" y="1176274"/>
                    <a:pt x="451866" y="1184910"/>
                  </a:cubicBezTo>
                  <a:lnTo>
                    <a:pt x="521462" y="1207135"/>
                  </a:lnTo>
                  <a:cubicBezTo>
                    <a:pt x="522859" y="1207516"/>
                    <a:pt x="524256" y="1207770"/>
                    <a:pt x="525526" y="1207770"/>
                  </a:cubicBezTo>
                  <a:cubicBezTo>
                    <a:pt x="539750" y="1207770"/>
                    <a:pt x="544830" y="1184910"/>
                    <a:pt x="528828" y="1180338"/>
                  </a:cubicBezTo>
                  <a:cubicBezTo>
                    <a:pt x="491236" y="1164971"/>
                    <a:pt x="451485" y="1155954"/>
                    <a:pt x="411734" y="1147953"/>
                  </a:cubicBezTo>
                  <a:cubicBezTo>
                    <a:pt x="399161" y="1145159"/>
                    <a:pt x="386207" y="1141222"/>
                    <a:pt x="376301" y="1132586"/>
                  </a:cubicBezTo>
                  <a:cubicBezTo>
                    <a:pt x="360934" y="1118108"/>
                    <a:pt x="348869" y="1100201"/>
                    <a:pt x="330708" y="1088898"/>
                  </a:cubicBezTo>
                  <a:lnTo>
                    <a:pt x="310769" y="1071880"/>
                  </a:lnTo>
                  <a:cubicBezTo>
                    <a:pt x="310642" y="1071626"/>
                    <a:pt x="310388" y="1071499"/>
                    <a:pt x="310388" y="1071372"/>
                  </a:cubicBezTo>
                  <a:lnTo>
                    <a:pt x="306832" y="1065784"/>
                  </a:lnTo>
                  <a:cubicBezTo>
                    <a:pt x="306832" y="1054481"/>
                    <a:pt x="299212" y="1049147"/>
                    <a:pt x="291973" y="1049147"/>
                  </a:cubicBezTo>
                  <a:close/>
                  <a:moveTo>
                    <a:pt x="722884" y="95250"/>
                  </a:moveTo>
                  <a:cubicBezTo>
                    <a:pt x="732155" y="95250"/>
                    <a:pt x="741553" y="95504"/>
                    <a:pt x="750951" y="96012"/>
                  </a:cubicBezTo>
                  <a:cubicBezTo>
                    <a:pt x="906526" y="106807"/>
                    <a:pt x="1070991" y="202946"/>
                    <a:pt x="1126998" y="352298"/>
                  </a:cubicBezTo>
                  <a:lnTo>
                    <a:pt x="978535" y="451485"/>
                  </a:lnTo>
                  <a:cubicBezTo>
                    <a:pt x="928751" y="353949"/>
                    <a:pt x="818515" y="296418"/>
                    <a:pt x="709930" y="296418"/>
                  </a:cubicBezTo>
                  <a:cubicBezTo>
                    <a:pt x="692785" y="296418"/>
                    <a:pt x="675640" y="297815"/>
                    <a:pt x="658749" y="300863"/>
                  </a:cubicBezTo>
                  <a:cubicBezTo>
                    <a:pt x="576199" y="315595"/>
                    <a:pt x="489966" y="330073"/>
                    <a:pt x="416941" y="373507"/>
                  </a:cubicBezTo>
                  <a:cubicBezTo>
                    <a:pt x="309118" y="440309"/>
                    <a:pt x="284226" y="577723"/>
                    <a:pt x="266319" y="693801"/>
                  </a:cubicBezTo>
                  <a:cubicBezTo>
                    <a:pt x="263525" y="782574"/>
                    <a:pt x="344297" y="945769"/>
                    <a:pt x="409194" y="1005840"/>
                  </a:cubicBezTo>
                  <a:cubicBezTo>
                    <a:pt x="461010" y="1057148"/>
                    <a:pt x="533146" y="1064641"/>
                    <a:pt x="602869" y="1064641"/>
                  </a:cubicBezTo>
                  <a:cubicBezTo>
                    <a:pt x="616458" y="1064641"/>
                    <a:pt x="630047" y="1064387"/>
                    <a:pt x="643255" y="1064006"/>
                  </a:cubicBezTo>
                  <a:cubicBezTo>
                    <a:pt x="646430" y="1064006"/>
                    <a:pt x="649732" y="1064133"/>
                    <a:pt x="652907" y="1064133"/>
                  </a:cubicBezTo>
                  <a:cubicBezTo>
                    <a:pt x="770636" y="1064133"/>
                    <a:pt x="895604" y="1030859"/>
                    <a:pt x="966724" y="930402"/>
                  </a:cubicBezTo>
                  <a:cubicBezTo>
                    <a:pt x="1034542" y="839597"/>
                    <a:pt x="1067435" y="719963"/>
                    <a:pt x="1056005" y="607314"/>
                  </a:cubicBezTo>
                  <a:cubicBezTo>
                    <a:pt x="1049274" y="557149"/>
                    <a:pt x="1011682" y="520446"/>
                    <a:pt x="989203" y="477012"/>
                  </a:cubicBezTo>
                  <a:lnTo>
                    <a:pt x="1138936" y="376936"/>
                  </a:lnTo>
                  <a:cubicBezTo>
                    <a:pt x="1143254" y="384937"/>
                    <a:pt x="1147572" y="392303"/>
                    <a:pt x="1151890" y="399669"/>
                  </a:cubicBezTo>
                  <a:cubicBezTo>
                    <a:pt x="1187323" y="455422"/>
                    <a:pt x="1232535" y="508127"/>
                    <a:pt x="1240282" y="575818"/>
                  </a:cubicBezTo>
                  <a:cubicBezTo>
                    <a:pt x="1252347" y="720598"/>
                    <a:pt x="1215390" y="870585"/>
                    <a:pt x="1145413" y="997204"/>
                  </a:cubicBezTo>
                  <a:cubicBezTo>
                    <a:pt x="1039241" y="1207516"/>
                    <a:pt x="808736" y="1268476"/>
                    <a:pt x="589407" y="1268476"/>
                  </a:cubicBezTo>
                  <a:cubicBezTo>
                    <a:pt x="560705" y="1268476"/>
                    <a:pt x="532257" y="1267460"/>
                    <a:pt x="504190" y="1265555"/>
                  </a:cubicBezTo>
                  <a:cubicBezTo>
                    <a:pt x="438531" y="1264285"/>
                    <a:pt x="372618" y="1258189"/>
                    <a:pt x="314198" y="1226439"/>
                  </a:cubicBezTo>
                  <a:cubicBezTo>
                    <a:pt x="193421" y="1158367"/>
                    <a:pt x="133350" y="1024128"/>
                    <a:pt x="81026" y="901827"/>
                  </a:cubicBezTo>
                  <a:cubicBezTo>
                    <a:pt x="54229" y="837692"/>
                    <a:pt x="25908" y="770890"/>
                    <a:pt x="31750" y="700024"/>
                  </a:cubicBezTo>
                  <a:cubicBezTo>
                    <a:pt x="57277" y="549783"/>
                    <a:pt x="85344" y="384048"/>
                    <a:pt x="191897" y="267843"/>
                  </a:cubicBezTo>
                  <a:cubicBezTo>
                    <a:pt x="280924" y="177038"/>
                    <a:pt x="410591" y="148717"/>
                    <a:pt x="530352" y="121539"/>
                  </a:cubicBezTo>
                  <a:cubicBezTo>
                    <a:pt x="593725" y="107569"/>
                    <a:pt x="657987" y="95250"/>
                    <a:pt x="722884" y="95250"/>
                  </a:cubicBezTo>
                  <a:close/>
                  <a:moveTo>
                    <a:pt x="1196213" y="1113536"/>
                  </a:moveTo>
                  <a:cubicBezTo>
                    <a:pt x="1192022" y="1113536"/>
                    <a:pt x="1187958" y="1115441"/>
                    <a:pt x="1185291" y="1119886"/>
                  </a:cubicBezTo>
                  <a:lnTo>
                    <a:pt x="1163066" y="1155954"/>
                  </a:lnTo>
                  <a:cubicBezTo>
                    <a:pt x="1139317" y="1189228"/>
                    <a:pt x="1107948" y="1216025"/>
                    <a:pt x="1074928" y="1239774"/>
                  </a:cubicBezTo>
                  <a:cubicBezTo>
                    <a:pt x="1063244" y="1252982"/>
                    <a:pt x="1021334" y="1264666"/>
                    <a:pt x="1031240" y="1286002"/>
                  </a:cubicBezTo>
                  <a:cubicBezTo>
                    <a:pt x="1034034" y="1290066"/>
                    <a:pt x="1038860" y="1292860"/>
                    <a:pt x="1043813" y="1292860"/>
                  </a:cubicBezTo>
                  <a:cubicBezTo>
                    <a:pt x="1046099" y="1292860"/>
                    <a:pt x="1048258" y="1292225"/>
                    <a:pt x="1050290" y="1290955"/>
                  </a:cubicBezTo>
                  <a:lnTo>
                    <a:pt x="1121410" y="1239266"/>
                  </a:lnTo>
                  <a:cubicBezTo>
                    <a:pt x="1157097" y="1210310"/>
                    <a:pt x="1187958" y="1175512"/>
                    <a:pt x="1209167" y="1134491"/>
                  </a:cubicBezTo>
                  <a:cubicBezTo>
                    <a:pt x="1215644" y="1123696"/>
                    <a:pt x="1205738" y="1113663"/>
                    <a:pt x="1196086" y="1113663"/>
                  </a:cubicBezTo>
                  <a:close/>
                  <a:moveTo>
                    <a:pt x="1403731" y="0"/>
                  </a:moveTo>
                  <a:cubicBezTo>
                    <a:pt x="1400683" y="0"/>
                    <a:pt x="1397000" y="1143"/>
                    <a:pt x="1392555" y="3937"/>
                  </a:cubicBezTo>
                  <a:lnTo>
                    <a:pt x="1283208" y="90170"/>
                  </a:lnTo>
                  <a:cubicBezTo>
                    <a:pt x="1263777" y="106426"/>
                    <a:pt x="1236091" y="116713"/>
                    <a:pt x="1234567" y="145542"/>
                  </a:cubicBezTo>
                  <a:lnTo>
                    <a:pt x="1197229" y="291973"/>
                  </a:lnTo>
                  <a:cubicBezTo>
                    <a:pt x="1196340" y="296291"/>
                    <a:pt x="1197229" y="300609"/>
                    <a:pt x="1199388" y="304038"/>
                  </a:cubicBezTo>
                  <a:lnTo>
                    <a:pt x="1149858" y="337312"/>
                  </a:lnTo>
                  <a:cubicBezTo>
                    <a:pt x="1082929" y="166497"/>
                    <a:pt x="894207" y="67310"/>
                    <a:pt x="713867" y="67310"/>
                  </a:cubicBezTo>
                  <a:cubicBezTo>
                    <a:pt x="687324" y="67310"/>
                    <a:pt x="660908" y="69469"/>
                    <a:pt x="635127" y="73787"/>
                  </a:cubicBezTo>
                  <a:cubicBezTo>
                    <a:pt x="502412" y="97536"/>
                    <a:pt x="363474" y="120904"/>
                    <a:pt x="245745" y="189865"/>
                  </a:cubicBezTo>
                  <a:cubicBezTo>
                    <a:pt x="72644" y="296545"/>
                    <a:pt x="33274" y="516763"/>
                    <a:pt x="4318" y="702564"/>
                  </a:cubicBezTo>
                  <a:cubicBezTo>
                    <a:pt x="0" y="844804"/>
                    <a:pt x="130302" y="1108202"/>
                    <a:pt x="235331" y="1203706"/>
                  </a:cubicBezTo>
                  <a:cubicBezTo>
                    <a:pt x="304927" y="1269365"/>
                    <a:pt x="399669" y="1293368"/>
                    <a:pt x="493268" y="1293368"/>
                  </a:cubicBezTo>
                  <a:cubicBezTo>
                    <a:pt x="496189" y="1293368"/>
                    <a:pt x="499110" y="1293368"/>
                    <a:pt x="502158" y="1293241"/>
                  </a:cubicBezTo>
                  <a:cubicBezTo>
                    <a:pt x="525907" y="1293622"/>
                    <a:pt x="549656" y="1293876"/>
                    <a:pt x="573532" y="1293876"/>
                  </a:cubicBezTo>
                  <a:cubicBezTo>
                    <a:pt x="654939" y="1293876"/>
                    <a:pt x="736600" y="1290320"/>
                    <a:pt x="816356" y="1273175"/>
                  </a:cubicBezTo>
                  <a:cubicBezTo>
                    <a:pt x="1131951" y="1215644"/>
                    <a:pt x="1294892" y="862330"/>
                    <a:pt x="1267206" y="566039"/>
                  </a:cubicBezTo>
                  <a:cubicBezTo>
                    <a:pt x="1257046" y="486918"/>
                    <a:pt x="1199134" y="429006"/>
                    <a:pt x="1162431" y="361569"/>
                  </a:cubicBezTo>
                  <a:lnTo>
                    <a:pt x="1227074" y="318389"/>
                  </a:lnTo>
                  <a:cubicBezTo>
                    <a:pt x="1272921" y="338455"/>
                    <a:pt x="1319784" y="360553"/>
                    <a:pt x="1369060" y="370459"/>
                  </a:cubicBezTo>
                  <a:cubicBezTo>
                    <a:pt x="1390650" y="369570"/>
                    <a:pt x="1405763" y="350393"/>
                    <a:pt x="1422908" y="339979"/>
                  </a:cubicBezTo>
                  <a:lnTo>
                    <a:pt x="1564259" y="238379"/>
                  </a:lnTo>
                  <a:cubicBezTo>
                    <a:pt x="1570736" y="234950"/>
                    <a:pt x="1573530" y="226314"/>
                    <a:pt x="1569466" y="219837"/>
                  </a:cubicBezTo>
                  <a:cubicBezTo>
                    <a:pt x="1532509" y="197104"/>
                    <a:pt x="1479550" y="197358"/>
                    <a:pt x="1441323" y="175514"/>
                  </a:cubicBezTo>
                  <a:lnTo>
                    <a:pt x="1542923" y="107442"/>
                  </a:lnTo>
                  <a:cubicBezTo>
                    <a:pt x="1553083" y="98806"/>
                    <a:pt x="1577975" y="91694"/>
                    <a:pt x="1569085" y="74168"/>
                  </a:cubicBezTo>
                  <a:lnTo>
                    <a:pt x="1556512" y="64897"/>
                  </a:lnTo>
                  <a:cubicBezTo>
                    <a:pt x="1508760" y="96647"/>
                    <a:pt x="1467739" y="124333"/>
                    <a:pt x="1426464" y="151765"/>
                  </a:cubicBezTo>
                  <a:cubicBezTo>
                    <a:pt x="1420241" y="117602"/>
                    <a:pt x="1415415" y="83058"/>
                    <a:pt x="1417574" y="48260"/>
                  </a:cubicBezTo>
                  <a:cubicBezTo>
                    <a:pt x="1420368" y="33782"/>
                    <a:pt x="1419987" y="0"/>
                    <a:pt x="1403477" y="0"/>
                  </a:cubicBezTo>
                  <a:close/>
                </a:path>
              </a:pathLst>
            </a:custGeom>
            <a:solidFill>
              <a:srgbClr val="5588E1"/>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grpSp>
      <p:sp>
        <p:nvSpPr>
          <p:cNvPr id="77" name="Freeform 11">
            <a:extLst>
              <a:ext uri="{FF2B5EF4-FFF2-40B4-BE49-F238E27FC236}">
                <a16:creationId xmlns:a16="http://schemas.microsoft.com/office/drawing/2014/main" id="{875A77C7-137B-A1A7-B074-09E33EAD0C6A}"/>
              </a:ext>
            </a:extLst>
          </p:cNvPr>
          <p:cNvSpPr/>
          <p:nvPr/>
        </p:nvSpPr>
        <p:spPr>
          <a:xfrm>
            <a:off x="12834362" y="6011347"/>
            <a:ext cx="1313699" cy="1539070"/>
          </a:xfrm>
          <a:custGeom>
            <a:avLst/>
            <a:gdLst/>
            <a:ahLst/>
            <a:cxnLst/>
            <a:rect l="l" t="t" r="r" b="b"/>
            <a:pathLst>
              <a:path w="2080384" h="2039864">
                <a:moveTo>
                  <a:pt x="0" y="0"/>
                </a:moveTo>
                <a:lnTo>
                  <a:pt x="2080384" y="0"/>
                </a:lnTo>
                <a:lnTo>
                  <a:pt x="2080384" y="2039865"/>
                </a:lnTo>
                <a:lnTo>
                  <a:pt x="0" y="203986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78" name="Freeform 12">
            <a:extLst>
              <a:ext uri="{FF2B5EF4-FFF2-40B4-BE49-F238E27FC236}">
                <a16:creationId xmlns:a16="http://schemas.microsoft.com/office/drawing/2014/main" id="{D195C29C-DEA2-ABFB-CA88-C0D34EF76BDE}"/>
              </a:ext>
            </a:extLst>
          </p:cNvPr>
          <p:cNvSpPr/>
          <p:nvPr/>
        </p:nvSpPr>
        <p:spPr>
          <a:xfrm>
            <a:off x="12101970" y="6141383"/>
            <a:ext cx="3870642" cy="2787280"/>
          </a:xfrm>
          <a:custGeom>
            <a:avLst/>
            <a:gdLst/>
            <a:ahLst/>
            <a:cxnLst/>
            <a:rect l="l" t="t" r="r" b="b"/>
            <a:pathLst>
              <a:path w="9573616" h="5022409">
                <a:moveTo>
                  <a:pt x="0" y="0"/>
                </a:moveTo>
                <a:lnTo>
                  <a:pt x="9573616" y="0"/>
                </a:lnTo>
                <a:lnTo>
                  <a:pt x="9573616" y="5022409"/>
                </a:lnTo>
                <a:lnTo>
                  <a:pt x="0" y="5022409"/>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
        <p:nvSpPr>
          <p:cNvPr id="81" name="TextBox 15">
            <a:extLst>
              <a:ext uri="{FF2B5EF4-FFF2-40B4-BE49-F238E27FC236}">
                <a16:creationId xmlns:a16="http://schemas.microsoft.com/office/drawing/2014/main" id="{444CF9DE-CEA2-5640-BD46-A91239764916}"/>
              </a:ext>
            </a:extLst>
          </p:cNvPr>
          <p:cNvSpPr txBox="1"/>
          <p:nvPr/>
        </p:nvSpPr>
        <p:spPr>
          <a:xfrm>
            <a:off x="1196380" y="1425662"/>
            <a:ext cx="3649940" cy="562142"/>
          </a:xfrm>
          <a:prstGeom prst="rect">
            <a:avLst/>
          </a:prstGeom>
        </p:spPr>
        <p:txBody>
          <a:bodyPr wrap="square" lIns="0" tIns="0" rIns="0" bIns="0" rtlCol="0" anchor="t">
            <a:spAutoFit/>
          </a:bodyPr>
          <a:lstStyle/>
          <a:p>
            <a:pPr algn="ctr" defTabSz="914400">
              <a:lnSpc>
                <a:spcPts val="5038"/>
              </a:lnSpc>
            </a:pPr>
            <a:r>
              <a:rPr lang="fr-FR" sz="2400" b="1">
                <a:latin typeface="เอฟซี พาเลท"/>
              </a:rPr>
              <a:t>DÉPENSES ÉLIGIBLES </a:t>
            </a:r>
            <a:endParaRPr lang="en-US" sz="2400" b="1">
              <a:latin typeface="เอฟซี พาเลท"/>
            </a:endParaRPr>
          </a:p>
        </p:txBody>
      </p:sp>
      <p:sp>
        <p:nvSpPr>
          <p:cNvPr id="95" name="ZoneTexte 94">
            <a:extLst>
              <a:ext uri="{FF2B5EF4-FFF2-40B4-BE49-F238E27FC236}">
                <a16:creationId xmlns:a16="http://schemas.microsoft.com/office/drawing/2014/main" id="{0103D55B-FE57-C1C0-FA65-5A196B3548B0}"/>
              </a:ext>
            </a:extLst>
          </p:cNvPr>
          <p:cNvSpPr txBox="1"/>
          <p:nvPr/>
        </p:nvSpPr>
        <p:spPr>
          <a:xfrm>
            <a:off x="11562626" y="6849520"/>
            <a:ext cx="4501056" cy="830997"/>
          </a:xfrm>
          <a:prstGeom prst="rect">
            <a:avLst/>
          </a:prstGeom>
          <a:noFill/>
        </p:spPr>
        <p:txBody>
          <a:bodyPr wrap="square">
            <a:spAutoFit/>
          </a:bodyPr>
          <a:lstStyle/>
          <a:p>
            <a:pPr algn="ctr"/>
            <a:r>
              <a:rPr lang="fr-FR" sz="2400" b="1">
                <a:latin typeface="Arial Black" panose="020B0A04020102020204" pitchFamily="34" charset="0"/>
                <a:cs typeface="Arial" panose="020B0604020202020204" pitchFamily="34" charset="0"/>
              </a:rPr>
              <a:t>INVESTISSEMENT ENERGETIQUE</a:t>
            </a:r>
          </a:p>
        </p:txBody>
      </p:sp>
      <p:sp>
        <p:nvSpPr>
          <p:cNvPr id="98" name="TextBox 15">
            <a:extLst>
              <a:ext uri="{FF2B5EF4-FFF2-40B4-BE49-F238E27FC236}">
                <a16:creationId xmlns:a16="http://schemas.microsoft.com/office/drawing/2014/main" id="{182B33E9-8163-4EA0-0AA4-E1E8BB93F686}"/>
              </a:ext>
            </a:extLst>
          </p:cNvPr>
          <p:cNvSpPr txBox="1"/>
          <p:nvPr/>
        </p:nvSpPr>
        <p:spPr>
          <a:xfrm>
            <a:off x="690791" y="6256036"/>
            <a:ext cx="4661118" cy="562655"/>
          </a:xfrm>
          <a:prstGeom prst="rect">
            <a:avLst/>
          </a:prstGeom>
        </p:spPr>
        <p:txBody>
          <a:bodyPr wrap="square" lIns="0" tIns="0" rIns="0" bIns="0" rtlCol="0" anchor="t">
            <a:spAutoFit/>
          </a:bodyPr>
          <a:lstStyle/>
          <a:p>
            <a:pPr algn="ctr" defTabSz="914400">
              <a:lnSpc>
                <a:spcPts val="5038"/>
              </a:lnSpc>
            </a:pPr>
            <a:r>
              <a:rPr lang="en-US" sz="2400" b="1">
                <a:latin typeface="เอฟซี พาเลท"/>
              </a:rPr>
              <a:t>D</a:t>
            </a:r>
            <a:r>
              <a:rPr lang="fr-FR" sz="2400" b="1">
                <a:latin typeface="เอฟซี พาเลท"/>
              </a:rPr>
              <a:t>É</a:t>
            </a:r>
            <a:r>
              <a:rPr lang="en-US" sz="2400" b="1">
                <a:latin typeface="เอฟซี พาเลท"/>
              </a:rPr>
              <a:t>PENSES IN</a:t>
            </a:r>
            <a:r>
              <a:rPr lang="fr-FR" sz="2400" b="1">
                <a:latin typeface="เอฟซี พาเลท"/>
              </a:rPr>
              <a:t>É</a:t>
            </a:r>
            <a:r>
              <a:rPr lang="en-US" sz="2400" b="1">
                <a:latin typeface="เอฟซี พาเลท"/>
              </a:rPr>
              <a:t>LIGIBLES</a:t>
            </a:r>
          </a:p>
        </p:txBody>
      </p:sp>
      <p:sp>
        <p:nvSpPr>
          <p:cNvPr id="111" name="ZoneTexte 110">
            <a:extLst>
              <a:ext uri="{FF2B5EF4-FFF2-40B4-BE49-F238E27FC236}">
                <a16:creationId xmlns:a16="http://schemas.microsoft.com/office/drawing/2014/main" id="{E3CB2498-50CB-2EDD-8167-1DF0F092186B}"/>
              </a:ext>
            </a:extLst>
          </p:cNvPr>
          <p:cNvSpPr txBox="1"/>
          <p:nvPr/>
        </p:nvSpPr>
        <p:spPr>
          <a:xfrm>
            <a:off x="1169255" y="2063399"/>
            <a:ext cx="14803357" cy="4394152"/>
          </a:xfrm>
          <a:prstGeom prst="rect">
            <a:avLst/>
          </a:prstGeom>
          <a:solidFill>
            <a:schemeClr val="bg1"/>
          </a:solidFill>
        </p:spPr>
        <p:txBody>
          <a:bodyPr wrap="square">
            <a:spAutoFit/>
          </a:bodyPr>
          <a:lstStyle/>
          <a:p>
            <a:pPr algn="just"/>
            <a:r>
              <a:rPr lang="fr-FR" sz="1800" u="sng">
                <a:effectLst/>
                <a:latin typeface="Calibri" panose="020F0502020204030204" pitchFamily="34" charset="0"/>
                <a:ea typeface="Calibri" panose="020F0502020204030204" pitchFamily="34" charset="0"/>
              </a:rPr>
              <a:t>Espace hébergement projet de construction :  </a:t>
            </a:r>
            <a:endParaRPr lang="fr-FR" sz="1800">
              <a:effectLst/>
              <a:latin typeface="Times New Roman" panose="02020603050405020304" pitchFamily="18" charset="0"/>
              <a:ea typeface="Times New Roman" panose="02020603050405020304" pitchFamily="18" charset="0"/>
            </a:endParaRPr>
          </a:p>
          <a:p>
            <a:pPr marL="342900" lvl="0" indent="-342900" algn="just">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coûts liés à la conception et à la réalisation d’investissements résultant de procédés de constructions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coûts de prestations intellectuelles supportés par le bénéficiaire (par ex : études d’ingénierie, préparation, coordination, suivi, pilotage, AMO en proportion des travaux conduits (de 3 % à 5%)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prestations annexes de type diagnostic et audit (autre que l’audit de performance énergétique)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frais liés à la production de l’attestation du commissaire aux comptes ou de l’expert-comptable, spécifique au projet.</a:t>
            </a:r>
          </a:p>
          <a:p>
            <a:pPr algn="just"/>
            <a:r>
              <a:rPr lang="fr-FR" sz="1800" u="sng">
                <a:effectLst/>
                <a:latin typeface="Calibri" panose="020F0502020204030204" pitchFamily="34" charset="0"/>
                <a:ea typeface="Calibri" panose="020F0502020204030204" pitchFamily="34" charset="0"/>
              </a:rPr>
              <a:t>Pour les espaces hébergement et formation - projets en rénovation énergétique : </a:t>
            </a:r>
            <a:endParaRPr lang="fr-FR" sz="1800">
              <a:effectLst/>
              <a:latin typeface="Times New Roman" panose="02020603050405020304" pitchFamily="18" charset="0"/>
              <a:ea typeface="Times New Roman" panose="02020603050405020304" pitchFamily="18" charset="0"/>
            </a:endParaRPr>
          </a:p>
          <a:p>
            <a:pPr marL="342900" lvl="0" indent="-342900" algn="just">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coûts liés à la rénovation énergétique : (l’isolation thermique murs, toits, planchers bas…), fenêtres double vitrage, système de ventilation double flux, systèmes de chauffage et production d’eau chaude, gestion technique des bâtiments… (liste non exhaustive)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coûts de prestations intellectuelles supportés par le bénéficiaire (par ex : études d’ingénierie, préparation, coordination, suivi, pilotage, AMO en proportion des travaux conduits (de 3 % à 5%)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prestations annexes de type diagnostic et audit (autre que l’audit de performance énergétique) ;</a:t>
            </a:r>
            <a:endParaRPr lang="fr-FR" sz="18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frais liés à la production de l’attestation du commissaire aux comptes ou de l’expert-comptable, spécifique au projet.</a:t>
            </a:r>
          </a:p>
          <a:p>
            <a:pPr marL="342900" lvl="0" indent="-342900" algn="just">
              <a:lnSpc>
                <a:spcPct val="106000"/>
              </a:lnSpc>
              <a:buFont typeface="Wingdings" panose="05000000000000000000" pitchFamily="2" charset="2"/>
              <a:buChar char=""/>
              <a:tabLst>
                <a:tab pos="457200" algn="l"/>
              </a:tabLst>
            </a:pPr>
            <a:r>
              <a:rPr lang="fr-FR">
                <a:latin typeface="Calibri" panose="020F0502020204030204" pitchFamily="34" charset="0"/>
                <a:ea typeface="Calibri" panose="020F0502020204030204" pitchFamily="34" charset="0"/>
              </a:rPr>
              <a:t>Les coûts de réalisation et mise en forme marketée des productions et résultats des projets</a:t>
            </a:r>
            <a:endParaRPr lang="fr-FR" sz="1800">
              <a:effectLst/>
              <a:latin typeface="Times New Roman" panose="02020603050405020304" pitchFamily="18" charset="0"/>
              <a:ea typeface="Times New Roman" panose="02020603050405020304" pitchFamily="18" charset="0"/>
            </a:endParaRPr>
          </a:p>
          <a:p>
            <a:pPr lvl="0" algn="just">
              <a:lnSpc>
                <a:spcPct val="106000"/>
              </a:lnSpc>
              <a:tabLst>
                <a:tab pos="457200" algn="l"/>
              </a:tabLst>
            </a:pPr>
            <a:endParaRPr lang="fr-FR" sz="1800">
              <a:effectLst/>
              <a:latin typeface="Times New Roman" panose="02020603050405020304" pitchFamily="18" charset="0"/>
              <a:ea typeface="Times New Roman" panose="02020603050405020304" pitchFamily="18" charset="0"/>
            </a:endParaRPr>
          </a:p>
        </p:txBody>
      </p:sp>
      <p:sp>
        <p:nvSpPr>
          <p:cNvPr id="3" name="Rectangle 2">
            <a:extLst>
              <a:ext uri="{FF2B5EF4-FFF2-40B4-BE49-F238E27FC236}">
                <a16:creationId xmlns:a16="http://schemas.microsoft.com/office/drawing/2014/main" id="{474847AB-4A57-CC4A-263B-D874F771B9CE}"/>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3BDEB997-2B73-D97A-DF17-0C5734961B46}"/>
              </a:ext>
            </a:extLst>
          </p:cNvPr>
          <p:cNvPicPr>
            <a:picLocks noChangeAspect="1"/>
          </p:cNvPicPr>
          <p:nvPr/>
        </p:nvPicPr>
        <p:blipFill>
          <a:blip r:embed="rId11"/>
          <a:stretch>
            <a:fillRect/>
          </a:stretch>
        </p:blipFill>
        <p:spPr>
          <a:xfrm>
            <a:off x="14395548" y="160525"/>
            <a:ext cx="1823083" cy="828038"/>
          </a:xfrm>
          <a:prstGeom prst="rect">
            <a:avLst/>
          </a:prstGeom>
        </p:spPr>
      </p:pic>
      <p:sp>
        <p:nvSpPr>
          <p:cNvPr id="5" name="ZoneTexte 4">
            <a:extLst>
              <a:ext uri="{FF2B5EF4-FFF2-40B4-BE49-F238E27FC236}">
                <a16:creationId xmlns:a16="http://schemas.microsoft.com/office/drawing/2014/main" id="{279BFEC1-08AF-A462-0567-CBAA9E1B1AA6}"/>
              </a:ext>
            </a:extLst>
          </p:cNvPr>
          <p:cNvSpPr txBox="1"/>
          <p:nvPr/>
        </p:nvSpPr>
        <p:spPr>
          <a:xfrm>
            <a:off x="1287591" y="6760849"/>
            <a:ext cx="12847320" cy="1252843"/>
          </a:xfrm>
          <a:prstGeom prst="rect">
            <a:avLst/>
          </a:prstGeom>
          <a:noFill/>
        </p:spPr>
        <p:txBody>
          <a:bodyPr wrap="square">
            <a:spAutoFit/>
          </a:bodyPr>
          <a:lstStyle/>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frais de déplacement, restauration et hébergement des prestataires ;</a:t>
            </a:r>
            <a:endParaRPr lang="fr-FR" sz="20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 concours aux frais généraux, les frais bancaires, et toutes charges non spécifiques au projet ;</a:t>
            </a:r>
            <a:endParaRPr lang="fr-FR" sz="20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heures de face à face pédagogiques dont le financement est déjà assuré par le NPEC ;</a:t>
            </a:r>
            <a:endParaRPr lang="fr-FR" sz="2000">
              <a:effectLst/>
              <a:latin typeface="Times New Roman" panose="02020603050405020304" pitchFamily="18" charset="0"/>
              <a:ea typeface="Times New Roman" panose="02020603050405020304" pitchFamily="18" charset="0"/>
            </a:endParaRPr>
          </a:p>
          <a:p>
            <a:pPr marL="342900" lvl="0" indent="-342900" algn="just">
              <a:lnSpc>
                <a:spcPct val="106000"/>
              </a:lnSpc>
              <a:buFont typeface="Wingdings" panose="05000000000000000000" pitchFamily="2" charset="2"/>
              <a:buChar char=""/>
              <a:tabLst>
                <a:tab pos="457200" algn="l"/>
              </a:tabLst>
            </a:pPr>
            <a:r>
              <a:rPr lang="fr-FR" sz="1800">
                <a:effectLst/>
                <a:latin typeface="Calibri" panose="020F0502020204030204" pitchFamily="34" charset="0"/>
                <a:ea typeface="Calibri" panose="020F0502020204030204" pitchFamily="34" charset="0"/>
              </a:rPr>
              <a:t>Les heures de formation du personnel dont la prise en charge est assurée dans le cadre du plan de formation.</a:t>
            </a:r>
            <a:endParaRPr lang="fr-FR" sz="2000">
              <a:effectLst/>
              <a:latin typeface="Times New Roman" panose="02020603050405020304" pitchFamily="18" charset="0"/>
              <a:ea typeface="Times New Roman" panose="02020603050405020304" pitchFamily="18" charset="0"/>
            </a:endParaRPr>
          </a:p>
        </p:txBody>
      </p:sp>
      <p:sp>
        <p:nvSpPr>
          <p:cNvPr id="7" name="Freeform 4">
            <a:extLst>
              <a:ext uri="{FF2B5EF4-FFF2-40B4-BE49-F238E27FC236}">
                <a16:creationId xmlns:a16="http://schemas.microsoft.com/office/drawing/2014/main" id="{4CD5D0AA-5C81-C186-2ED6-E783D468B337}"/>
              </a:ext>
            </a:extLst>
          </p:cNvPr>
          <p:cNvSpPr/>
          <p:nvPr/>
        </p:nvSpPr>
        <p:spPr>
          <a:xfrm>
            <a:off x="10711586" y="8063643"/>
            <a:ext cx="1511583" cy="993064"/>
          </a:xfrm>
          <a:custGeom>
            <a:avLst/>
            <a:gdLst/>
            <a:ahLst/>
            <a:cxnLst/>
            <a:rect l="l" t="t" r="r" b="b"/>
            <a:pathLst>
              <a:path w="1924650" h="1305573">
                <a:moveTo>
                  <a:pt x="0" y="0"/>
                </a:moveTo>
                <a:lnTo>
                  <a:pt x="1924650" y="0"/>
                </a:lnTo>
                <a:lnTo>
                  <a:pt x="1924650" y="1305573"/>
                </a:lnTo>
                <a:lnTo>
                  <a:pt x="0" y="1305573"/>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119055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FEBD49-88A6-1F3E-4A27-A9F0B17D1773}"/>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92103C9A-5B77-2B31-0E0B-E19F8AB6E625}"/>
              </a:ext>
            </a:extLst>
          </p:cNvPr>
          <p:cNvSpPr txBox="1"/>
          <p:nvPr/>
        </p:nvSpPr>
        <p:spPr>
          <a:xfrm>
            <a:off x="599089" y="3233346"/>
            <a:ext cx="14716762" cy="4862870"/>
          </a:xfrm>
          <a:prstGeom prst="rect">
            <a:avLst/>
          </a:prstGeom>
        </p:spPr>
        <p:txBody>
          <a:bodyPr wrap="square" lIns="0" tIns="0" rIns="0" bIns="0" rtlCol="0" anchor="t">
            <a:spAutoFit/>
          </a:bodyPr>
          <a:lstStyle/>
          <a:p>
            <a:pPr defTabSz="812810">
              <a:defRPr/>
            </a:pPr>
            <a:r>
              <a:rPr lang="fr-FR" sz="7100" b="1" dirty="0">
                <a:solidFill>
                  <a:prstClr val="black"/>
                </a:solidFill>
                <a:latin typeface="Arial Black"/>
                <a:cs typeface="Arial"/>
              </a:rPr>
              <a:t>V – Processus de sélection et de suivi de dossier</a:t>
            </a:r>
          </a:p>
          <a:p>
            <a:pPr defTabSz="812810">
              <a:defRPr/>
            </a:pPr>
            <a:r>
              <a:rPr lang="fr-FR" sz="7100" b="1" dirty="0">
                <a:solidFill>
                  <a:prstClr val="black"/>
                </a:solidFill>
                <a:latin typeface="Arial Black"/>
                <a:cs typeface="Arial"/>
              </a:rPr>
              <a:t>Structuration de la plateforme</a:t>
            </a:r>
            <a:endParaRPr lang="fr-FR" sz="7100">
              <a:solidFill>
                <a:prstClr val="black"/>
              </a:solidFill>
              <a:latin typeface="Arial Black"/>
              <a:cs typeface="Arial"/>
            </a:endParaRPr>
          </a:p>
          <a:p>
            <a:pPr defTabSz="812810">
              <a:defRPr/>
            </a:pPr>
            <a:r>
              <a:rPr lang="fr-FR" sz="3200" dirty="0">
                <a:solidFill>
                  <a:srgbClr val="1D1D1B"/>
                </a:solidFill>
                <a:latin typeface="Arial"/>
                <a:cs typeface="Arial"/>
              </a:rPr>
              <a:t>  </a:t>
            </a:r>
            <a:endParaRPr lang="fr-FR" sz="710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29B63D62-4ACD-BD8F-8EFA-D3AEC81E9ECC}"/>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7</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0D2FDB23-A98C-81BC-74C4-C2B1114D5DA3}"/>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74CBF49A-B93A-759D-AB45-C9827C7B5900}"/>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40523103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5E93D9-DB5E-C992-97F4-48A1D77CCBB8}"/>
              </a:ext>
            </a:extLst>
          </p:cNvPr>
          <p:cNvSpPr>
            <a:spLocks noGrp="1"/>
          </p:cNvSpPr>
          <p:nvPr>
            <p:ph type="title"/>
          </p:nvPr>
        </p:nvSpPr>
        <p:spPr/>
        <p:txBody>
          <a:bodyPr>
            <a:noAutofit/>
          </a:bodyPr>
          <a:lstStyle/>
          <a:p>
            <a:pPr marL="0" marR="3810" lvl="0" indent="0" algn="ctr" defTabSz="685800" rtl="0" eaLnBrk="1" fontAlgn="base" latinLnBrk="0" hangingPunct="1">
              <a:lnSpc>
                <a:spcPct val="150000"/>
              </a:lnSpc>
              <a:spcBef>
                <a:spcPts val="750"/>
              </a:spcBef>
              <a:spcAft>
                <a:spcPts val="2445"/>
              </a:spcAft>
              <a:buClr>
                <a:srgbClr val="1D1D1B"/>
              </a:buClr>
              <a:buSzPts val="1200"/>
              <a:buFont typeface="Arial" panose="020B0604020202020204" pitchFamily="34" charset="0"/>
              <a:buNone/>
              <a:tabLst/>
              <a:defRPr/>
            </a:pPr>
            <a:r>
              <a:rPr kumimoji="0" lang="fr-FR" sz="3200" b="1" i="0" u="none" strike="noStrike" kern="1200" cap="none" spc="0" normalizeH="0" baseline="0" noProof="0">
                <a:ln>
                  <a:noFill/>
                </a:ln>
                <a:solidFill>
                  <a:srgbClr val="1D1D1B"/>
                </a:solidFill>
                <a:effectLst/>
                <a:uLnTx/>
                <a:uFillTx/>
                <a:latin typeface="Arial Black"/>
                <a:ea typeface="+mn-ea"/>
                <a:cs typeface="+mn-cs"/>
              </a:rPr>
              <a:t>SOMMAIRE</a:t>
            </a:r>
            <a:endParaRPr kumimoji="0" lang="fr-FR" sz="3200" b="0" i="0" u="none" strike="noStrike" kern="1200" cap="none" spc="0" normalizeH="0" baseline="0" noProof="0">
              <a:ln>
                <a:noFill/>
              </a:ln>
              <a:solidFill>
                <a:srgbClr val="1D1D1B"/>
              </a:solidFill>
              <a:effectLst/>
              <a:uLnTx/>
              <a:uFillTx/>
              <a:latin typeface="Arial"/>
              <a:ea typeface="+mn-ea"/>
              <a:cs typeface="+mn-cs"/>
            </a:endParaRPr>
          </a:p>
        </p:txBody>
      </p:sp>
      <p:grpSp>
        <p:nvGrpSpPr>
          <p:cNvPr id="20" name="Groupe 19">
            <a:extLst>
              <a:ext uri="{FF2B5EF4-FFF2-40B4-BE49-F238E27FC236}">
                <a16:creationId xmlns:a16="http://schemas.microsoft.com/office/drawing/2014/main" id="{65FA73E4-5C51-8510-4E5F-9FBEC267EB72}"/>
              </a:ext>
            </a:extLst>
          </p:cNvPr>
          <p:cNvGrpSpPr/>
          <p:nvPr/>
        </p:nvGrpSpPr>
        <p:grpSpPr>
          <a:xfrm>
            <a:off x="1821298" y="5324554"/>
            <a:ext cx="13893322" cy="1758896"/>
            <a:chOff x="1790752" y="4216954"/>
            <a:chExt cx="9930670" cy="1758896"/>
          </a:xfrm>
        </p:grpSpPr>
        <p:sp>
          <p:nvSpPr>
            <p:cNvPr id="22" name="Text Placeholder 1">
              <a:extLst>
                <a:ext uri="{FF2B5EF4-FFF2-40B4-BE49-F238E27FC236}">
                  <a16:creationId xmlns:a16="http://schemas.microsoft.com/office/drawing/2014/main" id="{AF85867E-1754-5410-D564-21875307CF3A}"/>
                </a:ext>
              </a:extLst>
            </p:cNvPr>
            <p:cNvSpPr txBox="1">
              <a:spLocks/>
            </p:cNvSpPr>
            <p:nvPr/>
          </p:nvSpPr>
          <p:spPr>
            <a:xfrm>
              <a:off x="2489267" y="4216954"/>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endParaRPr lang="fr-FR" sz="3200" b="1" dirty="0">
                <a:solidFill>
                  <a:srgbClr val="1D1D1B"/>
                </a:solidFill>
                <a:uFill>
                  <a:solidFill>
                    <a:srgbClr val="000000"/>
                  </a:solidFill>
                </a:uFill>
                <a:latin typeface="Arial Black"/>
                <a:cs typeface="Arial"/>
              </a:endParaRPr>
            </a:p>
          </p:txBody>
        </p:sp>
        <p:sp>
          <p:nvSpPr>
            <p:cNvPr id="23" name="Rectangle: Rounded Corners 15">
              <a:extLst>
                <a:ext uri="{FF2B5EF4-FFF2-40B4-BE49-F238E27FC236}">
                  <a16:creationId xmlns:a16="http://schemas.microsoft.com/office/drawing/2014/main" id="{3E358963-D541-39A7-0990-F47F502AEC4F}"/>
                </a:ext>
              </a:extLst>
            </p:cNvPr>
            <p:cNvSpPr/>
            <p:nvPr/>
          </p:nvSpPr>
          <p:spPr>
            <a:xfrm>
              <a:off x="1790752" y="4809674"/>
              <a:ext cx="501677"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a:solidFill>
                    <a:srgbClr val="1D1D1B"/>
                  </a:solidFill>
                  <a:latin typeface="Arial Black"/>
                </a:rPr>
                <a:t>IV</a:t>
              </a:r>
              <a:endParaRPr kumimoji="0" lang="fr-FR" sz="2800" b="0" i="0" u="none" strike="noStrike" kern="0" cap="none" spc="0" normalizeH="0" baseline="0" noProof="0">
                <a:ln>
                  <a:noFill/>
                </a:ln>
                <a:solidFill>
                  <a:srgbClr val="1D1D1B"/>
                </a:solidFill>
                <a:effectLst/>
                <a:uLnTx/>
                <a:uFillTx/>
                <a:latin typeface="Arial Black"/>
                <a:ea typeface="+mn-ea"/>
                <a:cs typeface="+mn-cs"/>
              </a:endParaRPr>
            </a:p>
          </p:txBody>
        </p:sp>
      </p:grpSp>
      <p:grpSp>
        <p:nvGrpSpPr>
          <p:cNvPr id="24" name="Groupe 23">
            <a:extLst>
              <a:ext uri="{FF2B5EF4-FFF2-40B4-BE49-F238E27FC236}">
                <a16:creationId xmlns:a16="http://schemas.microsoft.com/office/drawing/2014/main" id="{B4A3D11C-6A96-AB42-4BBE-09027A3E2C91}"/>
              </a:ext>
            </a:extLst>
          </p:cNvPr>
          <p:cNvGrpSpPr/>
          <p:nvPr/>
        </p:nvGrpSpPr>
        <p:grpSpPr>
          <a:xfrm>
            <a:off x="1821298" y="1792043"/>
            <a:ext cx="14168016" cy="640511"/>
            <a:chOff x="1790752" y="2459151"/>
            <a:chExt cx="14168016" cy="640511"/>
          </a:xfrm>
        </p:grpSpPr>
        <p:sp>
          <p:nvSpPr>
            <p:cNvPr id="28" name="Rectangle: Rounded Corners 10">
              <a:extLst>
                <a:ext uri="{FF2B5EF4-FFF2-40B4-BE49-F238E27FC236}">
                  <a16:creationId xmlns:a16="http://schemas.microsoft.com/office/drawing/2014/main" id="{1AAB2214-AD40-3F31-6EF8-608C28C74CC5}"/>
                </a:ext>
              </a:extLst>
            </p:cNvPr>
            <p:cNvSpPr/>
            <p:nvPr/>
          </p:nvSpPr>
          <p:spPr>
            <a:xfrm>
              <a:off x="1790752" y="2526206"/>
              <a:ext cx="624970"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a:ln>
                    <a:noFill/>
                  </a:ln>
                  <a:solidFill>
                    <a:srgbClr val="1D1D1B"/>
                  </a:solidFill>
                  <a:effectLst/>
                  <a:uLnTx/>
                  <a:uFillTx/>
                  <a:latin typeface="Arial Black"/>
                  <a:ea typeface="+mn-ea"/>
                  <a:cs typeface="+mn-cs"/>
                </a:rPr>
                <a:t>I</a:t>
              </a:r>
            </a:p>
          </p:txBody>
        </p:sp>
        <p:sp>
          <p:nvSpPr>
            <p:cNvPr id="31" name="Text Placeholder 1">
              <a:extLst>
                <a:ext uri="{FF2B5EF4-FFF2-40B4-BE49-F238E27FC236}">
                  <a16:creationId xmlns:a16="http://schemas.microsoft.com/office/drawing/2014/main" id="{77DF40F8-C2B1-E3FA-AD72-31DBD877CC27}"/>
                </a:ext>
              </a:extLst>
            </p:cNvPr>
            <p:cNvSpPr txBox="1">
              <a:spLocks/>
            </p:cNvSpPr>
            <p:nvPr/>
          </p:nvSpPr>
          <p:spPr>
            <a:xfrm>
              <a:off x="2767997" y="2459151"/>
              <a:ext cx="13190771" cy="573458"/>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kumimoji="0" lang="fr-FR" sz="3200" b="1" i="0" u="none" strike="noStrike" kern="1200" cap="none" spc="0" normalizeH="0" baseline="0" noProof="0">
                  <a:ln>
                    <a:noFill/>
                  </a:ln>
                  <a:solidFill>
                    <a:srgbClr val="1D1D1B"/>
                  </a:solidFill>
                  <a:effectLst/>
                  <a:uLnTx/>
                  <a:uFillTx/>
                  <a:latin typeface="Arial Black"/>
                  <a:ea typeface="+mn-ea"/>
                  <a:cs typeface="+mn-cs"/>
                </a:rPr>
                <a:t>QUELQUES CHIFFRES CLEFS</a:t>
              </a:r>
              <a:endParaRPr kumimoji="0" lang="fr-FR" sz="3200" b="0" i="0" u="none" strike="noStrike" kern="1200" cap="none" spc="0" normalizeH="0" baseline="0" noProof="0">
                <a:ln>
                  <a:noFill/>
                </a:ln>
                <a:solidFill>
                  <a:srgbClr val="1D1D1B"/>
                </a:solidFill>
                <a:effectLst/>
                <a:uLnTx/>
                <a:uFillTx/>
                <a:latin typeface="Arial"/>
                <a:ea typeface="+mn-ea"/>
                <a:cs typeface="+mn-cs"/>
              </a:endParaRPr>
            </a:p>
          </p:txBody>
        </p:sp>
      </p:grpSp>
      <p:grpSp>
        <p:nvGrpSpPr>
          <p:cNvPr id="35" name="Groupe 34">
            <a:extLst>
              <a:ext uri="{FF2B5EF4-FFF2-40B4-BE49-F238E27FC236}">
                <a16:creationId xmlns:a16="http://schemas.microsoft.com/office/drawing/2014/main" id="{437EC455-1DD2-496D-6546-60D49AA772D0}"/>
              </a:ext>
            </a:extLst>
          </p:cNvPr>
          <p:cNvGrpSpPr/>
          <p:nvPr/>
        </p:nvGrpSpPr>
        <p:grpSpPr>
          <a:xfrm>
            <a:off x="1786256" y="4598580"/>
            <a:ext cx="13954773" cy="573456"/>
            <a:chOff x="1790752" y="3866243"/>
            <a:chExt cx="13954773" cy="573456"/>
          </a:xfrm>
        </p:grpSpPr>
        <p:sp>
          <p:nvSpPr>
            <p:cNvPr id="36" name="Rectangle: Rounded Corners 15">
              <a:extLst>
                <a:ext uri="{FF2B5EF4-FFF2-40B4-BE49-F238E27FC236}">
                  <a16:creationId xmlns:a16="http://schemas.microsoft.com/office/drawing/2014/main" id="{8C27CFE0-373A-9611-1BB8-B60BF9391924}"/>
                </a:ext>
              </a:extLst>
            </p:cNvPr>
            <p:cNvSpPr/>
            <p:nvPr/>
          </p:nvSpPr>
          <p:spPr>
            <a:xfrm>
              <a:off x="1790752" y="3866243"/>
              <a:ext cx="624971"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a:ln>
                    <a:noFill/>
                  </a:ln>
                  <a:solidFill>
                    <a:srgbClr val="1D1D1B"/>
                  </a:solidFill>
                  <a:effectLst/>
                  <a:uLnTx/>
                  <a:uFillTx/>
                  <a:latin typeface="Arial Black"/>
                  <a:ea typeface="+mn-ea"/>
                  <a:cs typeface="+mn-cs"/>
                </a:rPr>
                <a:t>III</a:t>
              </a:r>
              <a:endParaRPr kumimoji="0" lang="fr-FR" sz="3200" b="0" i="0" u="none" strike="noStrike" kern="0" cap="none" spc="0" normalizeH="0" baseline="0" noProof="0">
                <a:ln>
                  <a:noFill/>
                </a:ln>
                <a:solidFill>
                  <a:srgbClr val="FFFFFF"/>
                </a:solidFill>
                <a:effectLst/>
                <a:uLnTx/>
                <a:uFillTx/>
                <a:latin typeface="Arial"/>
                <a:ea typeface="+mn-ea"/>
                <a:cs typeface="+mn-cs"/>
              </a:endParaRPr>
            </a:p>
          </p:txBody>
        </p:sp>
        <p:sp>
          <p:nvSpPr>
            <p:cNvPr id="37" name="Text Placeholder 1">
              <a:extLst>
                <a:ext uri="{FF2B5EF4-FFF2-40B4-BE49-F238E27FC236}">
                  <a16:creationId xmlns:a16="http://schemas.microsoft.com/office/drawing/2014/main" id="{9F83844A-172C-F689-6389-C7D3EFE68056}"/>
                </a:ext>
              </a:extLst>
            </p:cNvPr>
            <p:cNvSpPr txBox="1">
              <a:spLocks/>
            </p:cNvSpPr>
            <p:nvPr/>
          </p:nvSpPr>
          <p:spPr>
            <a:xfrm>
              <a:off x="2569525" y="4069871"/>
              <a:ext cx="13176000" cy="0"/>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kumimoji="0" lang="fr-FR" sz="3200" b="1" i="0" u="none" strike="noStrike" kern="1200" cap="none" spc="0" normalizeH="0" baseline="0" noProof="0" dirty="0">
                  <a:ln>
                    <a:noFill/>
                  </a:ln>
                  <a:solidFill>
                    <a:srgbClr val="1D1D1B"/>
                  </a:solidFill>
                  <a:effectLst/>
                  <a:uLnTx/>
                  <a:uFillTx/>
                  <a:latin typeface="Arial Black"/>
                  <a:ea typeface="+mn-ea"/>
                  <a:cs typeface="+mn-cs"/>
                </a:rPr>
                <a:t> </a:t>
              </a:r>
              <a:r>
                <a:rPr lang="fr-FR" sz="3200" b="1" dirty="0">
                  <a:solidFill>
                    <a:srgbClr val="1D1D1B"/>
                  </a:solidFill>
                  <a:latin typeface="Arial Black"/>
                </a:rPr>
                <a:t>CALENDRIER COMMISIONS DE PRESELECTIONS </a:t>
              </a:r>
              <a:endParaRPr lang="fr-FR" sz="3200" dirty="0">
                <a:solidFill>
                  <a:srgbClr val="1D1D1B"/>
                </a:solidFill>
                <a:latin typeface="Arial"/>
                <a:cs typeface="Arial"/>
              </a:endParaRPr>
            </a:p>
          </p:txBody>
        </p:sp>
      </p:grpSp>
      <p:sp>
        <p:nvSpPr>
          <p:cNvPr id="40" name="Espace réservé du numéro de diapositive 2">
            <a:extLst>
              <a:ext uri="{FF2B5EF4-FFF2-40B4-BE49-F238E27FC236}">
                <a16:creationId xmlns:a16="http://schemas.microsoft.com/office/drawing/2014/main" id="{ED544D4F-39CD-F4B6-C4AE-AF11A91B06B3}"/>
              </a:ext>
            </a:extLst>
          </p:cNvPr>
          <p:cNvSpPr>
            <a:spLocks noGrp="1"/>
          </p:cNvSpPr>
          <p:nvPr>
            <p:ph type="sldNum" sz="quarter" idx="10"/>
          </p:nvPr>
        </p:nvSpPr>
        <p:spPr>
          <a:xfrm>
            <a:off x="15199538" y="9342663"/>
            <a:ext cx="565149" cy="308371"/>
          </a:xfrm>
        </p:spPr>
        <p:txBody>
          <a:bodyPr/>
          <a:lstStyle/>
          <a:p>
            <a:pPr defTabSz="812810"/>
            <a:fld id="{54A149C6-6019-4B05-B4F5-8ADACCDF97D0}" type="slidenum">
              <a:rPr lang="fr-FR" sz="1400">
                <a:solidFill>
                  <a:prstClr val="black"/>
                </a:solidFill>
                <a:latin typeface="Calibri"/>
              </a:rPr>
              <a:pPr defTabSz="812810"/>
              <a:t>2</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D350A635-48D3-3B20-ACEB-D2333EDDF6FB}"/>
              </a:ext>
            </a:extLst>
          </p:cNvPr>
          <p:cNvSpPr/>
          <p:nvPr/>
        </p:nvSpPr>
        <p:spPr>
          <a:xfrm>
            <a:off x="14723884" y="248319"/>
            <a:ext cx="1066313"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descr="Une image contenant Police, Graphique, logo, symbole&#10;&#10;Description générée automatiquement">
            <a:extLst>
              <a:ext uri="{FF2B5EF4-FFF2-40B4-BE49-F238E27FC236}">
                <a16:creationId xmlns:a16="http://schemas.microsoft.com/office/drawing/2014/main" id="{2E4942BB-8DE5-2AF1-483F-4019B74C288E}"/>
              </a:ext>
            </a:extLst>
          </p:cNvPr>
          <p:cNvPicPr>
            <a:picLocks noChangeAspect="1"/>
          </p:cNvPicPr>
          <p:nvPr/>
        </p:nvPicPr>
        <p:blipFill>
          <a:blip r:embed="rId5"/>
          <a:stretch>
            <a:fillRect/>
          </a:stretch>
        </p:blipFill>
        <p:spPr>
          <a:xfrm>
            <a:off x="14531989" y="282336"/>
            <a:ext cx="1457325" cy="584199"/>
          </a:xfrm>
          <a:prstGeom prst="rect">
            <a:avLst/>
          </a:prstGeom>
        </p:spPr>
      </p:pic>
      <p:grpSp>
        <p:nvGrpSpPr>
          <p:cNvPr id="5" name="Groupe 4">
            <a:extLst>
              <a:ext uri="{FF2B5EF4-FFF2-40B4-BE49-F238E27FC236}">
                <a16:creationId xmlns:a16="http://schemas.microsoft.com/office/drawing/2014/main" id="{A56B49AC-1DB0-244C-B98C-2E797AE2306F}"/>
              </a:ext>
            </a:extLst>
          </p:cNvPr>
          <p:cNvGrpSpPr/>
          <p:nvPr/>
        </p:nvGrpSpPr>
        <p:grpSpPr>
          <a:xfrm>
            <a:off x="1792969" y="6591435"/>
            <a:ext cx="10080583" cy="1758896"/>
            <a:chOff x="1790752" y="4216954"/>
            <a:chExt cx="10080583" cy="1758896"/>
          </a:xfrm>
        </p:grpSpPr>
        <p:sp>
          <p:nvSpPr>
            <p:cNvPr id="6" name="Text Placeholder 1">
              <a:extLst>
                <a:ext uri="{FF2B5EF4-FFF2-40B4-BE49-F238E27FC236}">
                  <a16:creationId xmlns:a16="http://schemas.microsoft.com/office/drawing/2014/main" id="{8AC260FA-E7B3-32D0-C671-E232F1027BAD}"/>
                </a:ext>
              </a:extLst>
            </p:cNvPr>
            <p:cNvSpPr txBox="1">
              <a:spLocks/>
            </p:cNvSpPr>
            <p:nvPr/>
          </p:nvSpPr>
          <p:spPr>
            <a:xfrm>
              <a:off x="2639180" y="4216954"/>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lang="fr-FR" sz="3200" b="1" dirty="0">
                  <a:solidFill>
                    <a:srgbClr val="1D1D1B"/>
                  </a:solidFill>
                  <a:uFill>
                    <a:solidFill>
                      <a:srgbClr val="000000"/>
                    </a:solidFill>
                  </a:uFill>
                  <a:latin typeface="Arial Black"/>
                  <a:ea typeface="Arial" panose="020B0604020202020204" pitchFamily="34" charset="0"/>
                  <a:cs typeface="Arial"/>
                </a:rPr>
                <a:t>  </a:t>
              </a:r>
              <a:endParaRPr kumimoji="0" lang="fr-FR" sz="3200" b="1" i="0" u="none" strike="noStrike" kern="1200" cap="none" spc="0" normalizeH="0" baseline="0" noProof="0" dirty="0">
                <a:ln>
                  <a:noFill/>
                </a:ln>
                <a:solidFill>
                  <a:srgbClr val="1D1D1B"/>
                </a:solidFill>
                <a:effectLst/>
                <a:uLnTx/>
                <a:uFill>
                  <a:solidFill>
                    <a:srgbClr val="000000"/>
                  </a:solidFill>
                </a:uFill>
                <a:latin typeface="Arial Black"/>
                <a:ea typeface="Arial" panose="020B0604020202020204" pitchFamily="34" charset="0"/>
                <a:cs typeface="Arial"/>
              </a:endParaRPr>
            </a:p>
          </p:txBody>
        </p:sp>
        <p:sp>
          <p:nvSpPr>
            <p:cNvPr id="7" name="Rectangle: Rounded Corners 15">
              <a:extLst>
                <a:ext uri="{FF2B5EF4-FFF2-40B4-BE49-F238E27FC236}">
                  <a16:creationId xmlns:a16="http://schemas.microsoft.com/office/drawing/2014/main" id="{35F97300-9FD8-A58C-2E40-569C53C04883}"/>
                </a:ext>
              </a:extLst>
            </p:cNvPr>
            <p:cNvSpPr/>
            <p:nvPr/>
          </p:nvSpPr>
          <p:spPr>
            <a:xfrm>
              <a:off x="1790752" y="4809674"/>
              <a:ext cx="618257"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a:solidFill>
                    <a:srgbClr val="1D1D1B"/>
                  </a:solidFill>
                  <a:latin typeface="Arial Black"/>
                </a:rPr>
                <a:t>V</a:t>
              </a:r>
              <a:endParaRPr kumimoji="0" lang="fr-FR" sz="2800" b="0" i="0" u="none" strike="noStrike" kern="0" cap="none" spc="0" normalizeH="0" baseline="0" noProof="0">
                <a:ln>
                  <a:noFill/>
                </a:ln>
                <a:solidFill>
                  <a:srgbClr val="1D1D1B"/>
                </a:solidFill>
                <a:effectLst/>
                <a:uLnTx/>
                <a:uFillTx/>
                <a:latin typeface="Arial Black"/>
                <a:ea typeface="+mn-ea"/>
                <a:cs typeface="+mn-cs"/>
              </a:endParaRPr>
            </a:p>
          </p:txBody>
        </p:sp>
      </p:grpSp>
      <p:grpSp>
        <p:nvGrpSpPr>
          <p:cNvPr id="8" name="Groupe 7">
            <a:extLst>
              <a:ext uri="{FF2B5EF4-FFF2-40B4-BE49-F238E27FC236}">
                <a16:creationId xmlns:a16="http://schemas.microsoft.com/office/drawing/2014/main" id="{7238428E-C1DB-1F5A-FCAA-2ED0B4A4710B}"/>
              </a:ext>
            </a:extLst>
          </p:cNvPr>
          <p:cNvGrpSpPr/>
          <p:nvPr/>
        </p:nvGrpSpPr>
        <p:grpSpPr>
          <a:xfrm>
            <a:off x="1786256" y="3196784"/>
            <a:ext cx="14168016" cy="669181"/>
            <a:chOff x="1790752" y="2430481"/>
            <a:chExt cx="14168016" cy="669181"/>
          </a:xfrm>
        </p:grpSpPr>
        <p:sp>
          <p:nvSpPr>
            <p:cNvPr id="9" name="Rectangle: Rounded Corners 10">
              <a:extLst>
                <a:ext uri="{FF2B5EF4-FFF2-40B4-BE49-F238E27FC236}">
                  <a16:creationId xmlns:a16="http://schemas.microsoft.com/office/drawing/2014/main" id="{B5E9B4A3-81DF-C8E5-EBAA-22A616FA7D35}"/>
                </a:ext>
              </a:extLst>
            </p:cNvPr>
            <p:cNvSpPr/>
            <p:nvPr/>
          </p:nvSpPr>
          <p:spPr>
            <a:xfrm>
              <a:off x="1790752" y="2526206"/>
              <a:ext cx="624970"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3200" b="0" i="0" u="none" strike="noStrike" kern="0" cap="none" spc="0" normalizeH="0" baseline="0" noProof="0">
                  <a:ln>
                    <a:noFill/>
                  </a:ln>
                  <a:solidFill>
                    <a:srgbClr val="1D1D1B"/>
                  </a:solidFill>
                  <a:effectLst/>
                  <a:uLnTx/>
                  <a:uFillTx/>
                  <a:latin typeface="Arial Black"/>
                  <a:ea typeface="+mn-ea"/>
                  <a:cs typeface="+mn-cs"/>
                </a:rPr>
                <a:t>I</a:t>
              </a:r>
              <a:r>
                <a:rPr lang="fr-FR" sz="3200" kern="0">
                  <a:solidFill>
                    <a:srgbClr val="1D1D1B"/>
                  </a:solidFill>
                  <a:latin typeface="Arial Black"/>
                </a:rPr>
                <a:t>I</a:t>
              </a:r>
              <a:endParaRPr kumimoji="0" lang="fr-FR" sz="3200" b="0" i="0" u="none" strike="noStrike" kern="0" cap="none" spc="0" normalizeH="0" baseline="0" noProof="0">
                <a:ln>
                  <a:noFill/>
                </a:ln>
                <a:solidFill>
                  <a:srgbClr val="1D1D1B"/>
                </a:solidFill>
                <a:effectLst/>
                <a:uLnTx/>
                <a:uFillTx/>
                <a:latin typeface="Arial Black"/>
                <a:ea typeface="+mn-ea"/>
                <a:cs typeface="+mn-cs"/>
              </a:endParaRPr>
            </a:p>
          </p:txBody>
        </p:sp>
        <p:sp>
          <p:nvSpPr>
            <p:cNvPr id="10" name="Text Placeholder 1">
              <a:extLst>
                <a:ext uri="{FF2B5EF4-FFF2-40B4-BE49-F238E27FC236}">
                  <a16:creationId xmlns:a16="http://schemas.microsoft.com/office/drawing/2014/main" id="{F2C151D3-6D2C-3267-BC11-F988C7540782}"/>
                </a:ext>
              </a:extLst>
            </p:cNvPr>
            <p:cNvSpPr txBox="1">
              <a:spLocks/>
            </p:cNvSpPr>
            <p:nvPr/>
          </p:nvSpPr>
          <p:spPr>
            <a:xfrm>
              <a:off x="2767997" y="2430481"/>
              <a:ext cx="13190771" cy="573458"/>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50000"/>
                </a:lnSpc>
                <a:spcAft>
                  <a:spcPts val="2445"/>
                </a:spcAft>
                <a:buClr>
                  <a:srgbClr val="1D1D1B"/>
                </a:buClr>
                <a:buSzPts val="1200"/>
                <a:defRPr/>
              </a:pPr>
              <a:r>
                <a:rPr lang="fr-FR" sz="3200" b="1" dirty="0">
                  <a:solidFill>
                    <a:srgbClr val="1D1D1B"/>
                  </a:solidFill>
                  <a:latin typeface="Arial Black"/>
                </a:rPr>
                <a:t>APPELS A PROJETS - APPELS A CANDIDATURES </a:t>
              </a:r>
              <a:r>
                <a:rPr lang="fr-FR" sz="3200" b="1">
                  <a:solidFill>
                    <a:srgbClr val="1D1D1B"/>
                  </a:solidFill>
                  <a:latin typeface="Arial Black"/>
                  <a:cs typeface="Arial"/>
                </a:rPr>
                <a:t>2025 </a:t>
              </a:r>
              <a:endParaRPr kumimoji="0" lang="fr-FR" sz="3200" b="0" i="0" u="none" strike="noStrike" kern="1200" cap="none" spc="0" normalizeH="0" baseline="0" noProof="0">
                <a:ln>
                  <a:noFill/>
                </a:ln>
                <a:solidFill>
                  <a:srgbClr val="1D1D1B"/>
                </a:solidFill>
                <a:effectLst/>
                <a:uLnTx/>
                <a:uFillTx/>
                <a:latin typeface="Arial"/>
                <a:ea typeface="+mn-ea"/>
                <a:cs typeface="+mn-cs"/>
              </a:endParaRPr>
            </a:p>
          </p:txBody>
        </p:sp>
      </p:grpSp>
      <p:sp>
        <p:nvSpPr>
          <p:cNvPr id="12" name="Text Placeholder 1">
            <a:extLst>
              <a:ext uri="{FF2B5EF4-FFF2-40B4-BE49-F238E27FC236}">
                <a16:creationId xmlns:a16="http://schemas.microsoft.com/office/drawing/2014/main" id="{4BC6DA40-16AD-7FA3-B975-591B7488E162}"/>
              </a:ext>
            </a:extLst>
          </p:cNvPr>
          <p:cNvSpPr txBox="1">
            <a:spLocks/>
          </p:cNvSpPr>
          <p:nvPr/>
        </p:nvSpPr>
        <p:spPr>
          <a:xfrm>
            <a:off x="2605641" y="7728038"/>
            <a:ext cx="9232155" cy="1758896"/>
          </a:xfrm>
          <a:prstGeom prst="roundRect">
            <a:avLst>
              <a:gd name="adj" fmla="val 0"/>
            </a:avLst>
          </a:prstGeom>
          <a:noFill/>
          <a:ln>
            <a:noFill/>
          </a:ln>
        </p:spPr>
        <p:txBody>
          <a:bodyPr vert="horz" lIns="170456" tIns="170456" rIns="170456" bIns="170456" rtlCol="0" anchor="ctr">
            <a:noAutofit/>
          </a:bodyPr>
          <a:lstStyle>
            <a:lvl1pPr marL="0" indent="0" algn="l" defTabSz="685800" rtl="0" eaLnBrk="1" latinLnBrk="0" hangingPunct="1">
              <a:lnSpc>
                <a:spcPct val="90000"/>
              </a:lnSpc>
              <a:spcBef>
                <a:spcPts val="750"/>
              </a:spcBef>
              <a:buClr>
                <a:schemeClr val="tx2"/>
              </a:buClr>
              <a:buFont typeface="Arial" panose="020B0604020202020204" pitchFamily="34" charset="0"/>
              <a:buNone/>
              <a:defRPr sz="1000" kern="1200">
                <a:solidFill>
                  <a:schemeClr val="tx1"/>
                </a:solidFill>
                <a:latin typeface="+mn-lt"/>
                <a:ea typeface="+mn-ea"/>
                <a:cs typeface="+mn-cs"/>
              </a:defRPr>
            </a:lvl1pPr>
            <a:lvl2pPr marL="0" indent="0" algn="l" defTabSz="685800" rtl="0" eaLnBrk="1" latinLnBrk="0" hangingPunct="1">
              <a:lnSpc>
                <a:spcPct val="90000"/>
              </a:lnSpc>
              <a:spcBef>
                <a:spcPts val="375"/>
              </a:spcBef>
              <a:buClr>
                <a:schemeClr val="tx2"/>
              </a:buClr>
              <a:buFont typeface="Arial" panose="020B0604020202020204" pitchFamily="34" charset="0"/>
              <a:buNone/>
              <a:defRPr sz="1500" b="1" kern="1200">
                <a:solidFill>
                  <a:schemeClr val="bg2"/>
                </a:solidFill>
                <a:latin typeface="+mj-lt"/>
                <a:ea typeface="+mn-ea"/>
                <a:cs typeface="+mn-cs"/>
              </a:defRPr>
            </a:lvl2pPr>
            <a:lvl3pPr marL="92075" indent="-92075" algn="l" defTabSz="685800" rtl="0" eaLnBrk="1" latinLnBrk="0" hangingPunct="1">
              <a:lnSpc>
                <a:spcPct val="90000"/>
              </a:lnSpc>
              <a:spcBef>
                <a:spcPts val="375"/>
              </a:spcBef>
              <a:buClr>
                <a:schemeClr val="tx2"/>
              </a:buClr>
              <a:buFontTx/>
              <a:buBlip>
                <a:blip r:embed="rId3">
                  <a:extLst>
                    <a:ext uri="{96DAC541-7B7A-43D3-8B79-37D633B846F1}">
                      <asvg:svgBlip xmlns:asvg="http://schemas.microsoft.com/office/drawing/2016/SVG/main" r:embed="rId4"/>
                    </a:ext>
                  </a:extLst>
                </a:blip>
              </a:buBlip>
              <a:defRPr sz="1000" b="1" kern="1200">
                <a:solidFill>
                  <a:schemeClr val="bg2"/>
                </a:solidFill>
                <a:latin typeface="+mn-lt"/>
                <a:ea typeface="+mn-ea"/>
                <a:cs typeface="+mn-cs"/>
              </a:defRPr>
            </a:lvl3pPr>
            <a:lvl4pPr marL="88900" indent="0" algn="l" defTabSz="685800" rtl="0" eaLnBrk="1" latinLnBrk="0" hangingPunct="1">
              <a:lnSpc>
                <a:spcPct val="90000"/>
              </a:lnSpc>
              <a:spcBef>
                <a:spcPts val="375"/>
              </a:spcBef>
              <a:buClr>
                <a:schemeClr val="tx2"/>
              </a:buClr>
              <a:buFont typeface="Arial" panose="020B0604020202020204" pitchFamily="34" charset="0"/>
              <a:buNone/>
              <a:defRPr sz="1000" kern="1200">
                <a:solidFill>
                  <a:schemeClr val="bg2"/>
                </a:solidFill>
                <a:latin typeface="+mn-lt"/>
                <a:ea typeface="+mn-ea"/>
                <a:cs typeface="+mn-cs"/>
              </a:defRPr>
            </a:lvl4pPr>
            <a:lvl5pPr marL="180975" indent="-92075" algn="l" defTabSz="685800" rtl="0" eaLnBrk="1" latinLnBrk="0" hangingPunct="1">
              <a:lnSpc>
                <a:spcPct val="90000"/>
              </a:lnSpc>
              <a:spcBef>
                <a:spcPts val="375"/>
              </a:spcBef>
              <a:buClr>
                <a:schemeClr val="tx2"/>
              </a:buClr>
              <a:buFont typeface="Arial" panose="020B0604020202020204" pitchFamily="34" charset="0"/>
              <a:buChar char="•"/>
              <a:defRPr sz="10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R="3810" algn="just" fontAlgn="base">
              <a:lnSpc>
                <a:spcPct val="100000"/>
              </a:lnSpc>
              <a:spcBef>
                <a:spcPts val="0"/>
              </a:spcBef>
              <a:buClr>
                <a:srgbClr val="1D1D1B"/>
              </a:buClr>
              <a:buSzPts val="1200"/>
              <a:defRPr/>
            </a:pPr>
            <a:r>
              <a:rPr lang="fr-FR" sz="3200" b="1">
                <a:solidFill>
                  <a:srgbClr val="1D1D1B"/>
                </a:solidFill>
                <a:uFill>
                  <a:solidFill>
                    <a:srgbClr val="000000"/>
                  </a:solidFill>
                </a:uFill>
                <a:latin typeface="Arial Black"/>
                <a:ea typeface="Arial" panose="020B0604020202020204" pitchFamily="34" charset="0"/>
                <a:cs typeface="Arial"/>
              </a:rPr>
              <a:t>ACTUALITÉS DE LA DAPEX  </a:t>
            </a:r>
            <a:endParaRPr kumimoji="0" lang="fr-FR" sz="3200" b="1" i="0" u="none" strike="noStrike" kern="1200" cap="none" spc="0" normalizeH="0" baseline="0" noProof="0">
              <a:ln>
                <a:noFill/>
              </a:ln>
              <a:solidFill>
                <a:srgbClr val="1D1D1B"/>
              </a:solidFill>
              <a:effectLst/>
              <a:uLnTx/>
              <a:uFill>
                <a:solidFill>
                  <a:srgbClr val="000000"/>
                </a:solidFill>
              </a:uFill>
              <a:latin typeface="Arial Black"/>
              <a:ea typeface="Arial" panose="020B0604020202020204" pitchFamily="34" charset="0"/>
              <a:cs typeface="Arial"/>
            </a:endParaRPr>
          </a:p>
        </p:txBody>
      </p:sp>
      <p:sp>
        <p:nvSpPr>
          <p:cNvPr id="14" name="Rectangle: Rounded Corners 15">
            <a:extLst>
              <a:ext uri="{FF2B5EF4-FFF2-40B4-BE49-F238E27FC236}">
                <a16:creationId xmlns:a16="http://schemas.microsoft.com/office/drawing/2014/main" id="{8F96E5D2-4570-9AAD-8CDC-C46156DA7A38}"/>
              </a:ext>
            </a:extLst>
          </p:cNvPr>
          <p:cNvSpPr/>
          <p:nvPr/>
        </p:nvSpPr>
        <p:spPr>
          <a:xfrm>
            <a:off x="1757213" y="8320758"/>
            <a:ext cx="618257" cy="573456"/>
          </a:xfrm>
          <a:prstGeom prst="roundRect">
            <a:avLst>
              <a:gd name="adj" fmla="val 21163"/>
            </a:avLst>
          </a:prstGeom>
          <a:solidFill>
            <a:srgbClr val="FFED00"/>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2800" kern="0" dirty="0">
                <a:solidFill>
                  <a:srgbClr val="1D1D1B"/>
                </a:solidFill>
                <a:latin typeface="Arial Black"/>
              </a:rPr>
              <a:t>VI</a:t>
            </a:r>
            <a:endParaRPr kumimoji="0" lang="fr-FR" sz="2800" b="0" i="0" u="none" strike="noStrike" kern="0" cap="none" spc="0" normalizeH="0" baseline="0" noProof="0" dirty="0">
              <a:ln>
                <a:noFill/>
              </a:ln>
              <a:solidFill>
                <a:srgbClr val="1D1D1B"/>
              </a:solidFill>
              <a:effectLst/>
              <a:uLnTx/>
              <a:uFillTx/>
              <a:latin typeface="Arial Black"/>
              <a:ea typeface="+mn-ea"/>
              <a:cs typeface="+mn-cs"/>
            </a:endParaRPr>
          </a:p>
        </p:txBody>
      </p:sp>
      <p:sp>
        <p:nvSpPr>
          <p:cNvPr id="16" name="TextBox 15">
            <a:extLst>
              <a:ext uri="{FF2B5EF4-FFF2-40B4-BE49-F238E27FC236}">
                <a16:creationId xmlns:a16="http://schemas.microsoft.com/office/drawing/2014/main" id="{4B02F89F-85D5-4A38-0A25-9FE44D50A63D}"/>
              </a:ext>
            </a:extLst>
          </p:cNvPr>
          <p:cNvSpPr txBox="1"/>
          <p:nvPr/>
        </p:nvSpPr>
        <p:spPr>
          <a:xfrm>
            <a:off x="2718273" y="7078906"/>
            <a:ext cx="11451771"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3200" b="1">
                <a:solidFill>
                  <a:srgbClr val="1D1D1B"/>
                </a:solidFill>
                <a:latin typeface="Arial Black"/>
              </a:rPr>
              <a:t>PROCESS DE SELECTION ET PLATEFORME : </a:t>
            </a:r>
            <a:r>
              <a:rPr lang="fr-FR" sz="3200">
                <a:solidFill>
                  <a:srgbClr val="1D1D1B"/>
                </a:solidFill>
                <a:latin typeface="Arial"/>
              </a:rPr>
              <a:t>rappel et évolutions </a:t>
            </a:r>
            <a:endParaRPr lang="en-US"/>
          </a:p>
        </p:txBody>
      </p:sp>
      <p:sp>
        <p:nvSpPr>
          <p:cNvPr id="17" name="TextBox 16">
            <a:extLst>
              <a:ext uri="{FF2B5EF4-FFF2-40B4-BE49-F238E27FC236}">
                <a16:creationId xmlns:a16="http://schemas.microsoft.com/office/drawing/2014/main" id="{9B72E68B-1F8F-EE17-131D-017BE34CE1A0}"/>
              </a:ext>
            </a:extLst>
          </p:cNvPr>
          <p:cNvSpPr txBox="1"/>
          <p:nvPr/>
        </p:nvSpPr>
        <p:spPr>
          <a:xfrm>
            <a:off x="2605559" y="5703916"/>
            <a:ext cx="11437257"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3200" b="1">
                <a:solidFill>
                  <a:srgbClr val="1D1D1B"/>
                </a:solidFill>
                <a:latin typeface="Arial Black"/>
              </a:rPr>
              <a:t>MODALITÉS ET CONDITIONS D'ACCES </a:t>
            </a:r>
            <a:r>
              <a:rPr lang="fr-FR" sz="3200">
                <a:solidFill>
                  <a:srgbClr val="1D1D1B"/>
                </a:solidFill>
                <a:latin typeface="Arial"/>
              </a:rPr>
              <a:t>au</a:t>
            </a:r>
            <a:r>
              <a:rPr lang="fr-FR" sz="3200" b="1">
                <a:solidFill>
                  <a:srgbClr val="1D1D1B"/>
                </a:solidFill>
                <a:latin typeface="Arial Black"/>
              </a:rPr>
              <a:t> </a:t>
            </a:r>
            <a:r>
              <a:rPr lang="fr-FR" sz="3200">
                <a:solidFill>
                  <a:srgbClr val="1D1D1B"/>
                </a:solidFill>
                <a:latin typeface="Arial"/>
              </a:rPr>
              <a:t>financement </a:t>
            </a:r>
            <a:r>
              <a:rPr lang="en-US" sz="3200">
                <a:latin typeface="Arial"/>
                <a:cs typeface="Arial"/>
              </a:rPr>
              <a:t>​</a:t>
            </a:r>
            <a:endParaRPr lang="en-US"/>
          </a:p>
        </p:txBody>
      </p:sp>
    </p:spTree>
    <p:extLst>
      <p:ext uri="{BB962C8B-B14F-4D97-AF65-F5344CB8AC3E}">
        <p14:creationId xmlns:p14="http://schemas.microsoft.com/office/powerpoint/2010/main" val="26630930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87D759-DB46-8D38-5E84-0EBC2F394BA3}"/>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Attendus du CCCA-BTP dans les dossiers </a:t>
            </a:r>
          </a:p>
        </p:txBody>
      </p:sp>
      <p:sp>
        <p:nvSpPr>
          <p:cNvPr id="4" name="Espace réservé du numéro de diapositive 2">
            <a:extLst>
              <a:ext uri="{FF2B5EF4-FFF2-40B4-BE49-F238E27FC236}">
                <a16:creationId xmlns:a16="http://schemas.microsoft.com/office/drawing/2014/main" id="{1BF1CB91-DB7C-71BB-BA33-D10F970EACBF}"/>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8</a:t>
            </a:fld>
            <a:endParaRPr lang="fr-FR" sz="1400">
              <a:solidFill>
                <a:prstClr val="black"/>
              </a:solidFill>
              <a:latin typeface="Calibri"/>
            </a:endParaRPr>
          </a:p>
        </p:txBody>
      </p:sp>
      <p:grpSp>
        <p:nvGrpSpPr>
          <p:cNvPr id="38" name="Group 25">
            <a:extLst>
              <a:ext uri="{FF2B5EF4-FFF2-40B4-BE49-F238E27FC236}">
                <a16:creationId xmlns:a16="http://schemas.microsoft.com/office/drawing/2014/main" id="{547A7452-FE6D-826D-F9A8-041CD7B2928B}"/>
              </a:ext>
            </a:extLst>
          </p:cNvPr>
          <p:cNvGrpSpPr/>
          <p:nvPr/>
        </p:nvGrpSpPr>
        <p:grpSpPr>
          <a:xfrm>
            <a:off x="1806169" y="1901137"/>
            <a:ext cx="5465088" cy="3055874"/>
            <a:chOff x="0" y="0"/>
            <a:chExt cx="1113831" cy="595238"/>
          </a:xfrm>
        </p:grpSpPr>
        <p:sp>
          <p:nvSpPr>
            <p:cNvPr id="39" name="Freeform 26">
              <a:extLst>
                <a:ext uri="{FF2B5EF4-FFF2-40B4-BE49-F238E27FC236}">
                  <a16:creationId xmlns:a16="http://schemas.microsoft.com/office/drawing/2014/main" id="{526B6A72-E6DA-0359-AEE4-9130447A0C1E}"/>
                </a:ext>
              </a:extLst>
            </p:cNvPr>
            <p:cNvSpPr/>
            <p:nvPr/>
          </p:nvSpPr>
          <p:spPr>
            <a:xfrm>
              <a:off x="0" y="0"/>
              <a:ext cx="1113831" cy="595238"/>
            </a:xfrm>
            <a:custGeom>
              <a:avLst/>
              <a:gdLst/>
              <a:ahLst/>
              <a:cxnLst/>
              <a:rect l="l" t="t" r="r" b="b"/>
              <a:pathLst>
                <a:path w="1113831" h="595238">
                  <a:moveTo>
                    <a:pt x="36613" y="0"/>
                  </a:moveTo>
                  <a:lnTo>
                    <a:pt x="1077218" y="0"/>
                  </a:lnTo>
                  <a:cubicBezTo>
                    <a:pt x="1097439" y="0"/>
                    <a:pt x="1113831" y="16392"/>
                    <a:pt x="1113831" y="36613"/>
                  </a:cubicBezTo>
                  <a:lnTo>
                    <a:pt x="1113831" y="558625"/>
                  </a:lnTo>
                  <a:cubicBezTo>
                    <a:pt x="1113831" y="578846"/>
                    <a:pt x="1097439" y="595238"/>
                    <a:pt x="1077218" y="595238"/>
                  </a:cubicBezTo>
                  <a:lnTo>
                    <a:pt x="36613" y="595238"/>
                  </a:lnTo>
                  <a:cubicBezTo>
                    <a:pt x="16392" y="595238"/>
                    <a:pt x="0" y="578846"/>
                    <a:pt x="0" y="558625"/>
                  </a:cubicBezTo>
                  <a:lnTo>
                    <a:pt x="0" y="36613"/>
                  </a:lnTo>
                  <a:cubicBezTo>
                    <a:pt x="0" y="16392"/>
                    <a:pt x="16392" y="0"/>
                    <a:pt x="36613" y="0"/>
                  </a:cubicBezTo>
                  <a:close/>
                </a:path>
              </a:pathLst>
            </a:custGeom>
            <a:solidFill>
              <a:schemeClr val="bg1">
                <a:lumMod val="95000"/>
              </a:schemeClr>
            </a:solidFill>
            <a:ln cap="sq">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40" name="TextBox 27">
              <a:extLst>
                <a:ext uri="{FF2B5EF4-FFF2-40B4-BE49-F238E27FC236}">
                  <a16:creationId xmlns:a16="http://schemas.microsoft.com/office/drawing/2014/main" id="{7C037BCF-C0A3-447D-55FD-1A6A059373BD}"/>
                </a:ext>
              </a:extLst>
            </p:cNvPr>
            <p:cNvSpPr txBox="1"/>
            <p:nvPr/>
          </p:nvSpPr>
          <p:spPr>
            <a:xfrm>
              <a:off x="0" y="-47625"/>
              <a:ext cx="1113831" cy="642863"/>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41" name="Group 28">
            <a:extLst>
              <a:ext uri="{FF2B5EF4-FFF2-40B4-BE49-F238E27FC236}">
                <a16:creationId xmlns:a16="http://schemas.microsoft.com/office/drawing/2014/main" id="{6EE59714-C331-29E9-7717-4EAE1966D55B}"/>
              </a:ext>
            </a:extLst>
          </p:cNvPr>
          <p:cNvGrpSpPr/>
          <p:nvPr/>
        </p:nvGrpSpPr>
        <p:grpSpPr>
          <a:xfrm>
            <a:off x="2301340" y="1691433"/>
            <a:ext cx="4474746" cy="518253"/>
            <a:chOff x="0" y="0"/>
            <a:chExt cx="850451" cy="110461"/>
          </a:xfrm>
        </p:grpSpPr>
        <p:sp>
          <p:nvSpPr>
            <p:cNvPr id="42" name="Freeform 29">
              <a:extLst>
                <a:ext uri="{FF2B5EF4-FFF2-40B4-BE49-F238E27FC236}">
                  <a16:creationId xmlns:a16="http://schemas.microsoft.com/office/drawing/2014/main" id="{A365A24C-5474-F43D-EF89-BAA7D79DC29A}"/>
                </a:ext>
              </a:extLst>
            </p:cNvPr>
            <p:cNvSpPr/>
            <p:nvPr/>
          </p:nvSpPr>
          <p:spPr>
            <a:xfrm>
              <a:off x="0" y="0"/>
              <a:ext cx="850451" cy="110461"/>
            </a:xfrm>
            <a:custGeom>
              <a:avLst/>
              <a:gdLst/>
              <a:ahLst/>
              <a:cxnLst/>
              <a:rect l="l" t="t" r="r" b="b"/>
              <a:pathLst>
                <a:path w="850451" h="110461">
                  <a:moveTo>
                    <a:pt x="47952" y="0"/>
                  </a:moveTo>
                  <a:lnTo>
                    <a:pt x="802499" y="0"/>
                  </a:lnTo>
                  <a:cubicBezTo>
                    <a:pt x="815217" y="0"/>
                    <a:pt x="827413" y="5052"/>
                    <a:pt x="836406" y="14045"/>
                  </a:cubicBezTo>
                  <a:cubicBezTo>
                    <a:pt x="845399" y="23037"/>
                    <a:pt x="850451" y="35234"/>
                    <a:pt x="850451" y="47952"/>
                  </a:cubicBezTo>
                  <a:lnTo>
                    <a:pt x="850451" y="62509"/>
                  </a:lnTo>
                  <a:cubicBezTo>
                    <a:pt x="850451" y="88992"/>
                    <a:pt x="828982" y="110461"/>
                    <a:pt x="802499" y="110461"/>
                  </a:cubicBezTo>
                  <a:lnTo>
                    <a:pt x="47952" y="110461"/>
                  </a:lnTo>
                  <a:cubicBezTo>
                    <a:pt x="35234" y="110461"/>
                    <a:pt x="23037" y="105409"/>
                    <a:pt x="14045" y="96416"/>
                  </a:cubicBezTo>
                  <a:cubicBezTo>
                    <a:pt x="5052" y="87424"/>
                    <a:pt x="0" y="75227"/>
                    <a:pt x="0" y="62509"/>
                  </a:cubicBezTo>
                  <a:lnTo>
                    <a:pt x="0" y="47952"/>
                  </a:lnTo>
                  <a:cubicBezTo>
                    <a:pt x="0" y="35234"/>
                    <a:pt x="5052" y="23037"/>
                    <a:pt x="14045" y="14045"/>
                  </a:cubicBezTo>
                  <a:cubicBezTo>
                    <a:pt x="23037" y="5052"/>
                    <a:pt x="35234" y="0"/>
                    <a:pt x="47952" y="0"/>
                  </a:cubicBezTo>
                  <a:close/>
                </a:path>
              </a:pathLst>
            </a:custGeom>
            <a:solidFill>
              <a:srgbClr val="FEEC02"/>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effectLst/>
                <a:uLnTx/>
                <a:uFillTx/>
              </a:endParaRPr>
            </a:p>
          </p:txBody>
        </p:sp>
        <p:sp>
          <p:nvSpPr>
            <p:cNvPr id="43" name="TextBox 30">
              <a:extLst>
                <a:ext uri="{FF2B5EF4-FFF2-40B4-BE49-F238E27FC236}">
                  <a16:creationId xmlns:a16="http://schemas.microsoft.com/office/drawing/2014/main" id="{0F8ACC3E-F0E3-F1F6-AAE1-FC093510EC95}"/>
                </a:ext>
              </a:extLst>
            </p:cNvPr>
            <p:cNvSpPr txBox="1"/>
            <p:nvPr/>
          </p:nvSpPr>
          <p:spPr>
            <a:xfrm>
              <a:off x="0" y="-47625"/>
              <a:ext cx="850451" cy="158086"/>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44" name="TextBox 36">
            <a:extLst>
              <a:ext uri="{FF2B5EF4-FFF2-40B4-BE49-F238E27FC236}">
                <a16:creationId xmlns:a16="http://schemas.microsoft.com/office/drawing/2014/main" id="{0458B669-F069-D052-C551-1DE0DF6379C2}"/>
              </a:ext>
            </a:extLst>
          </p:cNvPr>
          <p:cNvSpPr txBox="1"/>
          <p:nvPr/>
        </p:nvSpPr>
        <p:spPr>
          <a:xfrm>
            <a:off x="2524206" y="1780363"/>
            <a:ext cx="4044684" cy="336887"/>
          </a:xfrm>
          <a:prstGeom prst="rect">
            <a:avLst/>
          </a:prstGeom>
        </p:spPr>
        <p:txBody>
          <a:bodyPr wrap="square" lIns="0" tIns="0" rIns="0" bIns="0" rtlCol="0" anchor="t">
            <a:spAutoFit/>
          </a:bodyPr>
          <a:lstStyle/>
          <a:p>
            <a:pPr algn="ctr" defTabSz="914400">
              <a:lnSpc>
                <a:spcPts val="2801"/>
              </a:lnSpc>
              <a:spcBef>
                <a:spcPct val="0"/>
              </a:spcBef>
            </a:pPr>
            <a:r>
              <a:rPr lang="fr-FR" sz="2001">
                <a:latin typeface="Arial Black" panose="020B0A04020102020204" pitchFamily="34" charset="0"/>
                <a:cs typeface="Arial" panose="020B0604020202020204" pitchFamily="34" charset="0"/>
              </a:rPr>
              <a:t>EXHAUSTIVITÉ</a:t>
            </a:r>
            <a:r>
              <a:rPr lang="en-US" sz="2001">
                <a:latin typeface="Arial Black" panose="020B0A04020102020204" pitchFamily="34" charset="0"/>
                <a:cs typeface="Arial" panose="020B0604020202020204" pitchFamily="34" charset="0"/>
              </a:rPr>
              <a:t> DU DOSSIER</a:t>
            </a:r>
          </a:p>
        </p:txBody>
      </p:sp>
      <p:sp>
        <p:nvSpPr>
          <p:cNvPr id="45" name="TextBox 37">
            <a:extLst>
              <a:ext uri="{FF2B5EF4-FFF2-40B4-BE49-F238E27FC236}">
                <a16:creationId xmlns:a16="http://schemas.microsoft.com/office/drawing/2014/main" id="{F79F26D5-169E-002E-7A55-67719CE69ADD}"/>
              </a:ext>
            </a:extLst>
          </p:cNvPr>
          <p:cNvSpPr txBox="1"/>
          <p:nvPr/>
        </p:nvSpPr>
        <p:spPr>
          <a:xfrm>
            <a:off x="1805022" y="2205385"/>
            <a:ext cx="5091104" cy="2585323"/>
          </a:xfrm>
          <a:prstGeom prst="rect">
            <a:avLst/>
          </a:prstGeom>
        </p:spPr>
        <p:txBody>
          <a:bodyPr wrap="square" lIns="0" tIns="0" rIns="0" bIns="0" rtlCol="0" anchor="t">
            <a:spAutoFit/>
          </a:bodyPr>
          <a:lstStyle/>
          <a:p>
            <a:pPr algn="just" defTabSz="914400">
              <a:spcBef>
                <a:spcPct val="0"/>
              </a:spcBef>
            </a:pPr>
            <a:r>
              <a:rPr lang="fr-FR" sz="1400">
                <a:latin typeface="Arial"/>
                <a:cs typeface="Arial"/>
              </a:rPr>
              <a:t>Un dossier projet exhaustif </a:t>
            </a:r>
            <a:r>
              <a:rPr lang="fr-FR" sz="1400" b="1">
                <a:latin typeface="Arial"/>
                <a:cs typeface="Arial"/>
              </a:rPr>
              <a:t>nous permettra d'évaluer de manière approfondie la faisabilité, la viabilité et l'impact de votre projet.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a:latin typeface="Arial"/>
                <a:cs typeface="Arial"/>
              </a:rPr>
              <a:t>Nous vous encourageons à </a:t>
            </a:r>
            <a:r>
              <a:rPr lang="fr-FR" sz="1400" b="1">
                <a:latin typeface="Arial"/>
                <a:cs typeface="Arial"/>
              </a:rPr>
              <a:t>accorder une attention particulière à cet aspect du processus de dépôt </a:t>
            </a:r>
            <a:r>
              <a:rPr lang="fr-FR" sz="1400">
                <a:latin typeface="Arial"/>
                <a:cs typeface="Arial"/>
              </a:rPr>
              <a:t>en veillant à inclure dans votre dossier tous les documents et annexes requis et soigneusement complétés.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b="1">
                <a:latin typeface="Arial"/>
                <a:cs typeface="Arial"/>
              </a:rPr>
              <a:t>Les annexes sont essentielles dans la compréhension approfondie de votre projet </a:t>
            </a:r>
            <a:r>
              <a:rPr lang="fr-FR" sz="1400">
                <a:latin typeface="Arial"/>
                <a:cs typeface="Arial"/>
              </a:rPr>
              <a:t>en apportant des éclaircissements notamment sur les aspects financiers..</a:t>
            </a:r>
            <a:endParaRPr lang="en-US" sz="1600">
              <a:latin typeface="Arial"/>
              <a:cs typeface="Arial"/>
            </a:endParaRPr>
          </a:p>
        </p:txBody>
      </p:sp>
      <p:grpSp>
        <p:nvGrpSpPr>
          <p:cNvPr id="70" name="Group 25">
            <a:extLst>
              <a:ext uri="{FF2B5EF4-FFF2-40B4-BE49-F238E27FC236}">
                <a16:creationId xmlns:a16="http://schemas.microsoft.com/office/drawing/2014/main" id="{3F3E579E-5DEB-9FD6-792F-F7B24264ED91}"/>
              </a:ext>
            </a:extLst>
          </p:cNvPr>
          <p:cNvGrpSpPr/>
          <p:nvPr/>
        </p:nvGrpSpPr>
        <p:grpSpPr>
          <a:xfrm>
            <a:off x="8396912" y="1901137"/>
            <a:ext cx="5465088" cy="3055874"/>
            <a:chOff x="0" y="0"/>
            <a:chExt cx="1113831" cy="595238"/>
          </a:xfrm>
        </p:grpSpPr>
        <p:sp>
          <p:nvSpPr>
            <p:cNvPr id="71" name="Freeform 26">
              <a:extLst>
                <a:ext uri="{FF2B5EF4-FFF2-40B4-BE49-F238E27FC236}">
                  <a16:creationId xmlns:a16="http://schemas.microsoft.com/office/drawing/2014/main" id="{7FA113C1-6963-1102-B429-838B24A1A343}"/>
                </a:ext>
              </a:extLst>
            </p:cNvPr>
            <p:cNvSpPr/>
            <p:nvPr/>
          </p:nvSpPr>
          <p:spPr>
            <a:xfrm>
              <a:off x="0" y="0"/>
              <a:ext cx="1113831" cy="595238"/>
            </a:xfrm>
            <a:custGeom>
              <a:avLst/>
              <a:gdLst/>
              <a:ahLst/>
              <a:cxnLst/>
              <a:rect l="l" t="t" r="r" b="b"/>
              <a:pathLst>
                <a:path w="1113831" h="595238">
                  <a:moveTo>
                    <a:pt x="36613" y="0"/>
                  </a:moveTo>
                  <a:lnTo>
                    <a:pt x="1077218" y="0"/>
                  </a:lnTo>
                  <a:cubicBezTo>
                    <a:pt x="1097439" y="0"/>
                    <a:pt x="1113831" y="16392"/>
                    <a:pt x="1113831" y="36613"/>
                  </a:cubicBezTo>
                  <a:lnTo>
                    <a:pt x="1113831" y="558625"/>
                  </a:lnTo>
                  <a:cubicBezTo>
                    <a:pt x="1113831" y="578846"/>
                    <a:pt x="1097439" y="595238"/>
                    <a:pt x="1077218" y="595238"/>
                  </a:cubicBezTo>
                  <a:lnTo>
                    <a:pt x="36613" y="595238"/>
                  </a:lnTo>
                  <a:cubicBezTo>
                    <a:pt x="16392" y="595238"/>
                    <a:pt x="0" y="578846"/>
                    <a:pt x="0" y="558625"/>
                  </a:cubicBezTo>
                  <a:lnTo>
                    <a:pt x="0" y="36613"/>
                  </a:lnTo>
                  <a:cubicBezTo>
                    <a:pt x="0" y="16392"/>
                    <a:pt x="16392" y="0"/>
                    <a:pt x="36613" y="0"/>
                  </a:cubicBezTo>
                  <a:close/>
                </a:path>
              </a:pathLst>
            </a:custGeom>
            <a:solidFill>
              <a:schemeClr val="bg1">
                <a:lumMod val="95000"/>
              </a:schemeClr>
            </a:solidFill>
            <a:ln cap="sq">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72" name="TextBox 27">
              <a:extLst>
                <a:ext uri="{FF2B5EF4-FFF2-40B4-BE49-F238E27FC236}">
                  <a16:creationId xmlns:a16="http://schemas.microsoft.com/office/drawing/2014/main" id="{5FB11C01-C91B-F84C-100F-D9354075A5E6}"/>
                </a:ext>
              </a:extLst>
            </p:cNvPr>
            <p:cNvSpPr txBox="1"/>
            <p:nvPr/>
          </p:nvSpPr>
          <p:spPr>
            <a:xfrm>
              <a:off x="0" y="-47625"/>
              <a:ext cx="1113831" cy="642863"/>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73" name="Group 28">
            <a:extLst>
              <a:ext uri="{FF2B5EF4-FFF2-40B4-BE49-F238E27FC236}">
                <a16:creationId xmlns:a16="http://schemas.microsoft.com/office/drawing/2014/main" id="{E874D6D7-7042-58FF-2134-E90F399F983E}"/>
              </a:ext>
            </a:extLst>
          </p:cNvPr>
          <p:cNvGrpSpPr/>
          <p:nvPr/>
        </p:nvGrpSpPr>
        <p:grpSpPr>
          <a:xfrm>
            <a:off x="8896923" y="1691433"/>
            <a:ext cx="4474746" cy="518253"/>
            <a:chOff x="0" y="0"/>
            <a:chExt cx="850451" cy="110461"/>
          </a:xfrm>
        </p:grpSpPr>
        <p:sp>
          <p:nvSpPr>
            <p:cNvPr id="74" name="Freeform 29">
              <a:extLst>
                <a:ext uri="{FF2B5EF4-FFF2-40B4-BE49-F238E27FC236}">
                  <a16:creationId xmlns:a16="http://schemas.microsoft.com/office/drawing/2014/main" id="{E32E743D-62D8-FAA5-752E-0D7B30A3566F}"/>
                </a:ext>
              </a:extLst>
            </p:cNvPr>
            <p:cNvSpPr/>
            <p:nvPr/>
          </p:nvSpPr>
          <p:spPr>
            <a:xfrm>
              <a:off x="0" y="0"/>
              <a:ext cx="850451" cy="110461"/>
            </a:xfrm>
            <a:custGeom>
              <a:avLst/>
              <a:gdLst/>
              <a:ahLst/>
              <a:cxnLst/>
              <a:rect l="l" t="t" r="r" b="b"/>
              <a:pathLst>
                <a:path w="850451" h="110461">
                  <a:moveTo>
                    <a:pt x="47952" y="0"/>
                  </a:moveTo>
                  <a:lnTo>
                    <a:pt x="802499" y="0"/>
                  </a:lnTo>
                  <a:cubicBezTo>
                    <a:pt x="815217" y="0"/>
                    <a:pt x="827413" y="5052"/>
                    <a:pt x="836406" y="14045"/>
                  </a:cubicBezTo>
                  <a:cubicBezTo>
                    <a:pt x="845399" y="23037"/>
                    <a:pt x="850451" y="35234"/>
                    <a:pt x="850451" y="47952"/>
                  </a:cubicBezTo>
                  <a:lnTo>
                    <a:pt x="850451" y="62509"/>
                  </a:lnTo>
                  <a:cubicBezTo>
                    <a:pt x="850451" y="88992"/>
                    <a:pt x="828982" y="110461"/>
                    <a:pt x="802499" y="110461"/>
                  </a:cubicBezTo>
                  <a:lnTo>
                    <a:pt x="47952" y="110461"/>
                  </a:lnTo>
                  <a:cubicBezTo>
                    <a:pt x="35234" y="110461"/>
                    <a:pt x="23037" y="105409"/>
                    <a:pt x="14045" y="96416"/>
                  </a:cubicBezTo>
                  <a:cubicBezTo>
                    <a:pt x="5052" y="87424"/>
                    <a:pt x="0" y="75227"/>
                    <a:pt x="0" y="62509"/>
                  </a:cubicBezTo>
                  <a:lnTo>
                    <a:pt x="0" y="47952"/>
                  </a:lnTo>
                  <a:cubicBezTo>
                    <a:pt x="0" y="35234"/>
                    <a:pt x="5052" y="23037"/>
                    <a:pt x="14045" y="14045"/>
                  </a:cubicBezTo>
                  <a:cubicBezTo>
                    <a:pt x="23037" y="5052"/>
                    <a:pt x="35234" y="0"/>
                    <a:pt x="47952" y="0"/>
                  </a:cubicBezTo>
                  <a:close/>
                </a:path>
              </a:pathLst>
            </a:custGeom>
            <a:solidFill>
              <a:srgbClr val="FEEC02"/>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effectLst/>
                <a:uLnTx/>
                <a:uFillTx/>
              </a:endParaRPr>
            </a:p>
          </p:txBody>
        </p:sp>
        <p:sp>
          <p:nvSpPr>
            <p:cNvPr id="75" name="TextBox 30">
              <a:extLst>
                <a:ext uri="{FF2B5EF4-FFF2-40B4-BE49-F238E27FC236}">
                  <a16:creationId xmlns:a16="http://schemas.microsoft.com/office/drawing/2014/main" id="{B1B4B984-0BFC-558C-BAA9-58340941F63A}"/>
                </a:ext>
              </a:extLst>
            </p:cNvPr>
            <p:cNvSpPr txBox="1"/>
            <p:nvPr/>
          </p:nvSpPr>
          <p:spPr>
            <a:xfrm>
              <a:off x="0" y="-47625"/>
              <a:ext cx="850451" cy="158086"/>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76" name="TextBox 36">
            <a:extLst>
              <a:ext uri="{FF2B5EF4-FFF2-40B4-BE49-F238E27FC236}">
                <a16:creationId xmlns:a16="http://schemas.microsoft.com/office/drawing/2014/main" id="{91EDE482-6E31-A900-FFD8-A2E1C00172B3}"/>
              </a:ext>
            </a:extLst>
          </p:cNvPr>
          <p:cNvSpPr txBox="1"/>
          <p:nvPr/>
        </p:nvSpPr>
        <p:spPr>
          <a:xfrm>
            <a:off x="8925127" y="1780363"/>
            <a:ext cx="4450406" cy="336887"/>
          </a:xfrm>
          <a:prstGeom prst="rect">
            <a:avLst/>
          </a:prstGeom>
        </p:spPr>
        <p:txBody>
          <a:bodyPr wrap="square" lIns="0" tIns="0" rIns="0" bIns="0" rtlCol="0" anchor="t">
            <a:spAutoFit/>
          </a:bodyPr>
          <a:lstStyle/>
          <a:p>
            <a:pPr algn="ctr" defTabSz="914400">
              <a:lnSpc>
                <a:spcPts val="2801"/>
              </a:lnSpc>
              <a:spcBef>
                <a:spcPct val="0"/>
              </a:spcBef>
            </a:pPr>
            <a:r>
              <a:rPr lang="en-US" sz="2001">
                <a:latin typeface="Arial Black" panose="020B0A04020102020204" pitchFamily="34" charset="0"/>
                <a:cs typeface="Arial" panose="020B0604020202020204" pitchFamily="34" charset="0"/>
              </a:rPr>
              <a:t>ANALYSE D’IMPACT </a:t>
            </a:r>
            <a:r>
              <a:rPr lang="fr-FR" sz="2001">
                <a:latin typeface="Arial Black" panose="020B0A04020102020204" pitchFamily="34" charset="0"/>
                <a:cs typeface="Arial" panose="020B0604020202020204" pitchFamily="34" charset="0"/>
              </a:rPr>
              <a:t>CHIFFRÉE</a:t>
            </a:r>
            <a:endParaRPr lang="en-US" sz="2001">
              <a:latin typeface="Arial Black" panose="020B0A04020102020204" pitchFamily="34" charset="0"/>
              <a:cs typeface="Arial" panose="020B0604020202020204" pitchFamily="34" charset="0"/>
            </a:endParaRPr>
          </a:p>
        </p:txBody>
      </p:sp>
      <p:grpSp>
        <p:nvGrpSpPr>
          <p:cNvPr id="78" name="Group 25">
            <a:extLst>
              <a:ext uri="{FF2B5EF4-FFF2-40B4-BE49-F238E27FC236}">
                <a16:creationId xmlns:a16="http://schemas.microsoft.com/office/drawing/2014/main" id="{55AB16BE-0C93-23F8-FFF2-8C68D9E653B5}"/>
              </a:ext>
            </a:extLst>
          </p:cNvPr>
          <p:cNvGrpSpPr/>
          <p:nvPr/>
        </p:nvGrpSpPr>
        <p:grpSpPr>
          <a:xfrm>
            <a:off x="1806169" y="5630511"/>
            <a:ext cx="5465088" cy="3055874"/>
            <a:chOff x="0" y="0"/>
            <a:chExt cx="1113831" cy="595238"/>
          </a:xfrm>
        </p:grpSpPr>
        <p:sp>
          <p:nvSpPr>
            <p:cNvPr id="79" name="Freeform 26">
              <a:extLst>
                <a:ext uri="{FF2B5EF4-FFF2-40B4-BE49-F238E27FC236}">
                  <a16:creationId xmlns:a16="http://schemas.microsoft.com/office/drawing/2014/main" id="{7E644D59-5414-F56A-549E-AFEDAEFE2B91}"/>
                </a:ext>
              </a:extLst>
            </p:cNvPr>
            <p:cNvSpPr/>
            <p:nvPr/>
          </p:nvSpPr>
          <p:spPr>
            <a:xfrm>
              <a:off x="0" y="0"/>
              <a:ext cx="1113831" cy="595238"/>
            </a:xfrm>
            <a:custGeom>
              <a:avLst/>
              <a:gdLst/>
              <a:ahLst/>
              <a:cxnLst/>
              <a:rect l="l" t="t" r="r" b="b"/>
              <a:pathLst>
                <a:path w="1113831" h="595238">
                  <a:moveTo>
                    <a:pt x="36613" y="0"/>
                  </a:moveTo>
                  <a:lnTo>
                    <a:pt x="1077218" y="0"/>
                  </a:lnTo>
                  <a:cubicBezTo>
                    <a:pt x="1097439" y="0"/>
                    <a:pt x="1113831" y="16392"/>
                    <a:pt x="1113831" y="36613"/>
                  </a:cubicBezTo>
                  <a:lnTo>
                    <a:pt x="1113831" y="558625"/>
                  </a:lnTo>
                  <a:cubicBezTo>
                    <a:pt x="1113831" y="578846"/>
                    <a:pt x="1097439" y="595238"/>
                    <a:pt x="1077218" y="595238"/>
                  </a:cubicBezTo>
                  <a:lnTo>
                    <a:pt x="36613" y="595238"/>
                  </a:lnTo>
                  <a:cubicBezTo>
                    <a:pt x="16392" y="595238"/>
                    <a:pt x="0" y="578846"/>
                    <a:pt x="0" y="558625"/>
                  </a:cubicBezTo>
                  <a:lnTo>
                    <a:pt x="0" y="36613"/>
                  </a:lnTo>
                  <a:cubicBezTo>
                    <a:pt x="0" y="16392"/>
                    <a:pt x="16392" y="0"/>
                    <a:pt x="36613" y="0"/>
                  </a:cubicBezTo>
                  <a:close/>
                </a:path>
              </a:pathLst>
            </a:custGeom>
            <a:solidFill>
              <a:schemeClr val="bg1">
                <a:lumMod val="95000"/>
              </a:schemeClr>
            </a:solidFill>
            <a:ln cap="sq">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0" name="TextBox 27">
              <a:extLst>
                <a:ext uri="{FF2B5EF4-FFF2-40B4-BE49-F238E27FC236}">
                  <a16:creationId xmlns:a16="http://schemas.microsoft.com/office/drawing/2014/main" id="{1B5EB075-7491-EAC8-D111-D162D7C9A94E}"/>
                </a:ext>
              </a:extLst>
            </p:cNvPr>
            <p:cNvSpPr txBox="1"/>
            <p:nvPr/>
          </p:nvSpPr>
          <p:spPr>
            <a:xfrm>
              <a:off x="0" y="-47625"/>
              <a:ext cx="1113831" cy="642863"/>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81" name="Group 28">
            <a:extLst>
              <a:ext uri="{FF2B5EF4-FFF2-40B4-BE49-F238E27FC236}">
                <a16:creationId xmlns:a16="http://schemas.microsoft.com/office/drawing/2014/main" id="{7E3AF5CE-C4D0-EDBA-1077-87291DC441EB}"/>
              </a:ext>
            </a:extLst>
          </p:cNvPr>
          <p:cNvGrpSpPr/>
          <p:nvPr/>
        </p:nvGrpSpPr>
        <p:grpSpPr>
          <a:xfrm>
            <a:off x="2306180" y="5420807"/>
            <a:ext cx="4474746" cy="518253"/>
            <a:chOff x="0" y="0"/>
            <a:chExt cx="850451" cy="110461"/>
          </a:xfrm>
        </p:grpSpPr>
        <p:sp>
          <p:nvSpPr>
            <p:cNvPr id="82" name="Freeform 29">
              <a:extLst>
                <a:ext uri="{FF2B5EF4-FFF2-40B4-BE49-F238E27FC236}">
                  <a16:creationId xmlns:a16="http://schemas.microsoft.com/office/drawing/2014/main" id="{9CB0843E-82C1-0B78-9E00-89E1D864C0FD}"/>
                </a:ext>
              </a:extLst>
            </p:cNvPr>
            <p:cNvSpPr/>
            <p:nvPr/>
          </p:nvSpPr>
          <p:spPr>
            <a:xfrm>
              <a:off x="0" y="0"/>
              <a:ext cx="850451" cy="110461"/>
            </a:xfrm>
            <a:custGeom>
              <a:avLst/>
              <a:gdLst/>
              <a:ahLst/>
              <a:cxnLst/>
              <a:rect l="l" t="t" r="r" b="b"/>
              <a:pathLst>
                <a:path w="850451" h="110461">
                  <a:moveTo>
                    <a:pt x="47952" y="0"/>
                  </a:moveTo>
                  <a:lnTo>
                    <a:pt x="802499" y="0"/>
                  </a:lnTo>
                  <a:cubicBezTo>
                    <a:pt x="815217" y="0"/>
                    <a:pt x="827413" y="5052"/>
                    <a:pt x="836406" y="14045"/>
                  </a:cubicBezTo>
                  <a:cubicBezTo>
                    <a:pt x="845399" y="23037"/>
                    <a:pt x="850451" y="35234"/>
                    <a:pt x="850451" y="47952"/>
                  </a:cubicBezTo>
                  <a:lnTo>
                    <a:pt x="850451" y="62509"/>
                  </a:lnTo>
                  <a:cubicBezTo>
                    <a:pt x="850451" y="88992"/>
                    <a:pt x="828982" y="110461"/>
                    <a:pt x="802499" y="110461"/>
                  </a:cubicBezTo>
                  <a:lnTo>
                    <a:pt x="47952" y="110461"/>
                  </a:lnTo>
                  <a:cubicBezTo>
                    <a:pt x="35234" y="110461"/>
                    <a:pt x="23037" y="105409"/>
                    <a:pt x="14045" y="96416"/>
                  </a:cubicBezTo>
                  <a:cubicBezTo>
                    <a:pt x="5052" y="87424"/>
                    <a:pt x="0" y="75227"/>
                    <a:pt x="0" y="62509"/>
                  </a:cubicBezTo>
                  <a:lnTo>
                    <a:pt x="0" y="47952"/>
                  </a:lnTo>
                  <a:cubicBezTo>
                    <a:pt x="0" y="35234"/>
                    <a:pt x="5052" y="23037"/>
                    <a:pt x="14045" y="14045"/>
                  </a:cubicBezTo>
                  <a:cubicBezTo>
                    <a:pt x="23037" y="5052"/>
                    <a:pt x="35234" y="0"/>
                    <a:pt x="47952" y="0"/>
                  </a:cubicBezTo>
                  <a:close/>
                </a:path>
              </a:pathLst>
            </a:custGeom>
            <a:solidFill>
              <a:srgbClr val="FEEC02"/>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effectLst/>
                <a:uLnTx/>
                <a:uFillTx/>
              </a:endParaRPr>
            </a:p>
          </p:txBody>
        </p:sp>
        <p:sp>
          <p:nvSpPr>
            <p:cNvPr id="83" name="TextBox 30">
              <a:extLst>
                <a:ext uri="{FF2B5EF4-FFF2-40B4-BE49-F238E27FC236}">
                  <a16:creationId xmlns:a16="http://schemas.microsoft.com/office/drawing/2014/main" id="{F226D4DF-5750-6DCE-8899-3F41F1C377A8}"/>
                </a:ext>
              </a:extLst>
            </p:cNvPr>
            <p:cNvSpPr txBox="1"/>
            <p:nvPr/>
          </p:nvSpPr>
          <p:spPr>
            <a:xfrm>
              <a:off x="0" y="-47625"/>
              <a:ext cx="850451" cy="158086"/>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84" name="TextBox 36">
            <a:extLst>
              <a:ext uri="{FF2B5EF4-FFF2-40B4-BE49-F238E27FC236}">
                <a16:creationId xmlns:a16="http://schemas.microsoft.com/office/drawing/2014/main" id="{2840B36A-CFCA-2E66-E9EB-FBE69FDDF82C}"/>
              </a:ext>
            </a:extLst>
          </p:cNvPr>
          <p:cNvSpPr txBox="1"/>
          <p:nvPr/>
        </p:nvSpPr>
        <p:spPr>
          <a:xfrm>
            <a:off x="2394000" y="5316997"/>
            <a:ext cx="4658879" cy="695960"/>
          </a:xfrm>
          <a:prstGeom prst="rect">
            <a:avLst/>
          </a:prstGeom>
        </p:spPr>
        <p:txBody>
          <a:bodyPr wrap="square" lIns="0" tIns="0" rIns="0" bIns="0" rtlCol="0" anchor="t">
            <a:spAutoFit/>
          </a:bodyPr>
          <a:lstStyle/>
          <a:p>
            <a:pPr algn="ctr" defTabSz="914400">
              <a:lnSpc>
                <a:spcPts val="2801"/>
              </a:lnSpc>
              <a:spcBef>
                <a:spcPct val="0"/>
              </a:spcBef>
            </a:pPr>
            <a:r>
              <a:rPr lang="fr-FR" sz="2001">
                <a:latin typeface="Arial Black" panose="020B0A04020102020204" pitchFamily="34" charset="0"/>
                <a:cs typeface="Arial" panose="020B0604020202020204" pitchFamily="34" charset="0"/>
              </a:rPr>
              <a:t>PRÉCISION</a:t>
            </a:r>
            <a:r>
              <a:rPr lang="en-US" sz="2001">
                <a:latin typeface="Arial Black" panose="020B0A04020102020204" pitchFamily="34" charset="0"/>
                <a:cs typeface="Arial" panose="020B0604020202020204" pitchFamily="34" charset="0"/>
              </a:rPr>
              <a:t> SUR LES </a:t>
            </a:r>
          </a:p>
          <a:p>
            <a:pPr algn="ctr" defTabSz="914400">
              <a:lnSpc>
                <a:spcPts val="2801"/>
              </a:lnSpc>
              <a:spcBef>
                <a:spcPct val="0"/>
              </a:spcBef>
            </a:pPr>
            <a:r>
              <a:rPr lang="en-US" sz="2001">
                <a:latin typeface="Arial Black" panose="020B0A04020102020204" pitchFamily="34" charset="0"/>
                <a:cs typeface="Arial" panose="020B0604020202020204" pitchFamily="34" charset="0"/>
              </a:rPr>
              <a:t>R</a:t>
            </a:r>
            <a:r>
              <a:rPr lang="fr-FR" sz="2001">
                <a:latin typeface="Arial Black" panose="020B0A04020102020204" pitchFamily="34" charset="0"/>
                <a:cs typeface="Arial" panose="020B0604020202020204" pitchFamily="34" charset="0"/>
              </a:rPr>
              <a:t>É</a:t>
            </a:r>
            <a:r>
              <a:rPr lang="en-US" sz="2001">
                <a:latin typeface="Arial Black" panose="020B0A04020102020204" pitchFamily="34" charset="0"/>
                <a:cs typeface="Arial" panose="020B0604020202020204" pitchFamily="34" charset="0"/>
              </a:rPr>
              <a:t>SULTATS ET PRODUCTIONS</a:t>
            </a:r>
          </a:p>
        </p:txBody>
      </p:sp>
      <p:sp>
        <p:nvSpPr>
          <p:cNvPr id="85" name="TextBox 37">
            <a:extLst>
              <a:ext uri="{FF2B5EF4-FFF2-40B4-BE49-F238E27FC236}">
                <a16:creationId xmlns:a16="http://schemas.microsoft.com/office/drawing/2014/main" id="{7B7A22BE-4766-EDB5-6DEB-498EE83A79D5}"/>
              </a:ext>
            </a:extLst>
          </p:cNvPr>
          <p:cNvSpPr txBox="1"/>
          <p:nvPr/>
        </p:nvSpPr>
        <p:spPr>
          <a:xfrm>
            <a:off x="2000996" y="6126993"/>
            <a:ext cx="5091103" cy="2585323"/>
          </a:xfrm>
          <a:prstGeom prst="rect">
            <a:avLst/>
          </a:prstGeom>
        </p:spPr>
        <p:txBody>
          <a:bodyPr wrap="square" lIns="0" tIns="0" rIns="0" bIns="0" rtlCol="0" anchor="t">
            <a:spAutoFit/>
          </a:bodyPr>
          <a:lstStyle/>
          <a:p>
            <a:pPr algn="just" defTabSz="914400">
              <a:spcBef>
                <a:spcPct val="0"/>
              </a:spcBef>
            </a:pPr>
            <a:r>
              <a:rPr lang="fr-FR" sz="1400">
                <a:latin typeface="Arial" panose="020B0604020202020204" pitchFamily="34" charset="0"/>
                <a:cs typeface="Arial" panose="020B0604020202020204" pitchFamily="34" charset="0"/>
              </a:rPr>
              <a:t>Il est essentiel de nous fournir une </a:t>
            </a:r>
            <a:r>
              <a:rPr lang="fr-FR" sz="1400" b="1">
                <a:latin typeface="Arial" panose="020B0604020202020204" pitchFamily="34" charset="0"/>
                <a:cs typeface="Arial" panose="020B0604020202020204" pitchFamily="34" charset="0"/>
              </a:rPr>
              <a:t>liste complète des résultats et productions que vous envisagez de réaliser dans le cadre de votre projet.</a:t>
            </a:r>
            <a:r>
              <a:rPr lang="fr-FR" sz="1400">
                <a:latin typeface="Arial" panose="020B0604020202020204" pitchFamily="34" charset="0"/>
                <a:cs typeface="Arial" panose="020B0604020202020204" pitchFamily="34" charset="0"/>
              </a:rPr>
              <a:t>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a:latin typeface="Arial" panose="020B0604020202020204" pitchFamily="34" charset="0"/>
                <a:cs typeface="Arial" panose="020B0604020202020204" pitchFamily="34" charset="0"/>
              </a:rPr>
              <a:t>Cette liste doit être </a:t>
            </a:r>
            <a:r>
              <a:rPr lang="fr-FR" sz="1400" b="1">
                <a:latin typeface="Arial" panose="020B0604020202020204" pitchFamily="34" charset="0"/>
                <a:cs typeface="Arial" panose="020B0604020202020204" pitchFamily="34" charset="0"/>
              </a:rPr>
              <a:t>détaillée et inclure une description claire de chaque production</a:t>
            </a:r>
            <a:r>
              <a:rPr lang="fr-FR" sz="1400">
                <a:latin typeface="Arial" panose="020B0604020202020204" pitchFamily="34" charset="0"/>
                <a:cs typeface="Arial" panose="020B0604020202020204" pitchFamily="34" charset="0"/>
              </a:rPr>
              <a:t>, ainsi que les échéances associées à leur réalisation.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a:latin typeface="Arial" panose="020B0604020202020204" pitchFamily="34" charset="0"/>
                <a:cs typeface="Arial" panose="020B0604020202020204" pitchFamily="34" charset="0"/>
              </a:rPr>
              <a:t>Nous attendons également des </a:t>
            </a:r>
            <a:r>
              <a:rPr lang="fr-FR" sz="1400" b="1">
                <a:latin typeface="Arial" panose="020B0604020202020204" pitchFamily="34" charset="0"/>
                <a:cs typeface="Arial" panose="020B0604020202020204" pitchFamily="34" charset="0"/>
              </a:rPr>
              <a:t>informations sur la manière dont ces résultats seront mesurés et évalués</a:t>
            </a:r>
            <a:r>
              <a:rPr lang="fr-FR" sz="1400">
                <a:latin typeface="Arial" panose="020B0604020202020204" pitchFamily="34" charset="0"/>
                <a:cs typeface="Arial" panose="020B0604020202020204" pitchFamily="34" charset="0"/>
              </a:rPr>
              <a:t>, démontrant ainsi votre engagement envers la qualité et l'efficacité du projet présenté.</a:t>
            </a:r>
            <a:endParaRPr lang="en-US" sz="1400">
              <a:latin typeface="Arial" panose="020B0604020202020204" pitchFamily="34" charset="0"/>
              <a:cs typeface="Arial" panose="020B0604020202020204" pitchFamily="34" charset="0"/>
            </a:endParaRPr>
          </a:p>
        </p:txBody>
      </p:sp>
      <p:grpSp>
        <p:nvGrpSpPr>
          <p:cNvPr id="86" name="Group 25">
            <a:extLst>
              <a:ext uri="{FF2B5EF4-FFF2-40B4-BE49-F238E27FC236}">
                <a16:creationId xmlns:a16="http://schemas.microsoft.com/office/drawing/2014/main" id="{25B256A7-9D37-93E5-F732-675E253D7ED3}"/>
              </a:ext>
            </a:extLst>
          </p:cNvPr>
          <p:cNvGrpSpPr/>
          <p:nvPr/>
        </p:nvGrpSpPr>
        <p:grpSpPr>
          <a:xfrm>
            <a:off x="8396912" y="5630511"/>
            <a:ext cx="5465088" cy="3055874"/>
            <a:chOff x="0" y="0"/>
            <a:chExt cx="1113831" cy="595238"/>
          </a:xfrm>
        </p:grpSpPr>
        <p:sp>
          <p:nvSpPr>
            <p:cNvPr id="87" name="Freeform 26">
              <a:extLst>
                <a:ext uri="{FF2B5EF4-FFF2-40B4-BE49-F238E27FC236}">
                  <a16:creationId xmlns:a16="http://schemas.microsoft.com/office/drawing/2014/main" id="{CA3D1875-1E00-B2E6-A175-B15BB1E5AE33}"/>
                </a:ext>
              </a:extLst>
            </p:cNvPr>
            <p:cNvSpPr/>
            <p:nvPr/>
          </p:nvSpPr>
          <p:spPr>
            <a:xfrm>
              <a:off x="0" y="0"/>
              <a:ext cx="1113831" cy="595238"/>
            </a:xfrm>
            <a:custGeom>
              <a:avLst/>
              <a:gdLst/>
              <a:ahLst/>
              <a:cxnLst/>
              <a:rect l="l" t="t" r="r" b="b"/>
              <a:pathLst>
                <a:path w="1113831" h="595238">
                  <a:moveTo>
                    <a:pt x="36613" y="0"/>
                  </a:moveTo>
                  <a:lnTo>
                    <a:pt x="1077218" y="0"/>
                  </a:lnTo>
                  <a:cubicBezTo>
                    <a:pt x="1097439" y="0"/>
                    <a:pt x="1113831" y="16392"/>
                    <a:pt x="1113831" y="36613"/>
                  </a:cubicBezTo>
                  <a:lnTo>
                    <a:pt x="1113831" y="558625"/>
                  </a:lnTo>
                  <a:cubicBezTo>
                    <a:pt x="1113831" y="578846"/>
                    <a:pt x="1097439" y="595238"/>
                    <a:pt x="1077218" y="595238"/>
                  </a:cubicBezTo>
                  <a:lnTo>
                    <a:pt x="36613" y="595238"/>
                  </a:lnTo>
                  <a:cubicBezTo>
                    <a:pt x="16392" y="595238"/>
                    <a:pt x="0" y="578846"/>
                    <a:pt x="0" y="558625"/>
                  </a:cubicBezTo>
                  <a:lnTo>
                    <a:pt x="0" y="36613"/>
                  </a:lnTo>
                  <a:cubicBezTo>
                    <a:pt x="0" y="16392"/>
                    <a:pt x="16392" y="0"/>
                    <a:pt x="36613" y="0"/>
                  </a:cubicBezTo>
                  <a:close/>
                </a:path>
              </a:pathLst>
            </a:custGeom>
            <a:solidFill>
              <a:schemeClr val="bg1">
                <a:lumMod val="95000"/>
              </a:schemeClr>
            </a:solidFill>
            <a:ln cap="sq">
              <a:noFill/>
              <a:prstDash val="solid"/>
              <a:mite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8" name="TextBox 27">
              <a:extLst>
                <a:ext uri="{FF2B5EF4-FFF2-40B4-BE49-F238E27FC236}">
                  <a16:creationId xmlns:a16="http://schemas.microsoft.com/office/drawing/2014/main" id="{1A340CF3-5001-1F1A-77CC-F37B38663155}"/>
                </a:ext>
              </a:extLst>
            </p:cNvPr>
            <p:cNvSpPr txBox="1"/>
            <p:nvPr/>
          </p:nvSpPr>
          <p:spPr>
            <a:xfrm>
              <a:off x="0" y="-47625"/>
              <a:ext cx="1113831" cy="642863"/>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grpSp>
        <p:nvGrpSpPr>
          <p:cNvPr id="89" name="Group 28">
            <a:extLst>
              <a:ext uri="{FF2B5EF4-FFF2-40B4-BE49-F238E27FC236}">
                <a16:creationId xmlns:a16="http://schemas.microsoft.com/office/drawing/2014/main" id="{C48A42ED-46EA-259E-320A-F60D4F05C898}"/>
              </a:ext>
            </a:extLst>
          </p:cNvPr>
          <p:cNvGrpSpPr/>
          <p:nvPr/>
        </p:nvGrpSpPr>
        <p:grpSpPr>
          <a:xfrm>
            <a:off x="8896923" y="5420807"/>
            <a:ext cx="4474746" cy="518253"/>
            <a:chOff x="0" y="0"/>
            <a:chExt cx="850451" cy="110461"/>
          </a:xfrm>
        </p:grpSpPr>
        <p:sp>
          <p:nvSpPr>
            <p:cNvPr id="90" name="Freeform 29">
              <a:extLst>
                <a:ext uri="{FF2B5EF4-FFF2-40B4-BE49-F238E27FC236}">
                  <a16:creationId xmlns:a16="http://schemas.microsoft.com/office/drawing/2014/main" id="{329A0E97-5D66-C571-4F59-8E55A1303737}"/>
                </a:ext>
              </a:extLst>
            </p:cNvPr>
            <p:cNvSpPr/>
            <p:nvPr/>
          </p:nvSpPr>
          <p:spPr>
            <a:xfrm>
              <a:off x="0" y="0"/>
              <a:ext cx="850451" cy="110461"/>
            </a:xfrm>
            <a:custGeom>
              <a:avLst/>
              <a:gdLst/>
              <a:ahLst/>
              <a:cxnLst/>
              <a:rect l="l" t="t" r="r" b="b"/>
              <a:pathLst>
                <a:path w="850451" h="110461">
                  <a:moveTo>
                    <a:pt x="47952" y="0"/>
                  </a:moveTo>
                  <a:lnTo>
                    <a:pt x="802499" y="0"/>
                  </a:lnTo>
                  <a:cubicBezTo>
                    <a:pt x="815217" y="0"/>
                    <a:pt x="827413" y="5052"/>
                    <a:pt x="836406" y="14045"/>
                  </a:cubicBezTo>
                  <a:cubicBezTo>
                    <a:pt x="845399" y="23037"/>
                    <a:pt x="850451" y="35234"/>
                    <a:pt x="850451" y="47952"/>
                  </a:cubicBezTo>
                  <a:lnTo>
                    <a:pt x="850451" y="62509"/>
                  </a:lnTo>
                  <a:cubicBezTo>
                    <a:pt x="850451" y="88992"/>
                    <a:pt x="828982" y="110461"/>
                    <a:pt x="802499" y="110461"/>
                  </a:cubicBezTo>
                  <a:lnTo>
                    <a:pt x="47952" y="110461"/>
                  </a:lnTo>
                  <a:cubicBezTo>
                    <a:pt x="35234" y="110461"/>
                    <a:pt x="23037" y="105409"/>
                    <a:pt x="14045" y="96416"/>
                  </a:cubicBezTo>
                  <a:cubicBezTo>
                    <a:pt x="5052" y="87424"/>
                    <a:pt x="0" y="75227"/>
                    <a:pt x="0" y="62509"/>
                  </a:cubicBezTo>
                  <a:lnTo>
                    <a:pt x="0" y="47952"/>
                  </a:lnTo>
                  <a:cubicBezTo>
                    <a:pt x="0" y="35234"/>
                    <a:pt x="5052" y="23037"/>
                    <a:pt x="14045" y="14045"/>
                  </a:cubicBezTo>
                  <a:cubicBezTo>
                    <a:pt x="23037" y="5052"/>
                    <a:pt x="35234" y="0"/>
                    <a:pt x="47952" y="0"/>
                  </a:cubicBezTo>
                  <a:close/>
                </a:path>
              </a:pathLst>
            </a:custGeom>
            <a:solidFill>
              <a:srgbClr val="FEEC02"/>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effectLst/>
                <a:uLnTx/>
                <a:uFillTx/>
              </a:endParaRPr>
            </a:p>
          </p:txBody>
        </p:sp>
        <p:sp>
          <p:nvSpPr>
            <p:cNvPr id="91" name="TextBox 30">
              <a:extLst>
                <a:ext uri="{FF2B5EF4-FFF2-40B4-BE49-F238E27FC236}">
                  <a16:creationId xmlns:a16="http://schemas.microsoft.com/office/drawing/2014/main" id="{52F2E48E-3B1E-B870-5F0D-6AE8B52B0B30}"/>
                </a:ext>
              </a:extLst>
            </p:cNvPr>
            <p:cNvSpPr txBox="1"/>
            <p:nvPr/>
          </p:nvSpPr>
          <p:spPr>
            <a:xfrm>
              <a:off x="0" y="-47625"/>
              <a:ext cx="850451" cy="158086"/>
            </a:xfrm>
            <a:prstGeom prst="rect">
              <a:avLst/>
            </a:prstGeom>
          </p:spPr>
          <p:txBody>
            <a:bodyPr lIns="50800" tIns="50800" rIns="50800" bIns="50800" rtlCol="0" anchor="ctr"/>
            <a:lstStyle/>
            <a:p>
              <a:pPr marL="0" marR="0" lvl="0" indent="0" algn="ctr" defTabSz="914400" eaLnBrk="1" fontAlgn="auto" latinLnBrk="0" hangingPunct="1">
                <a:lnSpc>
                  <a:spcPts val="2659"/>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endParaRPr>
            </a:p>
          </p:txBody>
        </p:sp>
      </p:grpSp>
      <p:sp>
        <p:nvSpPr>
          <p:cNvPr id="92" name="TextBox 36">
            <a:extLst>
              <a:ext uri="{FF2B5EF4-FFF2-40B4-BE49-F238E27FC236}">
                <a16:creationId xmlns:a16="http://schemas.microsoft.com/office/drawing/2014/main" id="{6A6A848F-91CA-7AD1-C4F7-6C91A91F410A}"/>
              </a:ext>
            </a:extLst>
          </p:cNvPr>
          <p:cNvSpPr txBox="1"/>
          <p:nvPr/>
        </p:nvSpPr>
        <p:spPr>
          <a:xfrm>
            <a:off x="8494764" y="5330147"/>
            <a:ext cx="5285051" cy="695960"/>
          </a:xfrm>
          <a:prstGeom prst="rect">
            <a:avLst/>
          </a:prstGeom>
        </p:spPr>
        <p:txBody>
          <a:bodyPr wrap="square" lIns="0" tIns="0" rIns="0" bIns="0" rtlCol="0" anchor="t">
            <a:spAutoFit/>
          </a:bodyPr>
          <a:lstStyle/>
          <a:p>
            <a:pPr algn="ctr" defTabSz="914400">
              <a:lnSpc>
                <a:spcPts val="2801"/>
              </a:lnSpc>
              <a:spcBef>
                <a:spcPct val="0"/>
              </a:spcBef>
            </a:pPr>
            <a:r>
              <a:rPr lang="en-US" sz="2001">
                <a:latin typeface="Arial Black" panose="020B0A04020102020204" pitchFamily="34" charset="0"/>
                <a:cs typeface="Arial" panose="020B0604020202020204" pitchFamily="34" charset="0"/>
              </a:rPr>
              <a:t>ENGAGEMENT SUR LA VALORISATION ET L’ESSAIMAGE</a:t>
            </a:r>
          </a:p>
        </p:txBody>
      </p:sp>
      <p:sp>
        <p:nvSpPr>
          <p:cNvPr id="93" name="TextBox 37">
            <a:extLst>
              <a:ext uri="{FF2B5EF4-FFF2-40B4-BE49-F238E27FC236}">
                <a16:creationId xmlns:a16="http://schemas.microsoft.com/office/drawing/2014/main" id="{0E6B2ED6-C471-87F7-E23F-1AFC3D1577BB}"/>
              </a:ext>
            </a:extLst>
          </p:cNvPr>
          <p:cNvSpPr txBox="1"/>
          <p:nvPr/>
        </p:nvSpPr>
        <p:spPr>
          <a:xfrm>
            <a:off x="8591739" y="6126993"/>
            <a:ext cx="5091103" cy="2585323"/>
          </a:xfrm>
          <a:prstGeom prst="rect">
            <a:avLst/>
          </a:prstGeom>
        </p:spPr>
        <p:txBody>
          <a:bodyPr wrap="square" lIns="0" tIns="0" rIns="0" bIns="0" rtlCol="0" anchor="t">
            <a:spAutoFit/>
          </a:bodyPr>
          <a:lstStyle/>
          <a:p>
            <a:pPr algn="just" defTabSz="914400">
              <a:spcBef>
                <a:spcPct val="0"/>
              </a:spcBef>
            </a:pPr>
            <a:r>
              <a:rPr lang="fr-FR" sz="1400">
                <a:latin typeface="Arial" panose="020B0604020202020204" pitchFamily="34" charset="0"/>
                <a:cs typeface="Arial" panose="020B0604020202020204" pitchFamily="34" charset="0"/>
              </a:rPr>
              <a:t>Il est impératif de </a:t>
            </a:r>
            <a:r>
              <a:rPr lang="fr-FR" sz="1400" b="1">
                <a:latin typeface="Arial" panose="020B0604020202020204" pitchFamily="34" charset="0"/>
                <a:cs typeface="Arial" panose="020B0604020202020204" pitchFamily="34" charset="0"/>
              </a:rPr>
              <a:t>prévoir une démarche d'essaimage des productions réalisées </a:t>
            </a:r>
            <a:r>
              <a:rPr lang="fr-FR" sz="1400">
                <a:latin typeface="Arial" panose="020B0604020202020204" pitchFamily="34" charset="0"/>
                <a:cs typeface="Arial" panose="020B0604020202020204" pitchFamily="34" charset="0"/>
              </a:rPr>
              <a:t>dans le cadre du projet mené. L'essaimage permet de favoriser une plus grande appropriation des résultats par le public cible. Cf </a:t>
            </a:r>
            <a:r>
              <a:rPr lang="fr-FR" sz="1400">
                <a:latin typeface="Arial" panose="020B0604020202020204" pitchFamily="34" charset="0"/>
                <a:cs typeface="Arial" panose="020B0604020202020204" pitchFamily="34" charset="0"/>
                <a:hlinkClick r:id="rId3"/>
              </a:rPr>
              <a:t>https://www.appels-a-projets-cccabtp.fr/projets-realises</a:t>
            </a:r>
            <a:endParaRPr lang="fr-FR" sz="1400">
              <a:latin typeface="Arial" panose="020B0604020202020204" pitchFamily="34" charset="0"/>
              <a:cs typeface="Arial" panose="020B0604020202020204" pitchFamily="34" charset="0"/>
            </a:endParaRP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a:latin typeface="Arial" panose="020B0604020202020204" pitchFamily="34" charset="0"/>
                <a:cs typeface="Arial" panose="020B0604020202020204" pitchFamily="34" charset="0"/>
              </a:rPr>
              <a:t>Une étape incontournable de cette stratégie d'essaimage est notamment </a:t>
            </a:r>
            <a:r>
              <a:rPr lang="fr-FR" sz="1400" b="1">
                <a:latin typeface="Arial" panose="020B0604020202020204" pitchFamily="34" charset="0"/>
                <a:cs typeface="Arial" panose="020B0604020202020204" pitchFamily="34" charset="0"/>
              </a:rPr>
              <a:t>la participation obligatoire au tournage de valorisation organisé par le CCCA-BTP</a:t>
            </a:r>
            <a:r>
              <a:rPr lang="fr-FR" sz="1400">
                <a:latin typeface="Arial" panose="020B0604020202020204" pitchFamily="34" charset="0"/>
                <a:cs typeface="Arial" panose="020B0604020202020204" pitchFamily="34" charset="0"/>
              </a:rPr>
              <a:t>. Ainsi, les porteurs de projets contribuent à </a:t>
            </a:r>
            <a:r>
              <a:rPr lang="fr-FR" sz="1400" b="1">
                <a:latin typeface="Arial" panose="020B0604020202020204" pitchFamily="34" charset="0"/>
                <a:cs typeface="Arial" panose="020B0604020202020204" pitchFamily="34" charset="0"/>
              </a:rPr>
              <a:t>promouvoir l'innovation, à susciter l'intérêt des parties prenantes et à assurer la continuité des bénéfices de leur projet </a:t>
            </a:r>
            <a:r>
              <a:rPr lang="fr-FR" sz="1400">
                <a:latin typeface="Arial" panose="020B0604020202020204" pitchFamily="34" charset="0"/>
                <a:cs typeface="Arial" panose="020B0604020202020204" pitchFamily="34" charset="0"/>
              </a:rPr>
              <a:t>au-delà de sa réalisation.</a:t>
            </a:r>
            <a:endParaRPr lang="en-US" sz="1400">
              <a:latin typeface="Arial" panose="020B0604020202020204" pitchFamily="34" charset="0"/>
              <a:cs typeface="Arial" panose="020B0604020202020204" pitchFamily="34" charset="0"/>
            </a:endParaRPr>
          </a:p>
        </p:txBody>
      </p:sp>
      <p:sp>
        <p:nvSpPr>
          <p:cNvPr id="94" name="TextBox 37">
            <a:extLst>
              <a:ext uri="{FF2B5EF4-FFF2-40B4-BE49-F238E27FC236}">
                <a16:creationId xmlns:a16="http://schemas.microsoft.com/office/drawing/2014/main" id="{1A7A784B-B9A7-8216-3379-282691C3D703}"/>
              </a:ext>
            </a:extLst>
          </p:cNvPr>
          <p:cNvSpPr txBox="1"/>
          <p:nvPr/>
        </p:nvSpPr>
        <p:spPr>
          <a:xfrm>
            <a:off x="8583904" y="2312893"/>
            <a:ext cx="5090400" cy="3016210"/>
          </a:xfrm>
          <a:prstGeom prst="rect">
            <a:avLst/>
          </a:prstGeom>
        </p:spPr>
        <p:txBody>
          <a:bodyPr wrap="square" lIns="0" tIns="0" rIns="0" bIns="0" rtlCol="0" anchor="t">
            <a:spAutoFit/>
          </a:bodyPr>
          <a:lstStyle/>
          <a:p>
            <a:pPr algn="just" defTabSz="914400">
              <a:spcBef>
                <a:spcPct val="0"/>
              </a:spcBef>
            </a:pPr>
            <a:r>
              <a:rPr lang="fr-FR" sz="1400">
                <a:latin typeface="Arial" panose="020B0604020202020204" pitchFamily="34" charset="0"/>
                <a:cs typeface="Arial" panose="020B0604020202020204" pitchFamily="34" charset="0"/>
              </a:rPr>
              <a:t> Nous insistons sur l'importance de </a:t>
            </a:r>
            <a:r>
              <a:rPr lang="fr-FR" sz="1400" b="1">
                <a:latin typeface="Arial" panose="020B0604020202020204" pitchFamily="34" charset="0"/>
                <a:cs typeface="Arial" panose="020B0604020202020204" pitchFamily="34" charset="0"/>
              </a:rPr>
              <a:t>nous fournir des indicateurs d'impacts complets et étayés par des éléments contextualisés (point de départ et objectifs, évolution, argumentation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a:latin typeface="Arial" panose="020B0604020202020204" pitchFamily="34" charset="0"/>
                <a:cs typeface="Arial" panose="020B0604020202020204" pitchFamily="34" charset="0"/>
              </a:rPr>
              <a:t>Veiller à nous  </a:t>
            </a:r>
            <a:r>
              <a:rPr lang="fr-FR" sz="1400" b="1">
                <a:latin typeface="Arial" panose="020B0604020202020204" pitchFamily="34" charset="0"/>
                <a:cs typeface="Arial" panose="020B0604020202020204" pitchFamily="34" charset="0"/>
              </a:rPr>
              <a:t>fournir des chiffres concrets sur des aspects tels que les retombées économiques, sociales, environnementales</a:t>
            </a:r>
            <a:r>
              <a:rPr lang="fr-FR" sz="1400">
                <a:latin typeface="Arial" panose="020B0604020202020204" pitchFamily="34" charset="0"/>
                <a:cs typeface="Arial" panose="020B0604020202020204" pitchFamily="34" charset="0"/>
              </a:rPr>
              <a:t>, et tout autre élément pertinent pour votre domaine d'intervention </a:t>
            </a:r>
          </a:p>
          <a:p>
            <a:pPr algn="just" defTabSz="914400">
              <a:spcBef>
                <a:spcPct val="0"/>
              </a:spcBef>
            </a:pPr>
            <a:endParaRPr lang="fr-FR" sz="1400">
              <a:latin typeface="Arial" panose="020B0604020202020204" pitchFamily="34" charset="0"/>
              <a:cs typeface="Arial" panose="020B0604020202020204" pitchFamily="34" charset="0"/>
            </a:endParaRPr>
          </a:p>
          <a:p>
            <a:pPr algn="just" defTabSz="914400">
              <a:spcBef>
                <a:spcPct val="0"/>
              </a:spcBef>
            </a:pPr>
            <a:r>
              <a:rPr lang="fr-FR" sz="1400" b="1">
                <a:latin typeface="Arial" panose="020B0604020202020204" pitchFamily="34" charset="0"/>
                <a:cs typeface="Arial" panose="020B0604020202020204" pitchFamily="34" charset="0"/>
              </a:rPr>
              <a:t>Cette analyse d'impact constitue un élément clé dans notre processus d'évaluation</a:t>
            </a:r>
            <a:r>
              <a:rPr lang="fr-FR" sz="1400">
                <a:latin typeface="Arial" panose="020B0604020202020204" pitchFamily="34" charset="0"/>
                <a:cs typeface="Arial" panose="020B0604020202020204" pitchFamily="34" charset="0"/>
              </a:rPr>
              <a:t> car elle nous permet d'appréhender la portée réelle de votre projet et son potentiel à générer des impacts positifs. </a:t>
            </a:r>
            <a:endParaRPr lang="en-US" sz="16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50A1BC5A-7F8B-EE78-0952-1325CD527496}"/>
              </a:ext>
            </a:extLst>
          </p:cNvPr>
          <p:cNvSpPr/>
          <p:nvPr/>
        </p:nvSpPr>
        <p:spPr>
          <a:xfrm>
            <a:off x="14511206"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757FB414-59A1-EC6B-6B00-44DF02B573DC}"/>
              </a:ext>
            </a:extLst>
          </p:cNvPr>
          <p:cNvPicPr>
            <a:picLocks noChangeAspect="1"/>
          </p:cNvPicPr>
          <p:nvPr/>
        </p:nvPicPr>
        <p:blipFill>
          <a:blip r:embed="rId4"/>
          <a:stretch>
            <a:fillRect/>
          </a:stretch>
        </p:blipFill>
        <p:spPr>
          <a:xfrm>
            <a:off x="14624002" y="349312"/>
            <a:ext cx="1403137" cy="746758"/>
          </a:xfrm>
          <a:prstGeom prst="rect">
            <a:avLst/>
          </a:prstGeom>
        </p:spPr>
      </p:pic>
    </p:spTree>
    <p:extLst>
      <p:ext uri="{BB962C8B-B14F-4D97-AF65-F5344CB8AC3E}">
        <p14:creationId xmlns:p14="http://schemas.microsoft.com/office/powerpoint/2010/main" val="41650179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Rectangle 115">
            <a:extLst>
              <a:ext uri="{FF2B5EF4-FFF2-40B4-BE49-F238E27FC236}">
                <a16:creationId xmlns:a16="http://schemas.microsoft.com/office/drawing/2014/main" id="{F7F6F1C5-CC2F-01D1-F771-D66BE10D0078}"/>
              </a:ext>
            </a:extLst>
          </p:cNvPr>
          <p:cNvSpPr/>
          <p:nvPr/>
        </p:nvSpPr>
        <p:spPr>
          <a:xfrm flipV="1">
            <a:off x="2410572" y="8095262"/>
            <a:ext cx="1862717" cy="209246"/>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le 2">
            <a:extLst>
              <a:ext uri="{FF2B5EF4-FFF2-40B4-BE49-F238E27FC236}">
                <a16:creationId xmlns:a16="http://schemas.microsoft.com/office/drawing/2014/main" id="{986B2772-89FC-9850-2FBC-AC066750A3AA}"/>
              </a:ext>
            </a:extLst>
          </p:cNvPr>
          <p:cNvSpPr>
            <a:spLocks noGrp="1"/>
          </p:cNvSpPr>
          <p:nvPr>
            <p:ph type="title"/>
          </p:nvPr>
        </p:nvSpPr>
        <p:spPr>
          <a:xfrm>
            <a:off x="1667003" y="447605"/>
            <a:ext cx="12088497" cy="535531"/>
          </a:xfrm>
        </p:spPr>
        <p:txBody>
          <a:bodyPr/>
          <a:lstStyle/>
          <a:p>
            <a:r>
              <a:rPr lang="fr-FR" sz="3200">
                <a:solidFill>
                  <a:schemeClr val="tx1"/>
                </a:solidFill>
                <a:latin typeface="Arial Black"/>
              </a:rPr>
              <a:t>Processus de sélection des projets</a:t>
            </a:r>
            <a:endParaRPr lang="fr-FR" sz="3200">
              <a:solidFill>
                <a:schemeClr val="tx1"/>
              </a:solidFill>
              <a:latin typeface="Arial Black" panose="020B0A04020102020204" pitchFamily="34" charset="0"/>
            </a:endParaRPr>
          </a:p>
        </p:txBody>
      </p:sp>
      <p:sp>
        <p:nvSpPr>
          <p:cNvPr id="105" name="Espace réservé du numéro de diapositive 2">
            <a:extLst>
              <a:ext uri="{FF2B5EF4-FFF2-40B4-BE49-F238E27FC236}">
                <a16:creationId xmlns:a16="http://schemas.microsoft.com/office/drawing/2014/main" id="{DDF077D6-6D2B-B838-1F18-C7A9DC9BD0B8}"/>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19</a:t>
            </a:fld>
            <a:endParaRPr lang="fr-FR" sz="1400">
              <a:solidFill>
                <a:prstClr val="black"/>
              </a:solidFill>
              <a:latin typeface="Calibri"/>
            </a:endParaRPr>
          </a:p>
        </p:txBody>
      </p:sp>
      <p:grpSp>
        <p:nvGrpSpPr>
          <p:cNvPr id="113" name="Groupe 112">
            <a:extLst>
              <a:ext uri="{FF2B5EF4-FFF2-40B4-BE49-F238E27FC236}">
                <a16:creationId xmlns:a16="http://schemas.microsoft.com/office/drawing/2014/main" id="{0CF3235D-1EEB-4F7C-E89F-85E668666E8C}"/>
              </a:ext>
            </a:extLst>
          </p:cNvPr>
          <p:cNvGrpSpPr/>
          <p:nvPr/>
        </p:nvGrpSpPr>
        <p:grpSpPr>
          <a:xfrm>
            <a:off x="-18397" y="3352313"/>
            <a:ext cx="16274397" cy="4587144"/>
            <a:chOff x="-18397" y="2583055"/>
            <a:chExt cx="16274397" cy="4587144"/>
          </a:xfrm>
        </p:grpSpPr>
        <p:sp>
          <p:nvSpPr>
            <p:cNvPr id="82" name="Rectangle 81">
              <a:extLst>
                <a:ext uri="{FF2B5EF4-FFF2-40B4-BE49-F238E27FC236}">
                  <a16:creationId xmlns:a16="http://schemas.microsoft.com/office/drawing/2014/main" id="{DE7A4D21-C162-C442-CA57-D5023D603F23}"/>
                </a:ext>
              </a:extLst>
            </p:cNvPr>
            <p:cNvSpPr/>
            <p:nvPr/>
          </p:nvSpPr>
          <p:spPr>
            <a:xfrm>
              <a:off x="0" y="2583056"/>
              <a:ext cx="16256000" cy="1763766"/>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4" name="Rectangle 83">
              <a:extLst>
                <a:ext uri="{FF2B5EF4-FFF2-40B4-BE49-F238E27FC236}">
                  <a16:creationId xmlns:a16="http://schemas.microsoft.com/office/drawing/2014/main" id="{C1B872B6-2FCD-C616-4C58-3376C1AC0959}"/>
                </a:ext>
              </a:extLst>
            </p:cNvPr>
            <p:cNvSpPr/>
            <p:nvPr/>
          </p:nvSpPr>
          <p:spPr>
            <a:xfrm>
              <a:off x="-18397" y="4797179"/>
              <a:ext cx="16256000" cy="237302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6" name="Connecteur droit avec flèche 85">
              <a:extLst>
                <a:ext uri="{FF2B5EF4-FFF2-40B4-BE49-F238E27FC236}">
                  <a16:creationId xmlns:a16="http://schemas.microsoft.com/office/drawing/2014/main" id="{379B0830-5873-575F-8F16-B6B9691D801F}"/>
                </a:ext>
              </a:extLst>
            </p:cNvPr>
            <p:cNvCxnSpPr/>
            <p:nvPr/>
          </p:nvCxnSpPr>
          <p:spPr>
            <a:xfrm>
              <a:off x="0" y="4542971"/>
              <a:ext cx="16237603" cy="580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Ellipse 86">
              <a:extLst>
                <a:ext uri="{FF2B5EF4-FFF2-40B4-BE49-F238E27FC236}">
                  <a16:creationId xmlns:a16="http://schemas.microsoft.com/office/drawing/2014/main" id="{22467B43-14A0-A3F9-007F-6290DA68DD6B}"/>
                </a:ext>
              </a:extLst>
            </p:cNvPr>
            <p:cNvSpPr/>
            <p:nvPr/>
          </p:nvSpPr>
          <p:spPr>
            <a:xfrm>
              <a:off x="1045028" y="4343401"/>
              <a:ext cx="464457" cy="457200"/>
            </a:xfrm>
            <a:prstGeom prst="ellipse">
              <a:avLst/>
            </a:prstGeom>
            <a:solidFill>
              <a:srgbClr val="FEEC0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8" name="ZoneTexte 87">
              <a:extLst>
                <a:ext uri="{FF2B5EF4-FFF2-40B4-BE49-F238E27FC236}">
                  <a16:creationId xmlns:a16="http://schemas.microsoft.com/office/drawing/2014/main" id="{5F53CAEA-6A09-FB7E-EE42-C5AB07893061}"/>
                </a:ext>
              </a:extLst>
            </p:cNvPr>
            <p:cNvSpPr txBox="1"/>
            <p:nvPr/>
          </p:nvSpPr>
          <p:spPr>
            <a:xfrm>
              <a:off x="25863" y="3046414"/>
              <a:ext cx="2520000"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épôt </a:t>
              </a:r>
            </a:p>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u dossier sur la plateforme</a:t>
              </a:r>
            </a:p>
          </p:txBody>
        </p:sp>
        <p:sp>
          <p:nvSpPr>
            <p:cNvPr id="89" name="ZoneTexte 88">
              <a:extLst>
                <a:ext uri="{FF2B5EF4-FFF2-40B4-BE49-F238E27FC236}">
                  <a16:creationId xmlns:a16="http://schemas.microsoft.com/office/drawing/2014/main" id="{E26F44E9-88BD-9EBE-555C-790E903E4703}"/>
                </a:ext>
              </a:extLst>
            </p:cNvPr>
            <p:cNvSpPr txBox="1"/>
            <p:nvPr/>
          </p:nvSpPr>
          <p:spPr>
            <a:xfrm>
              <a:off x="1927501" y="5145160"/>
              <a:ext cx="1800000" cy="1077218"/>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Analyse de la recevabilité et l’éligibilité </a:t>
              </a:r>
              <a:r>
                <a:rPr lang="fr-FR" sz="1600" spc="-3">
                  <a:latin typeface="Arial" panose="020B0604020202020204" pitchFamily="34" charset="0"/>
                  <a:cs typeface="Arial" panose="020B0604020202020204" pitchFamily="34" charset="0"/>
                </a:rPr>
                <a:t>du dossier</a:t>
              </a:r>
              <a:endParaRPr lang="fr-FR" sz="1600" b="1" spc="-3">
                <a:latin typeface="Arial" panose="020B0604020202020204" pitchFamily="34" charset="0"/>
                <a:cs typeface="Arial" panose="020B0604020202020204" pitchFamily="34" charset="0"/>
              </a:endParaRPr>
            </a:p>
          </p:txBody>
        </p:sp>
        <p:sp>
          <p:nvSpPr>
            <p:cNvPr id="90" name="Ellipse 89">
              <a:extLst>
                <a:ext uri="{FF2B5EF4-FFF2-40B4-BE49-F238E27FC236}">
                  <a16:creationId xmlns:a16="http://schemas.microsoft.com/office/drawing/2014/main" id="{76ED2C0E-AC57-2C1A-C0D1-3E53F73359FC}"/>
                </a:ext>
              </a:extLst>
            </p:cNvPr>
            <p:cNvSpPr/>
            <p:nvPr/>
          </p:nvSpPr>
          <p:spPr>
            <a:xfrm>
              <a:off x="2545863" y="4352980"/>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1" name="ZoneTexte 90">
              <a:extLst>
                <a:ext uri="{FF2B5EF4-FFF2-40B4-BE49-F238E27FC236}">
                  <a16:creationId xmlns:a16="http://schemas.microsoft.com/office/drawing/2014/main" id="{F7E09446-885B-0C33-9A16-1CAD524119BB}"/>
                </a:ext>
              </a:extLst>
            </p:cNvPr>
            <p:cNvSpPr txBox="1"/>
            <p:nvPr/>
          </p:nvSpPr>
          <p:spPr>
            <a:xfrm>
              <a:off x="6723100" y="5140406"/>
              <a:ext cx="1800000" cy="1323439"/>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Echanges en commission de présélection </a:t>
              </a:r>
              <a:r>
                <a:rPr lang="fr-FR" sz="1600" spc="-3">
                  <a:latin typeface="Arial" panose="020B0604020202020204" pitchFamily="34" charset="0"/>
                  <a:cs typeface="Arial" panose="020B0604020202020204" pitchFamily="34" charset="0"/>
                </a:rPr>
                <a:t>pour les dossiers posant questions</a:t>
              </a:r>
              <a:endParaRPr lang="fr-FR" sz="1600" b="1" spc="-3">
                <a:latin typeface="Arial" panose="020B0604020202020204" pitchFamily="34" charset="0"/>
                <a:cs typeface="Arial" panose="020B0604020202020204" pitchFamily="34" charset="0"/>
              </a:endParaRPr>
            </a:p>
          </p:txBody>
        </p:sp>
        <p:sp>
          <p:nvSpPr>
            <p:cNvPr id="92" name="Ellipse 91">
              <a:extLst>
                <a:ext uri="{FF2B5EF4-FFF2-40B4-BE49-F238E27FC236}">
                  <a16:creationId xmlns:a16="http://schemas.microsoft.com/office/drawing/2014/main" id="{F2A2D59A-3F39-1FAC-7A55-35D59AB86B24}"/>
                </a:ext>
              </a:extLst>
            </p:cNvPr>
            <p:cNvSpPr/>
            <p:nvPr/>
          </p:nvSpPr>
          <p:spPr>
            <a:xfrm>
              <a:off x="5518304"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7" name="ZoneTexte 96">
              <a:extLst>
                <a:ext uri="{FF2B5EF4-FFF2-40B4-BE49-F238E27FC236}">
                  <a16:creationId xmlns:a16="http://schemas.microsoft.com/office/drawing/2014/main" id="{1D2C77DA-DE29-5525-2D77-F8F0C655EF03}"/>
                </a:ext>
              </a:extLst>
            </p:cNvPr>
            <p:cNvSpPr txBox="1"/>
            <p:nvPr/>
          </p:nvSpPr>
          <p:spPr>
            <a:xfrm>
              <a:off x="9556037" y="5108096"/>
              <a:ext cx="1800000" cy="2062103"/>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Présentation d’un dossier exhaustif en GTP </a:t>
              </a:r>
            </a:p>
            <a:p>
              <a:pPr marR="0" lvl="0" algn="ctr" defTabSz="1219215" rtl="0" eaLnBrk="1" fontAlgn="auto" latinLnBrk="0" hangingPunct="1">
                <a:spcAft>
                  <a:spcPts val="0"/>
                </a:spcAft>
                <a:buClr>
                  <a:srgbClr val="800000"/>
                </a:buClr>
                <a:buSzPct val="80000"/>
                <a:tabLst/>
                <a:defRPr/>
              </a:pPr>
              <a:r>
                <a:rPr lang="fr-FR" sz="1600" spc="-3">
                  <a:latin typeface="Arial" panose="020B0604020202020204" pitchFamily="34" charset="0"/>
                  <a:cs typeface="Arial" panose="020B0604020202020204" pitchFamily="34" charset="0"/>
                </a:rPr>
                <a:t>pour avis (favorable, défavorable ou report)</a:t>
              </a:r>
              <a:endParaRPr lang="fr-FR" sz="1600" b="1" spc="-3">
                <a:latin typeface="Arial" panose="020B0604020202020204" pitchFamily="34" charset="0"/>
                <a:cs typeface="Arial" panose="020B0604020202020204" pitchFamily="34" charset="0"/>
              </a:endParaRPr>
            </a:p>
          </p:txBody>
        </p:sp>
        <p:sp>
          <p:nvSpPr>
            <p:cNvPr id="98" name="Ellipse 97">
              <a:extLst>
                <a:ext uri="{FF2B5EF4-FFF2-40B4-BE49-F238E27FC236}">
                  <a16:creationId xmlns:a16="http://schemas.microsoft.com/office/drawing/2014/main" id="{074F629A-3695-140F-4AC2-F1E7AA786ED6}"/>
                </a:ext>
              </a:extLst>
            </p:cNvPr>
            <p:cNvSpPr/>
            <p:nvPr/>
          </p:nvSpPr>
          <p:spPr>
            <a:xfrm>
              <a:off x="7321023" y="4360477"/>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0" name="Ellipse 99">
              <a:extLst>
                <a:ext uri="{FF2B5EF4-FFF2-40B4-BE49-F238E27FC236}">
                  <a16:creationId xmlns:a16="http://schemas.microsoft.com/office/drawing/2014/main" id="{5E975179-7830-DD00-F77B-06B632747792}"/>
                </a:ext>
              </a:extLst>
            </p:cNvPr>
            <p:cNvSpPr/>
            <p:nvPr/>
          </p:nvSpPr>
          <p:spPr>
            <a:xfrm>
              <a:off x="9991580"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1" name="ZoneTexte 100">
              <a:extLst>
                <a:ext uri="{FF2B5EF4-FFF2-40B4-BE49-F238E27FC236}">
                  <a16:creationId xmlns:a16="http://schemas.microsoft.com/office/drawing/2014/main" id="{B9913187-39E1-2457-8BB7-58E3FB91529E}"/>
                </a:ext>
              </a:extLst>
            </p:cNvPr>
            <p:cNvSpPr txBox="1"/>
            <p:nvPr/>
          </p:nvSpPr>
          <p:spPr>
            <a:xfrm>
              <a:off x="11628501" y="5052795"/>
              <a:ext cx="1800000" cy="156966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spc="-3">
                  <a:latin typeface="Arial" panose="020B0604020202020204" pitchFamily="34" charset="0"/>
                  <a:cs typeface="Arial" panose="020B0604020202020204" pitchFamily="34" charset="0"/>
                </a:rPr>
                <a:t>Passage du dossier en </a:t>
              </a:r>
              <a:r>
                <a:rPr lang="fr-FR" sz="1600" b="1" spc="-3">
                  <a:latin typeface="Arial" panose="020B0604020202020204" pitchFamily="34" charset="0"/>
                  <a:cs typeface="Arial" panose="020B0604020202020204" pitchFamily="34" charset="0"/>
                </a:rPr>
                <a:t>Conseil d’Administration pour décision finale </a:t>
              </a:r>
            </a:p>
          </p:txBody>
        </p:sp>
        <p:sp>
          <p:nvSpPr>
            <p:cNvPr id="102" name="Ellipse 101">
              <a:extLst>
                <a:ext uri="{FF2B5EF4-FFF2-40B4-BE49-F238E27FC236}">
                  <a16:creationId xmlns:a16="http://schemas.microsoft.com/office/drawing/2014/main" id="{68B3009A-69C7-A551-7681-EB3342B6481F}"/>
                </a:ext>
              </a:extLst>
            </p:cNvPr>
            <p:cNvSpPr/>
            <p:nvPr/>
          </p:nvSpPr>
          <p:spPr>
            <a:xfrm>
              <a:off x="12228218" y="4343401"/>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3" name="ZoneTexte 102">
              <a:extLst>
                <a:ext uri="{FF2B5EF4-FFF2-40B4-BE49-F238E27FC236}">
                  <a16:creationId xmlns:a16="http://schemas.microsoft.com/office/drawing/2014/main" id="{04E3A247-5EEE-4910-FC2D-8A1D2EE31580}"/>
                </a:ext>
              </a:extLst>
            </p:cNvPr>
            <p:cNvSpPr txBox="1"/>
            <p:nvPr/>
          </p:nvSpPr>
          <p:spPr>
            <a:xfrm>
              <a:off x="13455042" y="3046414"/>
              <a:ext cx="2520000"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Réception </a:t>
              </a:r>
            </a:p>
            <a:p>
              <a:pPr marR="0" lvl="0" algn="ctr" defTabSz="1219215" rtl="0" eaLnBrk="1" fontAlgn="auto" latinLnBrk="0" hangingPunct="1">
                <a:spcAft>
                  <a:spcPts val="0"/>
                </a:spcAft>
                <a:buClr>
                  <a:srgbClr val="800000"/>
                </a:buClr>
                <a:buSzPct val="80000"/>
                <a:tabLst/>
                <a:defRPr/>
              </a:pPr>
              <a:r>
                <a:rPr lang="fr-FR" b="1" spc="-3">
                  <a:latin typeface="Arial" panose="020B0604020202020204" pitchFamily="34" charset="0"/>
                  <a:cs typeface="Arial" panose="020B0604020202020204" pitchFamily="34" charset="0"/>
                </a:rPr>
                <a:t>de la notification de décision</a:t>
              </a:r>
            </a:p>
          </p:txBody>
        </p:sp>
        <p:sp>
          <p:nvSpPr>
            <p:cNvPr id="104" name="Ellipse 103">
              <a:extLst>
                <a:ext uri="{FF2B5EF4-FFF2-40B4-BE49-F238E27FC236}">
                  <a16:creationId xmlns:a16="http://schemas.microsoft.com/office/drawing/2014/main" id="{35C033EB-4179-5C84-5078-84E3B61F83F2}"/>
                </a:ext>
              </a:extLst>
            </p:cNvPr>
            <p:cNvSpPr/>
            <p:nvPr/>
          </p:nvSpPr>
          <p:spPr>
            <a:xfrm>
              <a:off x="14464857" y="4355808"/>
              <a:ext cx="464457" cy="457200"/>
            </a:xfrm>
            <a:prstGeom prst="ellipse">
              <a:avLst/>
            </a:prstGeom>
            <a:solidFill>
              <a:srgbClr val="FEEC02"/>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07" name="Connecteur droit 106">
              <a:extLst>
                <a:ext uri="{FF2B5EF4-FFF2-40B4-BE49-F238E27FC236}">
                  <a16:creationId xmlns:a16="http://schemas.microsoft.com/office/drawing/2014/main" id="{22564552-C65A-623B-09C6-C64E76E2C741}"/>
                </a:ext>
              </a:extLst>
            </p:cNvPr>
            <p:cNvCxnSpPr>
              <a:stCxn id="92" idx="6"/>
              <a:endCxn id="102" idx="2"/>
            </p:cNvCxnSpPr>
            <p:nvPr/>
          </p:nvCxnSpPr>
          <p:spPr>
            <a:xfrm>
              <a:off x="5982761" y="4572001"/>
              <a:ext cx="6245457"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Connecteur droit 107">
              <a:extLst>
                <a:ext uri="{FF2B5EF4-FFF2-40B4-BE49-F238E27FC236}">
                  <a16:creationId xmlns:a16="http://schemas.microsoft.com/office/drawing/2014/main" id="{02475654-F853-084D-11A8-8306033C4026}"/>
                </a:ext>
              </a:extLst>
            </p:cNvPr>
            <p:cNvCxnSpPr>
              <a:cxnSpLocks/>
            </p:cNvCxnSpPr>
            <p:nvPr/>
          </p:nvCxnSpPr>
          <p:spPr>
            <a:xfrm>
              <a:off x="3036407" y="4539955"/>
              <a:ext cx="9437070" cy="41223"/>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ZoneTexte 108">
              <a:extLst>
                <a:ext uri="{FF2B5EF4-FFF2-40B4-BE49-F238E27FC236}">
                  <a16:creationId xmlns:a16="http://schemas.microsoft.com/office/drawing/2014/main" id="{59F1B681-81AA-A692-ACD9-40CBDAE6BC15}"/>
                </a:ext>
              </a:extLst>
            </p:cNvPr>
            <p:cNvSpPr txBox="1"/>
            <p:nvPr/>
          </p:nvSpPr>
          <p:spPr>
            <a:xfrm>
              <a:off x="4081803" y="2964906"/>
              <a:ext cx="5160402" cy="923330"/>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b="1" i="1" spc="-3">
                  <a:latin typeface="Arial" panose="020B0604020202020204" pitchFamily="34" charset="0"/>
                  <a:cs typeface="Arial" panose="020B0604020202020204" pitchFamily="34" charset="0"/>
                </a:rPr>
                <a:t>Demandes de précisions éventuelles à apporter </a:t>
              </a:r>
            </a:p>
            <a:p>
              <a:pPr marR="0" lvl="0" algn="ctr" defTabSz="1219215" rtl="0" eaLnBrk="1" fontAlgn="auto" latinLnBrk="0" hangingPunct="1">
                <a:spcAft>
                  <a:spcPts val="0"/>
                </a:spcAft>
                <a:buClr>
                  <a:srgbClr val="800000"/>
                </a:buClr>
                <a:buSzPct val="80000"/>
                <a:tabLst/>
                <a:defRPr/>
              </a:pPr>
              <a:r>
                <a:rPr lang="fr-FR" b="1" i="1" spc="-3">
                  <a:latin typeface="Arial" panose="020B0604020202020204" pitchFamily="34" charset="0"/>
                  <a:cs typeface="Arial" panose="020B0604020202020204" pitchFamily="34" charset="0"/>
                </a:rPr>
                <a:t>sur demande du CCCA-BTP</a:t>
              </a:r>
            </a:p>
          </p:txBody>
        </p:sp>
        <p:cxnSp>
          <p:nvCxnSpPr>
            <p:cNvPr id="111" name="Connecteur droit 110">
              <a:extLst>
                <a:ext uri="{FF2B5EF4-FFF2-40B4-BE49-F238E27FC236}">
                  <a16:creationId xmlns:a16="http://schemas.microsoft.com/office/drawing/2014/main" id="{4E2B2E19-47DC-BE5E-EDAB-0EFF715B10BB}"/>
                </a:ext>
              </a:extLst>
            </p:cNvPr>
            <p:cNvCxnSpPr>
              <a:cxnSpLocks/>
            </p:cNvCxnSpPr>
            <p:nvPr/>
          </p:nvCxnSpPr>
          <p:spPr>
            <a:xfrm flipV="1">
              <a:off x="2795044" y="2583055"/>
              <a:ext cx="5213" cy="176034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2" name="Connecteur droit 111">
              <a:extLst>
                <a:ext uri="{FF2B5EF4-FFF2-40B4-BE49-F238E27FC236}">
                  <a16:creationId xmlns:a16="http://schemas.microsoft.com/office/drawing/2014/main" id="{843D6F8E-4B89-BBCF-45E0-F6A30A05AEF2}"/>
                </a:ext>
              </a:extLst>
            </p:cNvPr>
            <p:cNvCxnSpPr>
              <a:cxnSpLocks/>
            </p:cNvCxnSpPr>
            <p:nvPr/>
          </p:nvCxnSpPr>
          <p:spPr>
            <a:xfrm flipV="1">
              <a:off x="10265011" y="2713580"/>
              <a:ext cx="5213" cy="176034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114" name="Freeform 14">
            <a:extLst>
              <a:ext uri="{FF2B5EF4-FFF2-40B4-BE49-F238E27FC236}">
                <a16:creationId xmlns:a16="http://schemas.microsoft.com/office/drawing/2014/main" id="{A87E475B-87A7-DC6B-B16D-BB4FBC81DB6B}"/>
              </a:ext>
            </a:extLst>
          </p:cNvPr>
          <p:cNvSpPr/>
          <p:nvPr/>
        </p:nvSpPr>
        <p:spPr>
          <a:xfrm>
            <a:off x="-3166" y="1317046"/>
            <a:ext cx="1983829" cy="2220558"/>
          </a:xfrm>
          <a:custGeom>
            <a:avLst/>
            <a:gdLst/>
            <a:ahLst/>
            <a:cxnLst/>
            <a:rect l="l" t="t" r="r" b="b"/>
            <a:pathLst>
              <a:path w="5597343" h="7382587">
                <a:moveTo>
                  <a:pt x="0" y="0"/>
                </a:moveTo>
                <a:lnTo>
                  <a:pt x="5597343" y="0"/>
                </a:lnTo>
                <a:lnTo>
                  <a:pt x="5597343" y="7382586"/>
                </a:lnTo>
                <a:lnTo>
                  <a:pt x="0" y="7382586"/>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115" name="ZoneTexte 114">
            <a:extLst>
              <a:ext uri="{FF2B5EF4-FFF2-40B4-BE49-F238E27FC236}">
                <a16:creationId xmlns:a16="http://schemas.microsoft.com/office/drawing/2014/main" id="{CCAAE291-3FD9-4E38-B3BC-429165F76BF6}"/>
              </a:ext>
            </a:extLst>
          </p:cNvPr>
          <p:cNvSpPr txBox="1"/>
          <p:nvPr/>
        </p:nvSpPr>
        <p:spPr>
          <a:xfrm>
            <a:off x="2352516" y="7842844"/>
            <a:ext cx="2309883" cy="461665"/>
          </a:xfrm>
          <a:prstGeom prst="rect">
            <a:avLst/>
          </a:prstGeom>
          <a:noFill/>
        </p:spPr>
        <p:txBody>
          <a:bodyPr wrap="square">
            <a:spAutoFit/>
          </a:bodyPr>
          <a:lstStyle/>
          <a:p>
            <a:pPr marR="0" lvl="0" defTabSz="1219215" rtl="0" eaLnBrk="1" fontAlgn="auto" latinLnBrk="0" hangingPunct="1">
              <a:spcAft>
                <a:spcPts val="0"/>
              </a:spcAft>
              <a:buClr>
                <a:srgbClr val="800000"/>
              </a:buClr>
              <a:buSzPct val="80000"/>
              <a:tabLst/>
              <a:defRPr/>
            </a:pPr>
            <a:r>
              <a:rPr lang="fr-FR" sz="2400" b="1" spc="-3">
                <a:latin typeface="Montserrat" panose="00000500000000000000" pitchFamily="2" charset="0"/>
                <a:cs typeface="Arial" panose="020B0604020202020204" pitchFamily="34" charset="0"/>
              </a:rPr>
              <a:t>CCCA-BTP</a:t>
            </a:r>
          </a:p>
        </p:txBody>
      </p:sp>
      <p:sp>
        <p:nvSpPr>
          <p:cNvPr id="117" name="Rectangle 116">
            <a:extLst>
              <a:ext uri="{FF2B5EF4-FFF2-40B4-BE49-F238E27FC236}">
                <a16:creationId xmlns:a16="http://schemas.microsoft.com/office/drawing/2014/main" id="{E809A365-3563-DBC9-9033-8EE046DC69D2}"/>
              </a:ext>
            </a:extLst>
          </p:cNvPr>
          <p:cNvSpPr/>
          <p:nvPr/>
        </p:nvSpPr>
        <p:spPr>
          <a:xfrm flipV="1">
            <a:off x="2410572" y="2070749"/>
            <a:ext cx="2633858" cy="209247"/>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8" name="ZoneTexte 117">
            <a:extLst>
              <a:ext uri="{FF2B5EF4-FFF2-40B4-BE49-F238E27FC236}">
                <a16:creationId xmlns:a16="http://schemas.microsoft.com/office/drawing/2014/main" id="{B0611D56-C1B8-B43F-ED6E-421760D02E7A}"/>
              </a:ext>
            </a:extLst>
          </p:cNvPr>
          <p:cNvSpPr txBox="1"/>
          <p:nvPr/>
        </p:nvSpPr>
        <p:spPr>
          <a:xfrm>
            <a:off x="2352516" y="1818332"/>
            <a:ext cx="3354472" cy="461665"/>
          </a:xfrm>
          <a:prstGeom prst="rect">
            <a:avLst/>
          </a:prstGeom>
          <a:noFill/>
        </p:spPr>
        <p:txBody>
          <a:bodyPr wrap="square">
            <a:spAutoFit/>
          </a:bodyPr>
          <a:lstStyle/>
          <a:p>
            <a:pPr marR="0" lvl="0" defTabSz="1219215" rtl="0" eaLnBrk="1" fontAlgn="auto" latinLnBrk="0" hangingPunct="1">
              <a:spcAft>
                <a:spcPts val="0"/>
              </a:spcAft>
              <a:buClr>
                <a:srgbClr val="800000"/>
              </a:buClr>
              <a:buSzPct val="80000"/>
              <a:tabLst/>
              <a:defRPr/>
            </a:pPr>
            <a:r>
              <a:rPr lang="fr-FR" sz="2400" b="1" spc="-3">
                <a:latin typeface="Montserrat" panose="00000500000000000000" pitchFamily="2" charset="0"/>
                <a:cs typeface="Arial" panose="020B0604020202020204" pitchFamily="34" charset="0"/>
              </a:rPr>
              <a:t>Porteur de projet</a:t>
            </a:r>
          </a:p>
        </p:txBody>
      </p:sp>
      <p:sp>
        <p:nvSpPr>
          <p:cNvPr id="119" name="Freeform 14">
            <a:extLst>
              <a:ext uri="{FF2B5EF4-FFF2-40B4-BE49-F238E27FC236}">
                <a16:creationId xmlns:a16="http://schemas.microsoft.com/office/drawing/2014/main" id="{E87F4B75-F952-9C2B-ABFC-A34B7B513E85}"/>
              </a:ext>
            </a:extLst>
          </p:cNvPr>
          <p:cNvSpPr/>
          <p:nvPr/>
        </p:nvSpPr>
        <p:spPr>
          <a:xfrm>
            <a:off x="109041" y="6241055"/>
            <a:ext cx="2189250" cy="2085609"/>
          </a:xfrm>
          <a:custGeom>
            <a:avLst/>
            <a:gdLst/>
            <a:ahLst/>
            <a:cxnLst/>
            <a:rect l="l" t="t" r="r" b="b"/>
            <a:pathLst>
              <a:path w="6557775" h="5436991">
                <a:moveTo>
                  <a:pt x="0" y="0"/>
                </a:moveTo>
                <a:lnTo>
                  <a:pt x="6557775" y="0"/>
                </a:lnTo>
                <a:lnTo>
                  <a:pt x="6557775" y="5436991"/>
                </a:lnTo>
                <a:lnTo>
                  <a:pt x="0" y="5436991"/>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4" name="Rectangle 3">
            <a:extLst>
              <a:ext uri="{FF2B5EF4-FFF2-40B4-BE49-F238E27FC236}">
                <a16:creationId xmlns:a16="http://schemas.microsoft.com/office/drawing/2014/main" id="{9B509FE7-955D-403C-814E-4D8E634E306B}"/>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3584779F-E477-2DDB-A8F0-00768B794CB1}"/>
              </a:ext>
            </a:extLst>
          </p:cNvPr>
          <p:cNvPicPr>
            <a:picLocks noChangeAspect="1"/>
          </p:cNvPicPr>
          <p:nvPr/>
        </p:nvPicPr>
        <p:blipFill>
          <a:blip r:embed="rId7"/>
          <a:stretch>
            <a:fillRect/>
          </a:stretch>
        </p:blipFill>
        <p:spPr>
          <a:xfrm>
            <a:off x="14624002" y="349312"/>
            <a:ext cx="1403137" cy="746758"/>
          </a:xfrm>
          <a:prstGeom prst="rect">
            <a:avLst/>
          </a:prstGeom>
        </p:spPr>
      </p:pic>
      <p:sp>
        <p:nvSpPr>
          <p:cNvPr id="3" name="Ellipse 2">
            <a:extLst>
              <a:ext uri="{FF2B5EF4-FFF2-40B4-BE49-F238E27FC236}">
                <a16:creationId xmlns:a16="http://schemas.microsoft.com/office/drawing/2014/main" id="{FAFD2DF7-60DC-9665-B739-2E52D32F6BC2}"/>
              </a:ext>
            </a:extLst>
          </p:cNvPr>
          <p:cNvSpPr/>
          <p:nvPr/>
        </p:nvSpPr>
        <p:spPr>
          <a:xfrm>
            <a:off x="4017469" y="5112657"/>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ZoneTexte 4">
            <a:extLst>
              <a:ext uri="{FF2B5EF4-FFF2-40B4-BE49-F238E27FC236}">
                <a16:creationId xmlns:a16="http://schemas.microsoft.com/office/drawing/2014/main" id="{28DE3471-0461-144C-C1FD-F1702706D038}"/>
              </a:ext>
            </a:extLst>
          </p:cNvPr>
          <p:cNvSpPr txBox="1"/>
          <p:nvPr/>
        </p:nvSpPr>
        <p:spPr>
          <a:xfrm>
            <a:off x="3382317" y="5902589"/>
            <a:ext cx="1800000" cy="1077218"/>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Analyse financière </a:t>
            </a:r>
            <a:r>
              <a:rPr lang="fr-FR" sz="1600" spc="-3">
                <a:latin typeface="Arial" panose="020B0604020202020204" pitchFamily="34" charset="0"/>
                <a:cs typeface="Arial" panose="020B0604020202020204" pitchFamily="34" charset="0"/>
              </a:rPr>
              <a:t>du porteur et du budget du projet</a:t>
            </a:r>
          </a:p>
        </p:txBody>
      </p:sp>
      <p:sp>
        <p:nvSpPr>
          <p:cNvPr id="10" name="ZoneTexte 9">
            <a:extLst>
              <a:ext uri="{FF2B5EF4-FFF2-40B4-BE49-F238E27FC236}">
                <a16:creationId xmlns:a16="http://schemas.microsoft.com/office/drawing/2014/main" id="{F2B097B1-1E0E-29BD-AA5C-5C6E2259B901}"/>
              </a:ext>
            </a:extLst>
          </p:cNvPr>
          <p:cNvSpPr txBox="1"/>
          <p:nvPr/>
        </p:nvSpPr>
        <p:spPr>
          <a:xfrm>
            <a:off x="5063922" y="5896009"/>
            <a:ext cx="1800000" cy="1815882"/>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Evaluation du dossier </a:t>
            </a:r>
            <a:r>
              <a:rPr lang="fr-FR" sz="1600" spc="-3">
                <a:latin typeface="Arial" panose="020B0604020202020204" pitchFamily="34" charset="0"/>
                <a:cs typeface="Arial" panose="020B0604020202020204" pitchFamily="34" charset="0"/>
              </a:rPr>
              <a:t>si les deux phases d’analyse précédentes sont OK</a:t>
            </a:r>
          </a:p>
          <a:p>
            <a:pPr marR="0" lvl="0" algn="ctr" defTabSz="1219215" rtl="0" eaLnBrk="1" fontAlgn="auto" latinLnBrk="0" hangingPunct="1">
              <a:spcAft>
                <a:spcPts val="0"/>
              </a:spcAft>
              <a:buClr>
                <a:srgbClr val="800000"/>
              </a:buClr>
              <a:buSzPct val="80000"/>
              <a:tabLst/>
              <a:defRPr/>
            </a:pPr>
            <a:endParaRPr lang="fr-FR" sz="1600" spc="-3">
              <a:latin typeface="Arial" panose="020B0604020202020204" pitchFamily="34" charset="0"/>
              <a:cs typeface="Arial" panose="020B0604020202020204" pitchFamily="34" charset="0"/>
            </a:endParaRPr>
          </a:p>
        </p:txBody>
      </p:sp>
      <p:pic>
        <p:nvPicPr>
          <p:cNvPr id="13" name="Image 12">
            <a:extLst>
              <a:ext uri="{FF2B5EF4-FFF2-40B4-BE49-F238E27FC236}">
                <a16:creationId xmlns:a16="http://schemas.microsoft.com/office/drawing/2014/main" id="{B9021FF3-E2FF-9283-3D69-5A9FD9A984E1}"/>
              </a:ext>
            </a:extLst>
          </p:cNvPr>
          <p:cNvPicPr>
            <a:picLocks noChangeAspect="1"/>
          </p:cNvPicPr>
          <p:nvPr/>
        </p:nvPicPr>
        <p:blipFill>
          <a:blip r:embed="rId8"/>
          <a:stretch>
            <a:fillRect/>
          </a:stretch>
        </p:blipFill>
        <p:spPr>
          <a:xfrm>
            <a:off x="3082439" y="5126871"/>
            <a:ext cx="895912" cy="530380"/>
          </a:xfrm>
          <a:prstGeom prst="rect">
            <a:avLst/>
          </a:prstGeom>
        </p:spPr>
      </p:pic>
      <p:pic>
        <p:nvPicPr>
          <p:cNvPr id="14" name="Image 13">
            <a:extLst>
              <a:ext uri="{FF2B5EF4-FFF2-40B4-BE49-F238E27FC236}">
                <a16:creationId xmlns:a16="http://schemas.microsoft.com/office/drawing/2014/main" id="{42C5B432-93A9-4699-CBE1-BD19EE6DC600}"/>
              </a:ext>
            </a:extLst>
          </p:cNvPr>
          <p:cNvPicPr>
            <a:picLocks noChangeAspect="1"/>
          </p:cNvPicPr>
          <p:nvPr/>
        </p:nvPicPr>
        <p:blipFill>
          <a:blip r:embed="rId8"/>
          <a:stretch>
            <a:fillRect/>
          </a:stretch>
        </p:blipFill>
        <p:spPr>
          <a:xfrm>
            <a:off x="4607976" y="5116080"/>
            <a:ext cx="895912" cy="530380"/>
          </a:xfrm>
          <a:prstGeom prst="rect">
            <a:avLst/>
          </a:prstGeom>
        </p:spPr>
      </p:pic>
      <p:sp>
        <p:nvSpPr>
          <p:cNvPr id="15" name="Ellipse 14">
            <a:extLst>
              <a:ext uri="{FF2B5EF4-FFF2-40B4-BE49-F238E27FC236}">
                <a16:creationId xmlns:a16="http://schemas.microsoft.com/office/drawing/2014/main" id="{5928DFD6-766C-0BD9-69F8-CA7B28C74348}"/>
              </a:ext>
            </a:extLst>
          </p:cNvPr>
          <p:cNvSpPr/>
          <p:nvPr/>
        </p:nvSpPr>
        <p:spPr>
          <a:xfrm>
            <a:off x="8742010" y="5141686"/>
            <a:ext cx="464457" cy="4572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ZoneTexte 15">
            <a:extLst>
              <a:ext uri="{FF2B5EF4-FFF2-40B4-BE49-F238E27FC236}">
                <a16:creationId xmlns:a16="http://schemas.microsoft.com/office/drawing/2014/main" id="{455BB95A-445F-B7B9-8049-E9951DFD1B5A}"/>
              </a:ext>
            </a:extLst>
          </p:cNvPr>
          <p:cNvSpPr txBox="1"/>
          <p:nvPr/>
        </p:nvSpPr>
        <p:spPr>
          <a:xfrm>
            <a:off x="8374375" y="5909664"/>
            <a:ext cx="1462228" cy="1323439"/>
          </a:xfrm>
          <a:prstGeom prst="rect">
            <a:avLst/>
          </a:prstGeom>
          <a:noFill/>
        </p:spPr>
        <p:txBody>
          <a:bodyPr wrap="square">
            <a:spAutoFit/>
          </a:bodyPr>
          <a:lstStyle/>
          <a:p>
            <a:pPr marR="0" lvl="0" algn="ctr" defTabSz="1219215" rtl="0" eaLnBrk="1" fontAlgn="auto" latinLnBrk="0" hangingPunct="1">
              <a:spcAft>
                <a:spcPts val="0"/>
              </a:spcAft>
              <a:buClr>
                <a:srgbClr val="800000"/>
              </a:buClr>
              <a:buSzPct val="80000"/>
              <a:tabLst/>
              <a:defRPr/>
            </a:pPr>
            <a:r>
              <a:rPr lang="fr-FR" sz="1600" b="1" spc="-3">
                <a:latin typeface="Arial" panose="020B0604020202020204" pitchFamily="34" charset="0"/>
                <a:cs typeface="Arial" panose="020B0604020202020204" pitchFamily="34" charset="0"/>
              </a:rPr>
              <a:t>Décisions DAPEX </a:t>
            </a:r>
            <a:r>
              <a:rPr lang="fr-FR" sz="1600" spc="-3">
                <a:latin typeface="Arial" panose="020B0604020202020204" pitchFamily="34" charset="0"/>
                <a:cs typeface="Arial" panose="020B0604020202020204" pitchFamily="34" charset="0"/>
              </a:rPr>
              <a:t>présentation des dossiers en GTP</a:t>
            </a:r>
          </a:p>
        </p:txBody>
      </p:sp>
    </p:spTree>
    <p:extLst>
      <p:ext uri="{BB962C8B-B14F-4D97-AF65-F5344CB8AC3E}">
        <p14:creationId xmlns:p14="http://schemas.microsoft.com/office/powerpoint/2010/main" val="33679215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4C0BBE-8B77-F2F2-32C1-F8153DDC4907}"/>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FB2879CC-D2D9-A3C3-35C4-B882E3B471CC}"/>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20</a:t>
            </a:fld>
            <a:endParaRPr lang="fr-FR" sz="1400">
              <a:solidFill>
                <a:prstClr val="black"/>
              </a:solidFill>
              <a:latin typeface="Calibri"/>
            </a:endParaRPr>
          </a:p>
        </p:txBody>
      </p:sp>
      <p:sp>
        <p:nvSpPr>
          <p:cNvPr id="4" name="Title 2">
            <a:extLst>
              <a:ext uri="{FF2B5EF4-FFF2-40B4-BE49-F238E27FC236}">
                <a16:creationId xmlns:a16="http://schemas.microsoft.com/office/drawing/2014/main" id="{AFE0875D-04BA-1FCE-12C4-95B84B47534D}"/>
              </a:ext>
            </a:extLst>
          </p:cNvPr>
          <p:cNvSpPr>
            <a:spLocks noGrp="1"/>
          </p:cNvSpPr>
          <p:nvPr>
            <p:ph type="title"/>
          </p:nvPr>
        </p:nvSpPr>
        <p:spPr>
          <a:xfrm>
            <a:off x="1667003" y="447605"/>
            <a:ext cx="12088497" cy="535531"/>
          </a:xfrm>
        </p:spPr>
        <p:txBody>
          <a:bodyPr/>
          <a:lstStyle/>
          <a:p>
            <a:pPr algn="l"/>
            <a:r>
              <a:rPr lang="fr-FR" sz="3200">
                <a:solidFill>
                  <a:schemeClr val="tx1"/>
                </a:solidFill>
                <a:latin typeface="Arial Black"/>
              </a:rPr>
              <a:t>Les évolutions du processus de sélection</a:t>
            </a:r>
          </a:p>
        </p:txBody>
      </p:sp>
      <p:sp>
        <p:nvSpPr>
          <p:cNvPr id="3" name="Rectangle 2">
            <a:extLst>
              <a:ext uri="{FF2B5EF4-FFF2-40B4-BE49-F238E27FC236}">
                <a16:creationId xmlns:a16="http://schemas.microsoft.com/office/drawing/2014/main" id="{E68789C9-AACF-5BF0-93CC-A84479FEA69F}"/>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1FBE1F05-214C-706E-EE42-BF3D82A321C5}"/>
              </a:ext>
            </a:extLst>
          </p:cNvPr>
          <p:cNvPicPr>
            <a:picLocks noChangeAspect="1"/>
          </p:cNvPicPr>
          <p:nvPr/>
        </p:nvPicPr>
        <p:blipFill>
          <a:blip r:embed="rId3"/>
          <a:stretch>
            <a:fillRect/>
          </a:stretch>
        </p:blipFill>
        <p:spPr>
          <a:xfrm>
            <a:off x="14395548" y="160525"/>
            <a:ext cx="1823083" cy="828038"/>
          </a:xfrm>
          <a:prstGeom prst="rect">
            <a:avLst/>
          </a:prstGeom>
        </p:spPr>
      </p:pic>
      <p:sp>
        <p:nvSpPr>
          <p:cNvPr id="2" name="Rectangle 1">
            <a:extLst>
              <a:ext uri="{FF2B5EF4-FFF2-40B4-BE49-F238E27FC236}">
                <a16:creationId xmlns:a16="http://schemas.microsoft.com/office/drawing/2014/main" id="{2FF9A3F3-ADE1-4D3C-1B5A-3C44F857A0A0}"/>
              </a:ext>
            </a:extLst>
          </p:cNvPr>
          <p:cNvSpPr/>
          <p:nvPr/>
        </p:nvSpPr>
        <p:spPr>
          <a:xfrm>
            <a:off x="4457" y="1511300"/>
            <a:ext cx="8100000" cy="7346737"/>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24D35FC1-E297-B1E6-EEF9-6EADD83CCEAF}"/>
              </a:ext>
            </a:extLst>
          </p:cNvPr>
          <p:cNvSpPr/>
          <p:nvPr/>
        </p:nvSpPr>
        <p:spPr>
          <a:xfrm>
            <a:off x="8156868" y="1511300"/>
            <a:ext cx="8099132" cy="7346737"/>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8">
            <a:extLst>
              <a:ext uri="{FF2B5EF4-FFF2-40B4-BE49-F238E27FC236}">
                <a16:creationId xmlns:a16="http://schemas.microsoft.com/office/drawing/2014/main" id="{AABBD3FB-4639-30A7-0663-6CD6B448742A}"/>
              </a:ext>
            </a:extLst>
          </p:cNvPr>
          <p:cNvCxnSpPr>
            <a:cxnSpLocks/>
          </p:cNvCxnSpPr>
          <p:nvPr/>
        </p:nvCxnSpPr>
        <p:spPr>
          <a:xfrm>
            <a:off x="1265285" y="6972576"/>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6E748B95-BAF7-CF8A-963A-15D36B241D06}"/>
              </a:ext>
            </a:extLst>
          </p:cNvPr>
          <p:cNvSpPr/>
          <p:nvPr/>
        </p:nvSpPr>
        <p:spPr>
          <a:xfrm>
            <a:off x="7658212" y="5402257"/>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2" name="Connecteur droit 11">
            <a:extLst>
              <a:ext uri="{FF2B5EF4-FFF2-40B4-BE49-F238E27FC236}">
                <a16:creationId xmlns:a16="http://schemas.microsoft.com/office/drawing/2014/main" id="{581ABD66-5848-8246-5FCF-8DB0A1C387D2}"/>
              </a:ext>
            </a:extLst>
          </p:cNvPr>
          <p:cNvCxnSpPr>
            <a:cxnSpLocks/>
          </p:cNvCxnSpPr>
          <p:nvPr/>
        </p:nvCxnSpPr>
        <p:spPr>
          <a:xfrm>
            <a:off x="1242907" y="5184668"/>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Ellipse 10">
            <a:extLst>
              <a:ext uri="{FF2B5EF4-FFF2-40B4-BE49-F238E27FC236}">
                <a16:creationId xmlns:a16="http://schemas.microsoft.com/office/drawing/2014/main" id="{85813DCD-9FE4-440C-1604-CC46B8E649F6}"/>
              </a:ext>
            </a:extLst>
          </p:cNvPr>
          <p:cNvSpPr/>
          <p:nvPr/>
        </p:nvSpPr>
        <p:spPr>
          <a:xfrm>
            <a:off x="7599289" y="7409619"/>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3E621C61-6355-15A9-8AE9-0F1EA4A1E723}"/>
              </a:ext>
            </a:extLst>
          </p:cNvPr>
          <p:cNvSpPr txBox="1"/>
          <p:nvPr/>
        </p:nvSpPr>
        <p:spPr>
          <a:xfrm>
            <a:off x="1053266" y="1882392"/>
            <a:ext cx="6233934" cy="33855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Phase de dépôt de dossier</a:t>
            </a:r>
            <a:endParaRPr lang="fr-FR" sz="1600">
              <a:latin typeface="Arial" panose="020B0604020202020204" pitchFamily="34" charset="0"/>
              <a:cs typeface="Arial" panose="020B0604020202020204" pitchFamily="34" charset="0"/>
            </a:endParaRPr>
          </a:p>
        </p:txBody>
      </p:sp>
      <p:sp>
        <p:nvSpPr>
          <p:cNvPr id="15" name="ZoneTexte 14">
            <a:extLst>
              <a:ext uri="{FF2B5EF4-FFF2-40B4-BE49-F238E27FC236}">
                <a16:creationId xmlns:a16="http://schemas.microsoft.com/office/drawing/2014/main" id="{FBFD0002-0503-6EC2-12F4-0D05B3378FC0}"/>
              </a:ext>
            </a:extLst>
          </p:cNvPr>
          <p:cNvSpPr txBox="1"/>
          <p:nvPr/>
        </p:nvSpPr>
        <p:spPr>
          <a:xfrm>
            <a:off x="9030592" y="1595119"/>
            <a:ext cx="6469327" cy="3785652"/>
          </a:xfrm>
          <a:prstGeom prst="rect">
            <a:avLst/>
          </a:prstGeom>
          <a:noFill/>
        </p:spPr>
        <p:txBody>
          <a:bodyPr wrap="square">
            <a:spAutoFit/>
          </a:bodyPr>
          <a:lstStyle/>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Obligation de compléter à 100 % </a:t>
            </a:r>
            <a:r>
              <a:rPr lang="fr-FR" sz="1600">
                <a:latin typeface="Arial" panose="020B0604020202020204" pitchFamily="34" charset="0"/>
                <a:cs typeface="Arial" panose="020B0604020202020204" pitchFamily="34" charset="0"/>
              </a:rPr>
              <a:t>toutes les informations et documents demandés dans </a:t>
            </a:r>
            <a:r>
              <a:rPr lang="fr-FR" sz="1600" b="1">
                <a:latin typeface="Arial" panose="020B0604020202020204" pitchFamily="34" charset="0"/>
                <a:cs typeface="Arial" panose="020B0604020202020204" pitchFamily="34" charset="0"/>
              </a:rPr>
              <a:t>votre compte candidat </a:t>
            </a:r>
            <a:r>
              <a:rPr lang="fr-FR" sz="1600">
                <a:latin typeface="Arial" panose="020B0604020202020204" pitchFamily="34" charset="0"/>
                <a:cs typeface="Arial" panose="020B0604020202020204" pitchFamily="34" charset="0"/>
              </a:rPr>
              <a:t>avant de pouvoir déposer un dossier (projet ou candidature</a:t>
            </a:r>
            <a:r>
              <a:rPr lang="fr-FR" sz="1600" b="1">
                <a:latin typeface="Arial" panose="020B0604020202020204" pitchFamily="34" charset="0"/>
                <a:cs typeface="Arial" panose="020B0604020202020204" pitchFamily="34" charset="0"/>
              </a:rPr>
              <a:t>)</a:t>
            </a:r>
          </a:p>
          <a:p>
            <a:pPr>
              <a:buClr>
                <a:srgbClr val="FFFF00"/>
              </a:buClr>
            </a:pPr>
            <a:r>
              <a:rPr lang="fr-FR" sz="1600" b="1">
                <a:latin typeface="Arial" panose="020B0604020202020204" pitchFamily="34" charset="0"/>
                <a:cs typeface="Arial" panose="020B0604020202020204" pitchFamily="34" charset="0"/>
              </a:rPr>
              <a:t> </a:t>
            </a:r>
          </a:p>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A ce jour 861 comptes candidats ne sont pas à jour sur 928 comptes actifs </a:t>
            </a:r>
          </a:p>
          <a:p>
            <a:pPr marL="285750" indent="-285750">
              <a:buClr>
                <a:srgbClr val="FFFF00"/>
              </a:buClr>
              <a:buFont typeface="Wingdings" panose="05000000000000000000" pitchFamily="2" charset="2"/>
              <a:buChar char="§"/>
            </a:pPr>
            <a:endParaRPr lang="fr-FR" sz="1600" b="1">
              <a:latin typeface="Arial" panose="020B0604020202020204" pitchFamily="34" charset="0"/>
              <a:cs typeface="Arial" panose="020B0604020202020204" pitchFamily="34" charset="0"/>
            </a:endParaRPr>
          </a:p>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Pour tous les projets supérieurs à 1 M€, </a:t>
            </a:r>
            <a:r>
              <a:rPr lang="fr-FR" sz="1600">
                <a:latin typeface="Arial" panose="020B0604020202020204" pitchFamily="34" charset="0"/>
                <a:cs typeface="Arial" panose="020B0604020202020204" pitchFamily="34" charset="0"/>
              </a:rPr>
              <a:t>nécessité d’utiliser l’AàC Aide à la rédaction pour présenter un dossier structuré</a:t>
            </a:r>
          </a:p>
          <a:p>
            <a:pPr marL="285750" indent="-285750">
              <a:buClr>
                <a:srgbClr val="FFFF00"/>
              </a:buClr>
              <a:buFont typeface="Wingdings" panose="05000000000000000000" pitchFamily="2" charset="2"/>
              <a:buChar char="§"/>
            </a:pPr>
            <a:endParaRPr lang="fr-FR" sz="1600">
              <a:latin typeface="Arial" panose="020B0604020202020204" pitchFamily="34" charset="0"/>
              <a:cs typeface="Arial" panose="020B0604020202020204" pitchFamily="34" charset="0"/>
            </a:endParaRPr>
          </a:p>
          <a:p>
            <a:pPr marL="285750" indent="-285750">
              <a:buClr>
                <a:srgbClr val="FFFF00"/>
              </a:buClr>
              <a:buFont typeface="Wingdings" panose="05000000000000000000" pitchFamily="2" charset="2"/>
              <a:buChar char="§"/>
            </a:pPr>
            <a:r>
              <a:rPr lang="fr-FR" sz="1600">
                <a:latin typeface="Arial" panose="020B0604020202020204" pitchFamily="34" charset="0"/>
                <a:cs typeface="Arial" panose="020B0604020202020204" pitchFamily="34" charset="0"/>
              </a:rPr>
              <a:t>Avant de déposer un projet, il est impératif de consulter la page des projets réalisés </a:t>
            </a:r>
            <a:r>
              <a:rPr lang="fr-FR" sz="1600">
                <a:latin typeface="Arial" panose="020B0604020202020204" pitchFamily="34" charset="0"/>
                <a:cs typeface="Arial" panose="020B0604020202020204" pitchFamily="34" charset="0"/>
                <a:hlinkClick r:id="rId4"/>
              </a:rPr>
              <a:t>https://www.appels-a-projets-cccabtp.fr/projets-realises</a:t>
            </a:r>
            <a:r>
              <a:rPr lang="fr-FR" sz="1600">
                <a:latin typeface="Arial" panose="020B0604020202020204" pitchFamily="34" charset="0"/>
                <a:cs typeface="Arial" panose="020B0604020202020204" pitchFamily="34" charset="0"/>
              </a:rPr>
              <a:t> pour vérifier qu’un projet n’a pas déjà été financé sur le sujet que vous voulez présenter. </a:t>
            </a:r>
          </a:p>
          <a:p>
            <a:pPr marL="285750" indent="-285750">
              <a:buClr>
                <a:srgbClr val="FFFF00"/>
              </a:buClr>
              <a:buFont typeface="Wingdings" panose="05000000000000000000" pitchFamily="2" charset="2"/>
              <a:buChar char="§"/>
            </a:pPr>
            <a:endParaRPr lang="fr-FR" sz="1600">
              <a:latin typeface="Arial" panose="020B0604020202020204" pitchFamily="34" charset="0"/>
              <a:cs typeface="Arial" panose="020B0604020202020204" pitchFamily="34" charset="0"/>
            </a:endParaRPr>
          </a:p>
        </p:txBody>
      </p:sp>
      <p:pic>
        <p:nvPicPr>
          <p:cNvPr id="18" name="Image 17">
            <a:extLst>
              <a:ext uri="{FF2B5EF4-FFF2-40B4-BE49-F238E27FC236}">
                <a16:creationId xmlns:a16="http://schemas.microsoft.com/office/drawing/2014/main" id="{9679BE37-84D0-6E93-570F-D52598327E29}"/>
              </a:ext>
            </a:extLst>
          </p:cNvPr>
          <p:cNvPicPr>
            <a:picLocks noChangeAspect="1"/>
          </p:cNvPicPr>
          <p:nvPr/>
        </p:nvPicPr>
        <p:blipFill>
          <a:blip r:embed="rId5"/>
          <a:stretch>
            <a:fillRect/>
          </a:stretch>
        </p:blipFill>
        <p:spPr>
          <a:xfrm>
            <a:off x="7716193" y="1631386"/>
            <a:ext cx="914401" cy="840567"/>
          </a:xfrm>
          <a:prstGeom prst="rect">
            <a:avLst/>
          </a:prstGeom>
        </p:spPr>
      </p:pic>
      <p:sp>
        <p:nvSpPr>
          <p:cNvPr id="20" name="ZoneTexte 19">
            <a:extLst>
              <a:ext uri="{FF2B5EF4-FFF2-40B4-BE49-F238E27FC236}">
                <a16:creationId xmlns:a16="http://schemas.microsoft.com/office/drawing/2014/main" id="{72306C99-5CC6-71D0-6E3F-CE3016821AEA}"/>
              </a:ext>
            </a:extLst>
          </p:cNvPr>
          <p:cNvSpPr txBox="1"/>
          <p:nvPr/>
        </p:nvSpPr>
        <p:spPr>
          <a:xfrm>
            <a:off x="1162948" y="5722643"/>
            <a:ext cx="6233934" cy="33855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Phase d’analyse</a:t>
            </a:r>
            <a:endParaRPr lang="fr-FR" sz="1600">
              <a:latin typeface="Arial" panose="020B0604020202020204" pitchFamily="34" charset="0"/>
              <a:cs typeface="Arial" panose="020B0604020202020204" pitchFamily="34" charset="0"/>
            </a:endParaRPr>
          </a:p>
        </p:txBody>
      </p:sp>
      <p:sp>
        <p:nvSpPr>
          <p:cNvPr id="23" name="ZoneTexte 22">
            <a:extLst>
              <a:ext uri="{FF2B5EF4-FFF2-40B4-BE49-F238E27FC236}">
                <a16:creationId xmlns:a16="http://schemas.microsoft.com/office/drawing/2014/main" id="{4E735CFF-8166-4ADF-0025-45F649C80B0D}"/>
              </a:ext>
            </a:extLst>
          </p:cNvPr>
          <p:cNvSpPr txBox="1"/>
          <p:nvPr/>
        </p:nvSpPr>
        <p:spPr>
          <a:xfrm>
            <a:off x="9047906" y="5475663"/>
            <a:ext cx="6469327" cy="1323439"/>
          </a:xfrm>
          <a:prstGeom prst="rect">
            <a:avLst/>
          </a:prstGeom>
          <a:noFill/>
        </p:spPr>
        <p:txBody>
          <a:bodyPr wrap="square">
            <a:spAutoFit/>
          </a:bodyPr>
          <a:lstStyle/>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Une phase d’analyse financière du porteur, du budget du projet  et du projet </a:t>
            </a:r>
            <a:r>
              <a:rPr lang="fr-FR" sz="1600">
                <a:latin typeface="Arial" panose="020B0604020202020204" pitchFamily="34" charset="0"/>
                <a:cs typeface="Arial" panose="020B0604020202020204" pitchFamily="34" charset="0"/>
              </a:rPr>
              <a:t>a été créée avant l’ouverture des évaluations</a:t>
            </a:r>
            <a:r>
              <a:rPr lang="fr-FR" sz="1600" b="1">
                <a:latin typeface="Arial" panose="020B0604020202020204" pitchFamily="34" charset="0"/>
                <a:cs typeface="Arial" panose="020B0604020202020204" pitchFamily="34" charset="0"/>
              </a:rPr>
              <a:t>. </a:t>
            </a:r>
            <a:r>
              <a:rPr lang="fr-FR" sz="1600">
                <a:latin typeface="Arial" panose="020B0604020202020204" pitchFamily="34" charset="0"/>
                <a:cs typeface="Arial" panose="020B0604020202020204" pitchFamily="34" charset="0"/>
              </a:rPr>
              <a:t>Celles-ci ne seront ouvertes </a:t>
            </a:r>
            <a:r>
              <a:rPr lang="fr-FR" sz="1600" b="1">
                <a:latin typeface="Arial" panose="020B0604020202020204" pitchFamily="34" charset="0"/>
                <a:cs typeface="Arial" panose="020B0604020202020204" pitchFamily="34" charset="0"/>
              </a:rPr>
              <a:t>qu’après le GO définitif </a:t>
            </a:r>
            <a:r>
              <a:rPr lang="fr-FR" sz="1600">
                <a:latin typeface="Arial" panose="020B0604020202020204" pitchFamily="34" charset="0"/>
                <a:cs typeface="Arial" panose="020B0604020202020204" pitchFamily="34" charset="0"/>
              </a:rPr>
              <a:t>sur l’ensemble des éléments d’analyse</a:t>
            </a:r>
            <a:r>
              <a:rPr lang="fr-FR" sz="1600" b="1">
                <a:latin typeface="Arial" panose="020B0604020202020204" pitchFamily="34" charset="0"/>
                <a:cs typeface="Arial" panose="020B0604020202020204" pitchFamily="34" charset="0"/>
              </a:rPr>
              <a:t>. </a:t>
            </a:r>
            <a:r>
              <a:rPr lang="fr-FR" sz="1600">
                <a:latin typeface="Arial" panose="020B0604020202020204" pitchFamily="34" charset="0"/>
                <a:cs typeface="Arial" panose="020B0604020202020204" pitchFamily="34" charset="0"/>
              </a:rPr>
              <a:t>Les demandes de précision pourront être faites dès cette phase</a:t>
            </a:r>
          </a:p>
        </p:txBody>
      </p:sp>
      <p:sp>
        <p:nvSpPr>
          <p:cNvPr id="24" name="ZoneTexte 23">
            <a:extLst>
              <a:ext uri="{FF2B5EF4-FFF2-40B4-BE49-F238E27FC236}">
                <a16:creationId xmlns:a16="http://schemas.microsoft.com/office/drawing/2014/main" id="{41707C96-E0D1-DDDF-B3E3-24D370570896}"/>
              </a:ext>
            </a:extLst>
          </p:cNvPr>
          <p:cNvSpPr txBox="1"/>
          <p:nvPr/>
        </p:nvSpPr>
        <p:spPr>
          <a:xfrm>
            <a:off x="1053266" y="7780161"/>
            <a:ext cx="6233934" cy="33855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Phase GTP</a:t>
            </a:r>
            <a:endParaRPr lang="fr-FR" sz="1600">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DFB02D31-E3AA-8659-C432-4DCE45F80A99}"/>
              </a:ext>
            </a:extLst>
          </p:cNvPr>
          <p:cNvSpPr txBox="1"/>
          <p:nvPr/>
        </p:nvSpPr>
        <p:spPr>
          <a:xfrm>
            <a:off x="9002878" y="7364663"/>
            <a:ext cx="6469327" cy="830997"/>
          </a:xfrm>
          <a:prstGeom prst="rect">
            <a:avLst/>
          </a:prstGeom>
          <a:noFill/>
        </p:spPr>
        <p:txBody>
          <a:bodyPr wrap="square">
            <a:spAutoFit/>
          </a:bodyPr>
          <a:lstStyle/>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Présentation des dossiers complets et de qualité au GTP. </a:t>
            </a:r>
            <a:r>
              <a:rPr lang="fr-FR" sz="1600">
                <a:latin typeface="Arial" panose="020B0604020202020204" pitchFamily="34" charset="0"/>
                <a:cs typeface="Arial" panose="020B0604020202020204" pitchFamily="34" charset="0"/>
              </a:rPr>
              <a:t>S’il reste des doutes ou des questions sans réponse sur un dossier, celui-ci ne sera pas présenté en GTP</a:t>
            </a:r>
          </a:p>
        </p:txBody>
      </p:sp>
      <p:cxnSp>
        <p:nvCxnSpPr>
          <p:cNvPr id="26" name="Connecteur droit 25">
            <a:extLst>
              <a:ext uri="{FF2B5EF4-FFF2-40B4-BE49-F238E27FC236}">
                <a16:creationId xmlns:a16="http://schemas.microsoft.com/office/drawing/2014/main" id="{C25C076B-5663-507B-CDB0-ED75E30B0E96}"/>
              </a:ext>
            </a:extLst>
          </p:cNvPr>
          <p:cNvCxnSpPr>
            <a:cxnSpLocks/>
          </p:cNvCxnSpPr>
          <p:nvPr/>
        </p:nvCxnSpPr>
        <p:spPr>
          <a:xfrm>
            <a:off x="1242907" y="8373499"/>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869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B1CFC-8074-1217-CA81-B13E9AE31DDB}"/>
            </a:ext>
          </a:extLst>
        </p:cNvPr>
        <p:cNvGrpSpPr/>
        <p:nvPr/>
      </p:nvGrpSpPr>
      <p:grpSpPr>
        <a:xfrm>
          <a:off x="0" y="0"/>
          <a:ext cx="0" cy="0"/>
          <a:chOff x="0" y="0"/>
          <a:chExt cx="0" cy="0"/>
        </a:xfrm>
      </p:grpSpPr>
      <p:sp>
        <p:nvSpPr>
          <p:cNvPr id="21" name="Espace réservé du numéro de diapositive 2">
            <a:extLst>
              <a:ext uri="{FF2B5EF4-FFF2-40B4-BE49-F238E27FC236}">
                <a16:creationId xmlns:a16="http://schemas.microsoft.com/office/drawing/2014/main" id="{327B60B7-0E3E-3F5D-5415-B9C0B0583132}"/>
              </a:ext>
            </a:extLst>
          </p:cNvPr>
          <p:cNvSpPr txBox="1">
            <a:spLocks/>
          </p:cNvSpPr>
          <p:nvPr/>
        </p:nvSpPr>
        <p:spPr>
          <a:xfrm>
            <a:off x="25136273" y="8858037"/>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21</a:t>
            </a:fld>
            <a:endParaRPr lang="fr-FR" sz="1400">
              <a:solidFill>
                <a:prstClr val="black"/>
              </a:solidFill>
              <a:latin typeface="Calibri"/>
            </a:endParaRPr>
          </a:p>
        </p:txBody>
      </p:sp>
      <p:sp>
        <p:nvSpPr>
          <p:cNvPr id="4" name="Title 2">
            <a:extLst>
              <a:ext uri="{FF2B5EF4-FFF2-40B4-BE49-F238E27FC236}">
                <a16:creationId xmlns:a16="http://schemas.microsoft.com/office/drawing/2014/main" id="{27BF6160-CE99-D480-9EC7-8E863C1C8C10}"/>
              </a:ext>
            </a:extLst>
          </p:cNvPr>
          <p:cNvSpPr>
            <a:spLocks noGrp="1"/>
          </p:cNvSpPr>
          <p:nvPr>
            <p:ph type="title"/>
          </p:nvPr>
        </p:nvSpPr>
        <p:spPr>
          <a:xfrm>
            <a:off x="1667003" y="226006"/>
            <a:ext cx="12088497" cy="978729"/>
          </a:xfrm>
        </p:spPr>
        <p:txBody>
          <a:bodyPr/>
          <a:lstStyle/>
          <a:p>
            <a:pPr algn="l"/>
            <a:r>
              <a:rPr lang="fr-FR" sz="3200">
                <a:solidFill>
                  <a:schemeClr val="tx1"/>
                </a:solidFill>
                <a:latin typeface="Arial Black"/>
              </a:rPr>
              <a:t>Les évolutions du processus de suivi de projet et candidature</a:t>
            </a:r>
          </a:p>
        </p:txBody>
      </p:sp>
      <p:sp>
        <p:nvSpPr>
          <p:cNvPr id="3" name="Rectangle 2">
            <a:extLst>
              <a:ext uri="{FF2B5EF4-FFF2-40B4-BE49-F238E27FC236}">
                <a16:creationId xmlns:a16="http://schemas.microsoft.com/office/drawing/2014/main" id="{AF33166C-2089-3C62-5CD2-83FCB79CBF8D}"/>
              </a:ext>
            </a:extLst>
          </p:cNvPr>
          <p:cNvSpPr/>
          <p:nvPr/>
        </p:nvSpPr>
        <p:spPr>
          <a:xfrm>
            <a:off x="14739660" y="160676"/>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B6C58976-2FF6-A9E1-DC60-1F325D1CF82C}"/>
              </a:ext>
            </a:extLst>
          </p:cNvPr>
          <p:cNvPicPr>
            <a:picLocks noChangeAspect="1"/>
          </p:cNvPicPr>
          <p:nvPr/>
        </p:nvPicPr>
        <p:blipFill>
          <a:blip r:embed="rId3"/>
          <a:stretch>
            <a:fillRect/>
          </a:stretch>
        </p:blipFill>
        <p:spPr>
          <a:xfrm>
            <a:off x="14395548" y="160525"/>
            <a:ext cx="1731779" cy="786568"/>
          </a:xfrm>
          <a:prstGeom prst="rect">
            <a:avLst/>
          </a:prstGeom>
        </p:spPr>
      </p:pic>
      <p:sp>
        <p:nvSpPr>
          <p:cNvPr id="2" name="Rectangle 1">
            <a:extLst>
              <a:ext uri="{FF2B5EF4-FFF2-40B4-BE49-F238E27FC236}">
                <a16:creationId xmlns:a16="http://schemas.microsoft.com/office/drawing/2014/main" id="{33A4B107-3CF4-1379-1202-353D306CE63F}"/>
              </a:ext>
            </a:extLst>
          </p:cNvPr>
          <p:cNvSpPr/>
          <p:nvPr/>
        </p:nvSpPr>
        <p:spPr>
          <a:xfrm>
            <a:off x="4457" y="1511300"/>
            <a:ext cx="8100000" cy="7346737"/>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8B24DF8E-05B6-B960-DE8B-AC0A6496EFC3}"/>
              </a:ext>
            </a:extLst>
          </p:cNvPr>
          <p:cNvSpPr/>
          <p:nvPr/>
        </p:nvSpPr>
        <p:spPr>
          <a:xfrm>
            <a:off x="8156868" y="1511300"/>
            <a:ext cx="8099132" cy="7346737"/>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8">
            <a:extLst>
              <a:ext uri="{FF2B5EF4-FFF2-40B4-BE49-F238E27FC236}">
                <a16:creationId xmlns:a16="http://schemas.microsoft.com/office/drawing/2014/main" id="{3397EB9A-3A6B-C9B1-C623-9EDCE32607A0}"/>
              </a:ext>
            </a:extLst>
          </p:cNvPr>
          <p:cNvCxnSpPr>
            <a:cxnSpLocks/>
          </p:cNvCxnSpPr>
          <p:nvPr/>
        </p:nvCxnSpPr>
        <p:spPr>
          <a:xfrm>
            <a:off x="1435737" y="7229197"/>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Ellipse 9">
            <a:extLst>
              <a:ext uri="{FF2B5EF4-FFF2-40B4-BE49-F238E27FC236}">
                <a16:creationId xmlns:a16="http://schemas.microsoft.com/office/drawing/2014/main" id="{EF270D49-DC17-7D76-1964-00D7EB5F36E8}"/>
              </a:ext>
            </a:extLst>
          </p:cNvPr>
          <p:cNvSpPr/>
          <p:nvPr/>
        </p:nvSpPr>
        <p:spPr>
          <a:xfrm>
            <a:off x="7673463" y="5260181"/>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2" name="Connecteur droit 11">
            <a:extLst>
              <a:ext uri="{FF2B5EF4-FFF2-40B4-BE49-F238E27FC236}">
                <a16:creationId xmlns:a16="http://schemas.microsoft.com/office/drawing/2014/main" id="{D0B11ABD-728E-D680-C396-7E35159935BB}"/>
              </a:ext>
            </a:extLst>
          </p:cNvPr>
          <p:cNvCxnSpPr>
            <a:cxnSpLocks/>
          </p:cNvCxnSpPr>
          <p:nvPr/>
        </p:nvCxnSpPr>
        <p:spPr>
          <a:xfrm>
            <a:off x="1242907" y="4572000"/>
            <a:ext cx="1406418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CBBC694E-8ACD-136D-18B7-6EDF1829973E}"/>
              </a:ext>
            </a:extLst>
          </p:cNvPr>
          <p:cNvSpPr txBox="1"/>
          <p:nvPr/>
        </p:nvSpPr>
        <p:spPr>
          <a:xfrm>
            <a:off x="1008534" y="2703096"/>
            <a:ext cx="6233934" cy="33855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Phase de projet en cours ou en finalisation</a:t>
            </a:r>
            <a:endParaRPr lang="fr-FR" sz="1600">
              <a:latin typeface="Arial" panose="020B0604020202020204" pitchFamily="34" charset="0"/>
              <a:cs typeface="Arial" panose="020B0604020202020204" pitchFamily="34" charset="0"/>
            </a:endParaRPr>
          </a:p>
        </p:txBody>
      </p:sp>
      <p:sp>
        <p:nvSpPr>
          <p:cNvPr id="15" name="ZoneTexte 14">
            <a:extLst>
              <a:ext uri="{FF2B5EF4-FFF2-40B4-BE49-F238E27FC236}">
                <a16:creationId xmlns:a16="http://schemas.microsoft.com/office/drawing/2014/main" id="{7997FE78-1108-A715-14C4-ED264A9669B8}"/>
              </a:ext>
            </a:extLst>
          </p:cNvPr>
          <p:cNvSpPr txBox="1"/>
          <p:nvPr/>
        </p:nvSpPr>
        <p:spPr>
          <a:xfrm>
            <a:off x="9030592" y="1595119"/>
            <a:ext cx="6469327" cy="3046988"/>
          </a:xfrm>
          <a:prstGeom prst="rect">
            <a:avLst/>
          </a:prstGeom>
          <a:noFill/>
        </p:spPr>
        <p:txBody>
          <a:bodyPr wrap="square">
            <a:spAutoFit/>
          </a:bodyPr>
          <a:lstStyle/>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Le CCCA-BTP est un financeur et à ce titre i</a:t>
            </a:r>
            <a:r>
              <a:rPr lang="fr-FR" sz="1600">
                <a:latin typeface="Arial" panose="020B0604020202020204" pitchFamily="34" charset="0"/>
                <a:cs typeface="Arial" panose="020B0604020202020204" pitchFamily="34" charset="0"/>
              </a:rPr>
              <a:t>l n’intervient pas dans la réalisation de votre projet, il a pour </a:t>
            </a:r>
            <a:r>
              <a:rPr lang="fr-FR" sz="1600" b="1">
                <a:latin typeface="Arial" panose="020B0604020202020204" pitchFamily="34" charset="0"/>
                <a:cs typeface="Arial" panose="020B0604020202020204" pitchFamily="34" charset="0"/>
              </a:rPr>
              <a:t>objectif, par l’intermédiaire de sa Direction des Appels à Projets et Expérimentations de piloter les projets</a:t>
            </a:r>
            <a:r>
              <a:rPr lang="fr-FR" sz="1600">
                <a:latin typeface="Arial" panose="020B0604020202020204" pitchFamily="34" charset="0"/>
                <a:cs typeface="Arial" panose="020B0604020202020204" pitchFamily="34" charset="0"/>
              </a:rPr>
              <a:t> afin de garantir que le projet voté en Conseil d’administration est réalisé dans les termes mentionnés dans la convention de subventionnement qui nous lie.</a:t>
            </a:r>
          </a:p>
          <a:p>
            <a:pPr marL="285750" indent="-285750">
              <a:buClr>
                <a:srgbClr val="FFFF00"/>
              </a:buClr>
              <a:buFont typeface="Wingdings" panose="05000000000000000000" pitchFamily="2" charset="2"/>
              <a:buChar char="§"/>
            </a:pPr>
            <a:endParaRPr lang="fr-FR" sz="1600">
              <a:latin typeface="Arial" panose="020B0604020202020204" pitchFamily="34" charset="0"/>
              <a:cs typeface="Arial" panose="020B0604020202020204" pitchFamily="34" charset="0"/>
            </a:endParaRPr>
          </a:p>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A l’initiative de la DAPEX, les Comités de pilotage </a:t>
            </a:r>
            <a:r>
              <a:rPr lang="fr-FR" sz="1600">
                <a:latin typeface="Arial" panose="020B0604020202020204" pitchFamily="34" charset="0"/>
                <a:cs typeface="Arial" panose="020B0604020202020204" pitchFamily="34" charset="0"/>
              </a:rPr>
              <a:t>seront automatiquement prévus lors de la phase de cadrage et la phase de clôture du projet, le nombre de COPILS intermédiaires seront ajustés en fonction de l’importance du projet et du niveau de financement du CCCA-BTP</a:t>
            </a:r>
          </a:p>
        </p:txBody>
      </p:sp>
      <p:sp>
        <p:nvSpPr>
          <p:cNvPr id="5" name="Ellipse 4">
            <a:extLst>
              <a:ext uri="{FF2B5EF4-FFF2-40B4-BE49-F238E27FC236}">
                <a16:creationId xmlns:a16="http://schemas.microsoft.com/office/drawing/2014/main" id="{DEDA0C34-5602-A8A2-F9B3-E08407AB496A}"/>
              </a:ext>
            </a:extLst>
          </p:cNvPr>
          <p:cNvSpPr/>
          <p:nvPr/>
        </p:nvSpPr>
        <p:spPr>
          <a:xfrm>
            <a:off x="7679330" y="2447756"/>
            <a:ext cx="914400" cy="91440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E1D8C9E8-207C-4466-0968-A953D1713022}"/>
              </a:ext>
            </a:extLst>
          </p:cNvPr>
          <p:cNvSpPr txBox="1"/>
          <p:nvPr/>
        </p:nvSpPr>
        <p:spPr>
          <a:xfrm>
            <a:off x="1242907" y="4995567"/>
            <a:ext cx="6233934" cy="338554"/>
          </a:xfrm>
          <a:prstGeom prst="rect">
            <a:avLst/>
          </a:prstGeom>
          <a:noFill/>
        </p:spPr>
        <p:txBody>
          <a:bodyPr wrap="square">
            <a:spAutoFit/>
          </a:bodyPr>
          <a:lstStyle/>
          <a:p>
            <a:pPr algn="r"/>
            <a:r>
              <a:rPr lang="fr-FR" sz="1600" b="1">
                <a:latin typeface="Arial" panose="020B0604020202020204" pitchFamily="34" charset="0"/>
                <a:cs typeface="Arial" panose="020B0604020202020204" pitchFamily="34" charset="0"/>
              </a:rPr>
              <a:t>Phase de candidature en cours ou en finalisation</a:t>
            </a:r>
            <a:endParaRPr lang="fr-FR" sz="1600">
              <a:latin typeface="Arial" panose="020B0604020202020204" pitchFamily="34" charset="0"/>
              <a:cs typeface="Arial" panose="020B0604020202020204" pitchFamily="34" charset="0"/>
            </a:endParaRPr>
          </a:p>
        </p:txBody>
      </p:sp>
      <p:sp>
        <p:nvSpPr>
          <p:cNvPr id="16" name="ZoneTexte 15">
            <a:extLst>
              <a:ext uri="{FF2B5EF4-FFF2-40B4-BE49-F238E27FC236}">
                <a16:creationId xmlns:a16="http://schemas.microsoft.com/office/drawing/2014/main" id="{3A88E707-3723-DC48-523D-71A23E9764D2}"/>
              </a:ext>
            </a:extLst>
          </p:cNvPr>
          <p:cNvSpPr txBox="1"/>
          <p:nvPr/>
        </p:nvSpPr>
        <p:spPr>
          <a:xfrm>
            <a:off x="9047906" y="4716566"/>
            <a:ext cx="6469327" cy="2308324"/>
          </a:xfrm>
          <a:prstGeom prst="rect">
            <a:avLst/>
          </a:prstGeom>
          <a:noFill/>
        </p:spPr>
        <p:txBody>
          <a:bodyPr wrap="square">
            <a:spAutoFit/>
          </a:bodyPr>
          <a:lstStyle/>
          <a:p>
            <a:pPr>
              <a:buClr>
                <a:srgbClr val="FFFF00"/>
              </a:buClr>
            </a:pPr>
            <a:endParaRPr lang="fr-FR" sz="1600">
              <a:latin typeface="Arial" panose="020B0604020202020204" pitchFamily="34" charset="0"/>
              <a:cs typeface="Arial" panose="020B0604020202020204" pitchFamily="34" charset="0"/>
            </a:endParaRPr>
          </a:p>
          <a:p>
            <a:pPr marL="285750" indent="-285750">
              <a:buClr>
                <a:srgbClr val="FFFF00"/>
              </a:buClr>
              <a:buFont typeface="Wingdings" panose="05000000000000000000" pitchFamily="2" charset="2"/>
              <a:buChar char="§"/>
            </a:pPr>
            <a:r>
              <a:rPr lang="fr-FR" sz="1600" b="1">
                <a:latin typeface="Arial" panose="020B0604020202020204" pitchFamily="34" charset="0"/>
                <a:cs typeface="Arial" panose="020B0604020202020204" pitchFamily="34" charset="0"/>
              </a:rPr>
              <a:t>A l’initiative de la DAPEX, Il sera organisé dans la mesure du possible des Comités de pilotage centraux, </a:t>
            </a:r>
            <a:r>
              <a:rPr lang="fr-FR" sz="1600">
                <a:latin typeface="Arial" panose="020B0604020202020204" pitchFamily="34" charset="0"/>
                <a:cs typeface="Arial" panose="020B0604020202020204" pitchFamily="34" charset="0"/>
              </a:rPr>
              <a:t>regroupant plusieurs candidats sur la même thématique d’AàC afin de faire bénéficier aux autres les expériences et démarches de mise en œuvre des dispositifs poussés par le CCCA-BTP. </a:t>
            </a:r>
          </a:p>
          <a:p>
            <a:pPr>
              <a:buClr>
                <a:srgbClr val="FFFF00"/>
              </a:buClr>
            </a:pPr>
            <a:endParaRPr lang="fr-FR" sz="1600">
              <a:latin typeface="Arial" panose="020B0604020202020204" pitchFamily="34" charset="0"/>
              <a:cs typeface="Arial" panose="020B0604020202020204" pitchFamily="34" charset="0"/>
            </a:endParaRPr>
          </a:p>
          <a:p>
            <a:pPr marL="285750" indent="-285750">
              <a:buClr>
                <a:srgbClr val="FFFF00"/>
              </a:buClr>
              <a:buFont typeface="Wingdings" panose="05000000000000000000" pitchFamily="2" charset="2"/>
              <a:buChar char="§"/>
            </a:pPr>
            <a:r>
              <a:rPr lang="fr-FR" sz="1600">
                <a:latin typeface="Arial" panose="020B0604020202020204" pitchFamily="34" charset="0"/>
                <a:cs typeface="Arial" panose="020B0604020202020204" pitchFamily="34" charset="0"/>
              </a:rPr>
              <a:t>Bien entendu des points individuels seront organisés notamment pour le suivi financier des subventions.</a:t>
            </a:r>
          </a:p>
        </p:txBody>
      </p:sp>
    </p:spTree>
    <p:extLst>
      <p:ext uri="{BB962C8B-B14F-4D97-AF65-F5344CB8AC3E}">
        <p14:creationId xmlns:p14="http://schemas.microsoft.com/office/powerpoint/2010/main" val="1789458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B20DAB9-1109-9AA8-FE58-A8D4F18CF902}"/>
              </a:ext>
            </a:extLst>
          </p:cNvPr>
          <p:cNvSpPr/>
          <p:nvPr/>
        </p:nvSpPr>
        <p:spPr>
          <a:xfrm>
            <a:off x="8331200" y="1511299"/>
            <a:ext cx="3168572" cy="7347510"/>
          </a:xfrm>
          <a:prstGeom prst="rec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844175A2-653D-617F-8E87-A1C5C91A7509}"/>
              </a:ext>
            </a:extLst>
          </p:cNvPr>
          <p:cNvSpPr/>
          <p:nvPr/>
        </p:nvSpPr>
        <p:spPr>
          <a:xfrm>
            <a:off x="11248571" y="1480457"/>
            <a:ext cx="5007429" cy="7378352"/>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C56D5060-3783-01AA-50F3-E943967C2422}"/>
              </a:ext>
            </a:extLst>
          </p:cNvPr>
          <p:cNvSpPr/>
          <p:nvPr/>
        </p:nvSpPr>
        <p:spPr>
          <a:xfrm>
            <a:off x="203200" y="1480457"/>
            <a:ext cx="8128000" cy="7378353"/>
          </a:xfrm>
          <a:prstGeom prst="rect">
            <a:avLst/>
          </a:prstGeom>
          <a:solidFill>
            <a:srgbClr val="FEEC0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3F625F6C-A975-288E-C77E-3A08EA4C7ED0}"/>
              </a:ext>
            </a:extLst>
          </p:cNvPr>
          <p:cNvSpPr>
            <a:spLocks noGrp="1"/>
          </p:cNvSpPr>
          <p:nvPr>
            <p:ph type="title"/>
          </p:nvPr>
        </p:nvSpPr>
        <p:spPr/>
        <p:txBody>
          <a:bodyPr/>
          <a:lstStyle/>
          <a:p>
            <a:r>
              <a:rPr lang="fr-FR"/>
              <a:t>La structuration de la plateforme</a:t>
            </a:r>
          </a:p>
        </p:txBody>
      </p:sp>
      <p:sp>
        <p:nvSpPr>
          <p:cNvPr id="3" name="Espace réservé du numéro de diapositive 2">
            <a:extLst>
              <a:ext uri="{FF2B5EF4-FFF2-40B4-BE49-F238E27FC236}">
                <a16:creationId xmlns:a16="http://schemas.microsoft.com/office/drawing/2014/main" id="{B1673E19-D7D1-3EE8-13B8-841F74C422EA}"/>
              </a:ext>
            </a:extLst>
          </p:cNvPr>
          <p:cNvSpPr>
            <a:spLocks noGrp="1"/>
          </p:cNvSpPr>
          <p:nvPr>
            <p:ph type="sldNum" sz="quarter" idx="10"/>
          </p:nvPr>
        </p:nvSpPr>
        <p:spPr/>
        <p:txBody>
          <a:bodyPr/>
          <a:lstStyle/>
          <a:p>
            <a:fld id="{54A149C6-6019-4B05-B4F5-8ADACCDF97D0}" type="slidenum">
              <a:rPr lang="fr-FR" smtClean="0"/>
              <a:pPr/>
              <a:t>23</a:t>
            </a:fld>
            <a:endParaRPr lang="fr-FR"/>
          </a:p>
        </p:txBody>
      </p:sp>
      <p:pic>
        <p:nvPicPr>
          <p:cNvPr id="5" name="Image 4">
            <a:extLst>
              <a:ext uri="{FF2B5EF4-FFF2-40B4-BE49-F238E27FC236}">
                <a16:creationId xmlns:a16="http://schemas.microsoft.com/office/drawing/2014/main" id="{29692F1C-C62E-5C64-91AC-FBF02300A89D}"/>
              </a:ext>
            </a:extLst>
          </p:cNvPr>
          <p:cNvPicPr>
            <a:picLocks noChangeAspect="1"/>
          </p:cNvPicPr>
          <p:nvPr/>
        </p:nvPicPr>
        <p:blipFill>
          <a:blip r:embed="rId2"/>
          <a:srcRect l="-1340" t="13650" r="-1667" b="25196"/>
          <a:stretch/>
        </p:blipFill>
        <p:spPr>
          <a:xfrm>
            <a:off x="284911" y="2304037"/>
            <a:ext cx="15952348" cy="5328663"/>
          </a:xfrm>
          <a:prstGeom prst="rect">
            <a:avLst/>
          </a:prstGeom>
        </p:spPr>
      </p:pic>
    </p:spTree>
    <p:extLst>
      <p:ext uri="{BB962C8B-B14F-4D97-AF65-F5344CB8AC3E}">
        <p14:creationId xmlns:p14="http://schemas.microsoft.com/office/powerpoint/2010/main" val="20560562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599089" y="3187005"/>
            <a:ext cx="15349123" cy="2769989"/>
          </a:xfrm>
          <a:prstGeom prst="rect">
            <a:avLst/>
          </a:prstGeom>
        </p:spPr>
        <p:txBody>
          <a:bodyPr wrap="square" lIns="0" tIns="0" rIns="0" bIns="0" rtlCol="0" anchor="t">
            <a:spAutoFit/>
          </a:bodyPr>
          <a:lstStyle/>
          <a:p>
            <a:pPr defTabSz="812810">
              <a:defRPr/>
            </a:pPr>
            <a:r>
              <a:rPr lang="fr-FR" sz="6000" b="1" dirty="0">
                <a:solidFill>
                  <a:prstClr val="black"/>
                </a:solidFill>
                <a:latin typeface="Arial Black"/>
                <a:cs typeface="Arial"/>
              </a:rPr>
              <a:t>VI – Principales actualités de la Direction des Appels à Projets et Expérimentations (DAPEX)</a:t>
            </a: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3</a:t>
            </a:fld>
            <a:endParaRPr lang="fr-FR" sz="1333">
              <a:solidFill>
                <a:prstClr val="black"/>
              </a:solidFill>
              <a:latin typeface="Calibri"/>
            </a:endParaRPr>
          </a:p>
        </p:txBody>
      </p:sp>
      <p:sp>
        <p:nvSpPr>
          <p:cNvPr id="3" name="Rectangle 2">
            <a:extLst>
              <a:ext uri="{FF2B5EF4-FFF2-40B4-BE49-F238E27FC236}">
                <a16:creationId xmlns:a16="http://schemas.microsoft.com/office/drawing/2014/main" id="{CD12B7EB-FDAE-FD09-5ED5-9B9B5B0142B4}"/>
              </a:ext>
            </a:extLst>
          </p:cNvPr>
          <p:cNvSpPr/>
          <p:nvPr/>
        </p:nvSpPr>
        <p:spPr>
          <a:xfrm>
            <a:off x="14430575" y="7417448"/>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EEC5E1A5-6B5C-3B7B-4121-EA98A2A49CA7}"/>
              </a:ext>
            </a:extLst>
          </p:cNvPr>
          <p:cNvPicPr>
            <a:picLocks noChangeAspect="1"/>
          </p:cNvPicPr>
          <p:nvPr/>
        </p:nvPicPr>
        <p:blipFill>
          <a:blip r:embed="rId3"/>
          <a:stretch>
            <a:fillRect/>
          </a:stretch>
        </p:blipFill>
        <p:spPr>
          <a:xfrm>
            <a:off x="14422425" y="7767346"/>
            <a:ext cx="1403137" cy="746758"/>
          </a:xfrm>
          <a:prstGeom prst="rect">
            <a:avLst/>
          </a:prstGeom>
        </p:spPr>
      </p:pic>
    </p:spTree>
    <p:extLst>
      <p:ext uri="{BB962C8B-B14F-4D97-AF65-F5344CB8AC3E}">
        <p14:creationId xmlns:p14="http://schemas.microsoft.com/office/powerpoint/2010/main" val="38188922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BDB0A5-C91A-3C0D-DEC2-A551C911D32A}"/>
              </a:ext>
            </a:extLst>
          </p:cNvPr>
          <p:cNvSpPr>
            <a:spLocks noGrp="1"/>
          </p:cNvSpPr>
          <p:nvPr>
            <p:ph type="title"/>
          </p:nvPr>
        </p:nvSpPr>
        <p:spPr/>
        <p:txBody>
          <a:bodyPr>
            <a:normAutofit fontScale="90000"/>
          </a:bodyPr>
          <a:lstStyle/>
          <a:p>
            <a:r>
              <a:rPr lang="fr-FR"/>
              <a:t>Principales actualités de la Direction des Appels à Projets et Expérimentations</a:t>
            </a:r>
          </a:p>
        </p:txBody>
      </p:sp>
      <p:sp>
        <p:nvSpPr>
          <p:cNvPr id="3" name="Espace réservé du numéro de diapositive 2">
            <a:extLst>
              <a:ext uri="{FF2B5EF4-FFF2-40B4-BE49-F238E27FC236}">
                <a16:creationId xmlns:a16="http://schemas.microsoft.com/office/drawing/2014/main" id="{CAAA3AE9-3598-0C69-6C69-0A317EAD2D88}"/>
              </a:ext>
            </a:extLst>
          </p:cNvPr>
          <p:cNvSpPr>
            <a:spLocks noGrp="1"/>
          </p:cNvSpPr>
          <p:nvPr>
            <p:ph type="sldNum" sz="quarter" idx="10"/>
          </p:nvPr>
        </p:nvSpPr>
        <p:spPr/>
        <p:txBody>
          <a:bodyPr/>
          <a:lstStyle/>
          <a:p>
            <a:fld id="{54A149C6-6019-4B05-B4F5-8ADACCDF97D0}" type="slidenum">
              <a:rPr lang="fr-FR" smtClean="0"/>
              <a:pPr/>
              <a:t>25</a:t>
            </a:fld>
            <a:endParaRPr lang="fr-FR"/>
          </a:p>
        </p:txBody>
      </p:sp>
      <p:sp>
        <p:nvSpPr>
          <p:cNvPr id="4" name="Espace réservé du texte 3">
            <a:extLst>
              <a:ext uri="{FF2B5EF4-FFF2-40B4-BE49-F238E27FC236}">
                <a16:creationId xmlns:a16="http://schemas.microsoft.com/office/drawing/2014/main" id="{0B2701BF-7A75-60ED-4A78-61E94E986E67}"/>
              </a:ext>
            </a:extLst>
          </p:cNvPr>
          <p:cNvSpPr>
            <a:spLocks noGrp="1"/>
          </p:cNvSpPr>
          <p:nvPr>
            <p:ph type="body" sz="quarter" idx="11"/>
          </p:nvPr>
        </p:nvSpPr>
        <p:spPr/>
        <p:txBody>
          <a:bodyPr>
            <a:normAutofit fontScale="85000" lnSpcReduction="20000"/>
          </a:bodyPr>
          <a:lstStyle/>
          <a:p>
            <a:r>
              <a:rPr lang="fr-FR" sz="4400" b="0"/>
              <a:t>Préparation du Tour de France auprès des bénéficiaires des subventions du CCCA-BTP (AàP et AàC)</a:t>
            </a:r>
          </a:p>
          <a:p>
            <a:r>
              <a:rPr lang="fr-FR" sz="4400" b="0"/>
              <a:t>Elaboration d’une démarche de Retour sur Investissement des projets (AàP) ainsi qu’une démarche de ROI pour les dispositifs d’AàC</a:t>
            </a:r>
          </a:p>
          <a:p>
            <a:r>
              <a:rPr lang="fr-FR" sz="4400" b="0"/>
              <a:t>Recrutement de trois collaborateurs</a:t>
            </a:r>
          </a:p>
          <a:p>
            <a:r>
              <a:rPr lang="fr-FR" sz="4400" b="0"/>
              <a:t>Initiales du BTP le 11 mars avec les porteurs de projets !</a:t>
            </a:r>
          </a:p>
          <a:p>
            <a:r>
              <a:rPr lang="fr-FR" sz="4400" b="0"/>
              <a:t>Trophées de l’innovation mise en avant des projets réalisés le 22 mai ! </a:t>
            </a:r>
          </a:p>
          <a:p>
            <a:r>
              <a:rPr lang="fr-FR" sz="4400" b="0"/>
              <a:t>Webinaire de présentation du nouvel AàP Investissement énergétique le 24 janvier à 11H</a:t>
            </a:r>
          </a:p>
          <a:p>
            <a:r>
              <a:rPr lang="fr-FR" sz="4400" b="0"/>
              <a:t>Webinaire à prévoir pour présenter les nouveautés de la plateforme d’AàP</a:t>
            </a:r>
          </a:p>
          <a:p>
            <a:r>
              <a:rPr lang="fr-FR" sz="4400" b="0"/>
              <a:t>Webinaire spécifique à l’essaimage et à la démarche ROI</a:t>
            </a:r>
          </a:p>
          <a:p>
            <a:r>
              <a:rPr lang="fr-FR" sz="4400" b="0"/>
              <a:t>Actions de promotion des projets réalisés (</a:t>
            </a:r>
            <a:r>
              <a:rPr lang="fr-FR" sz="2800" b="0"/>
              <a:t>webconférence, newsletter, rapport d’activité, cartographie des projets etc…)</a:t>
            </a:r>
          </a:p>
          <a:p>
            <a:endParaRPr lang="fr-FR" sz="4400"/>
          </a:p>
        </p:txBody>
      </p:sp>
    </p:spTree>
    <p:extLst>
      <p:ext uri="{BB962C8B-B14F-4D97-AF65-F5344CB8AC3E}">
        <p14:creationId xmlns:p14="http://schemas.microsoft.com/office/powerpoint/2010/main" val="331452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2563585" y="2814120"/>
            <a:ext cx="12081417" cy="3515759"/>
          </a:xfrm>
          <a:prstGeom prst="rect">
            <a:avLst/>
          </a:prstGeom>
        </p:spPr>
        <p:txBody>
          <a:bodyPr wrap="square" lIns="0" tIns="0" rIns="0" bIns="0" rtlCol="0" anchor="t">
            <a:spAutoFit/>
          </a:bodyPr>
          <a:lstStyle/>
          <a:p>
            <a:pPr defTabSz="812810">
              <a:defRPr/>
            </a:pPr>
            <a:r>
              <a:rPr lang="fr-FR" sz="4400" b="1">
                <a:solidFill>
                  <a:prstClr val="black"/>
                </a:solidFill>
                <a:latin typeface="Arial Black"/>
                <a:cs typeface="Arial"/>
              </a:rPr>
              <a:t>La Direction des Appels à Projets et Expérimentations </a:t>
            </a:r>
          </a:p>
          <a:p>
            <a:pPr defTabSz="812810">
              <a:defRPr/>
            </a:pPr>
            <a:r>
              <a:rPr lang="fr-FR" sz="4400" b="1">
                <a:solidFill>
                  <a:prstClr val="black"/>
                </a:solidFill>
                <a:latin typeface="Arial Black"/>
                <a:cs typeface="Arial"/>
              </a:rPr>
              <a:t>vous remercie pour votre participation et vous souhaite une année riche en projets réussis !</a:t>
            </a:r>
            <a:endParaRPr lang="fr-FR" sz="4400" b="1">
              <a:solidFill>
                <a:prstClr val="black"/>
              </a:solidFill>
              <a:latin typeface="Arial Black" panose="020B0A04020102020204" pitchFamily="34" charset="0"/>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62F37B3A-A0F7-C55A-10FE-BA5B44571F46}"/>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5</a:t>
            </a:fld>
            <a:endParaRPr lang="fr-FR" sz="1333">
              <a:solidFill>
                <a:prstClr val="black"/>
              </a:solidFill>
              <a:latin typeface="Calibri"/>
            </a:endParaRPr>
          </a:p>
        </p:txBody>
      </p:sp>
      <p:sp>
        <p:nvSpPr>
          <p:cNvPr id="3" name="Rectangle 2">
            <a:extLst>
              <a:ext uri="{FF2B5EF4-FFF2-40B4-BE49-F238E27FC236}">
                <a16:creationId xmlns:a16="http://schemas.microsoft.com/office/drawing/2014/main" id="{CD12B7EB-FDAE-FD09-5ED5-9B9B5B0142B4}"/>
              </a:ext>
            </a:extLst>
          </p:cNvPr>
          <p:cNvSpPr/>
          <p:nvPr/>
        </p:nvSpPr>
        <p:spPr>
          <a:xfrm>
            <a:off x="14430575" y="7417448"/>
            <a:ext cx="1387667" cy="11101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EEC5E1A5-6B5C-3B7B-4121-EA98A2A49CA7}"/>
              </a:ext>
            </a:extLst>
          </p:cNvPr>
          <p:cNvPicPr>
            <a:picLocks noChangeAspect="1"/>
          </p:cNvPicPr>
          <p:nvPr/>
        </p:nvPicPr>
        <p:blipFill>
          <a:blip r:embed="rId3"/>
          <a:stretch>
            <a:fillRect/>
          </a:stretch>
        </p:blipFill>
        <p:spPr>
          <a:xfrm>
            <a:off x="14422425" y="7767346"/>
            <a:ext cx="1403137" cy="746758"/>
          </a:xfrm>
          <a:prstGeom prst="rect">
            <a:avLst/>
          </a:prstGeom>
        </p:spPr>
      </p:pic>
    </p:spTree>
    <p:extLst>
      <p:ext uri="{BB962C8B-B14F-4D97-AF65-F5344CB8AC3E}">
        <p14:creationId xmlns:p14="http://schemas.microsoft.com/office/powerpoint/2010/main" val="37654099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2">
            <a:extLst>
              <a:ext uri="{FF2B5EF4-FFF2-40B4-BE49-F238E27FC236}">
                <a16:creationId xmlns:a16="http://schemas.microsoft.com/office/drawing/2014/main" id="{8A471CDD-D82B-9C28-8EF9-4B39BE369DF4}"/>
              </a:ext>
            </a:extLst>
          </p:cNvPr>
          <p:cNvSpPr txBox="1">
            <a:spLocks/>
          </p:cNvSpPr>
          <p:nvPr/>
        </p:nvSpPr>
        <p:spPr>
          <a:xfrm>
            <a:off x="15243606" y="8718550"/>
            <a:ext cx="565149" cy="308371"/>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215">
              <a:defRPr/>
            </a:pPr>
            <a:fld id="{54A149C6-6019-4B05-B4F5-8ADACCDF97D0}" type="slidenum">
              <a:rPr lang="fr-FR" sz="1333">
                <a:solidFill>
                  <a:prstClr val="black"/>
                </a:solidFill>
                <a:latin typeface="Calibri"/>
              </a:rPr>
              <a:pPr algn="ctr" defTabSz="1219215">
                <a:defRPr/>
              </a:pPr>
              <a:t>26</a:t>
            </a:fld>
            <a:endParaRPr lang="fr-FR" sz="1333">
              <a:solidFill>
                <a:prstClr val="black"/>
              </a:solidFill>
              <a:latin typeface="Calibri"/>
            </a:endParaRPr>
          </a:p>
        </p:txBody>
      </p:sp>
      <p:sp>
        <p:nvSpPr>
          <p:cNvPr id="3" name="ZoneTexte 2">
            <a:extLst>
              <a:ext uri="{FF2B5EF4-FFF2-40B4-BE49-F238E27FC236}">
                <a16:creationId xmlns:a16="http://schemas.microsoft.com/office/drawing/2014/main" id="{BAB4DC1E-59E8-D902-8D87-112C2AF47A62}"/>
              </a:ext>
            </a:extLst>
          </p:cNvPr>
          <p:cNvSpPr txBox="1"/>
          <p:nvPr/>
        </p:nvSpPr>
        <p:spPr>
          <a:xfrm>
            <a:off x="4523014" y="3450208"/>
            <a:ext cx="6613072" cy="2923877"/>
          </a:xfrm>
          <a:prstGeom prst="rect">
            <a:avLst/>
          </a:prstGeom>
          <a:solidFill>
            <a:schemeClr val="bg1"/>
          </a:solidFill>
        </p:spPr>
        <p:txBody>
          <a:bodyPr wrap="square">
            <a:spAutoFit/>
          </a:bodyPr>
          <a:lstStyle/>
          <a:p>
            <a:pPr algn="ctr"/>
            <a:endParaRPr lang="fr-FR" sz="1000" b="1">
              <a:solidFill>
                <a:srgbClr val="000000"/>
              </a:solidFill>
              <a:latin typeface="+mj-lt"/>
              <a:ea typeface="+mj-ea"/>
            </a:endParaRPr>
          </a:p>
          <a:p>
            <a:pPr algn="ctr"/>
            <a:r>
              <a:rPr lang="fr-FR" sz="2400" b="1">
                <a:solidFill>
                  <a:srgbClr val="000000"/>
                </a:solidFill>
                <a:latin typeface="+mj-lt"/>
                <a:ea typeface="+mj-ea"/>
              </a:rPr>
              <a:t>Pour plus d’informations,</a:t>
            </a:r>
            <a:endParaRPr lang="fr-FR" sz="2400" b="1">
              <a:solidFill>
                <a:srgbClr val="255F8F"/>
              </a:solidFill>
              <a:latin typeface="+mj-lt"/>
              <a:ea typeface="+mj-ea"/>
              <a:hlinkClick r:id="rId2">
                <a:extLst>
                  <a:ext uri="{A12FA001-AC4F-418D-AE19-62706E023703}">
                    <ahyp:hlinkClr xmlns:ahyp="http://schemas.microsoft.com/office/drawing/2018/hyperlinkcolor" val="tx"/>
                  </a:ext>
                </a:extLst>
              </a:hlinkClick>
            </a:endParaRPr>
          </a:p>
          <a:p>
            <a:pPr algn="ctr"/>
            <a:endParaRPr kumimoji="0" lang="fr-FR" sz="1400" b="1" i="0" u="none" strike="noStrike" kern="1200" cap="none" spc="0" normalizeH="0" baseline="0" noProof="0">
              <a:ln>
                <a:noFill/>
              </a:ln>
              <a:solidFill>
                <a:schemeClr val="bg2"/>
              </a:solidFill>
              <a:effectLst/>
              <a:uLnTx/>
              <a:uFillTx/>
              <a:ea typeface="+mj-ea"/>
              <a:hlinkClick r:id="rId2">
                <a:extLst>
                  <a:ext uri="{A12FA001-AC4F-418D-AE19-62706E023703}">
                    <ahyp:hlinkClr xmlns:ahyp="http://schemas.microsoft.com/office/drawing/2018/hyperlinkcolor" val="tx"/>
                  </a:ext>
                </a:extLst>
              </a:hlinkClick>
            </a:endParaRPr>
          </a:p>
          <a:p>
            <a:pPr algn="ctr"/>
            <a:r>
              <a:rPr kumimoji="0" lang="fr-FR" sz="2400" b="1" i="0" u="none" strike="noStrike" kern="1200" cap="none" spc="0" normalizeH="0" baseline="0" noProof="0">
                <a:ln>
                  <a:noFill/>
                </a:ln>
                <a:effectLst/>
                <a:highlight>
                  <a:srgbClr val="FFFF00"/>
                </a:highlight>
                <a:uLnTx/>
                <a:uFillTx/>
                <a:ea typeface="+mj-ea"/>
                <a:hlinkClick r:id="rId2">
                  <a:extLst>
                    <a:ext uri="{A12FA001-AC4F-418D-AE19-62706E023703}">
                      <ahyp:hlinkClr xmlns:ahyp="http://schemas.microsoft.com/office/drawing/2018/hyperlinkcolor" val="tx"/>
                    </a:ext>
                  </a:extLst>
                </a:hlinkClick>
              </a:rPr>
              <a:t>appels-a-projets-cccabtp</a:t>
            </a:r>
            <a:r>
              <a:rPr kumimoji="0" lang="fr-FR" sz="2400" b="1" i="0" u="none" strike="noStrike" kern="1200" cap="none" spc="0" normalizeH="0" baseline="0" noProof="0">
                <a:ln>
                  <a:noFill/>
                </a:ln>
                <a:effectLst/>
                <a:highlight>
                  <a:srgbClr val="FFFF00"/>
                </a:highlight>
                <a:uLnTx/>
                <a:uFillTx/>
                <a:ea typeface="+mj-ea"/>
              </a:rPr>
              <a:t>.fr</a:t>
            </a:r>
            <a:br>
              <a:rPr kumimoji="0" lang="fr-FR" sz="2400" b="1" i="0" u="none" strike="noStrike" kern="1200" cap="none" spc="0" normalizeH="0" baseline="0" noProof="0">
                <a:ln>
                  <a:noFill/>
                </a:ln>
                <a:solidFill>
                  <a:schemeClr val="bg2"/>
                </a:solidFill>
                <a:effectLst/>
                <a:highlight>
                  <a:srgbClr val="FFFF00"/>
                </a:highlight>
                <a:uLnTx/>
                <a:uFillTx/>
                <a:ea typeface="+mj-ea"/>
              </a:rPr>
            </a:br>
            <a:br>
              <a:rPr kumimoji="0" lang="fr-FR" sz="2400" b="1" i="0" u="none" strike="noStrike" kern="1200" cap="none" spc="0" normalizeH="0" baseline="0" noProof="0">
                <a:ln>
                  <a:noFill/>
                </a:ln>
                <a:solidFill>
                  <a:srgbClr val="000000"/>
                </a:solidFill>
                <a:effectLst/>
                <a:uLnTx/>
                <a:uFillTx/>
                <a:ea typeface="+mj-ea"/>
              </a:rPr>
            </a:br>
            <a:r>
              <a:rPr kumimoji="0" lang="fr-FR" sz="2400" b="1" i="0" u="none" strike="noStrike" kern="1200" cap="none" spc="0" normalizeH="0" baseline="0" noProof="0">
                <a:ln>
                  <a:noFill/>
                </a:ln>
                <a:solidFill>
                  <a:srgbClr val="000000"/>
                </a:solidFill>
                <a:effectLst/>
                <a:uLnTx/>
                <a:uFillTx/>
                <a:ea typeface="+mj-ea"/>
              </a:rPr>
              <a:t>Hot line  : 01.40.64.26.76</a:t>
            </a:r>
            <a:br>
              <a:rPr kumimoji="0" lang="fr-FR" sz="2400" b="1" i="0" u="none" strike="noStrike" kern="1200" cap="none" spc="0" normalizeH="0" baseline="0" noProof="0">
                <a:ln>
                  <a:noFill/>
                </a:ln>
                <a:solidFill>
                  <a:srgbClr val="000000"/>
                </a:solidFill>
                <a:effectLst/>
                <a:uLnTx/>
                <a:uFillTx/>
                <a:ea typeface="+mj-ea"/>
              </a:rPr>
            </a:br>
            <a:endParaRPr kumimoji="0" lang="fr-FR" sz="2400" b="1" i="0" u="none" strike="noStrike" kern="1200" cap="none" spc="0" normalizeH="0" baseline="0" noProof="0">
              <a:ln>
                <a:noFill/>
              </a:ln>
              <a:solidFill>
                <a:srgbClr val="000000"/>
              </a:solidFill>
              <a:effectLst/>
              <a:uLnTx/>
              <a:uFillTx/>
              <a:ea typeface="+mj-ea"/>
            </a:endParaRPr>
          </a:p>
          <a:p>
            <a:pPr algn="ctr"/>
            <a:r>
              <a:rPr kumimoji="0" lang="fr-FR" sz="2000" b="1" i="0" u="none" strike="noStrike" kern="1200" cap="none" spc="0" normalizeH="0" baseline="0" noProof="0">
                <a:ln>
                  <a:noFill/>
                </a:ln>
                <a:solidFill>
                  <a:srgbClr val="000000"/>
                </a:solidFill>
                <a:effectLst/>
                <a:uLnTx/>
                <a:uFillTx/>
                <a:ea typeface="+mj-ea"/>
              </a:rPr>
              <a:t>Du lundi au vendredi </a:t>
            </a:r>
            <a:br>
              <a:rPr kumimoji="0" lang="fr-FR" sz="2000" b="1" i="0" u="none" strike="noStrike" kern="1200" cap="none" spc="0" normalizeH="0" baseline="0" noProof="0">
                <a:ln>
                  <a:noFill/>
                </a:ln>
                <a:solidFill>
                  <a:srgbClr val="000000"/>
                </a:solidFill>
                <a:effectLst/>
                <a:uLnTx/>
                <a:uFillTx/>
                <a:ea typeface="+mj-ea"/>
              </a:rPr>
            </a:br>
            <a:r>
              <a:rPr kumimoji="0" lang="fr-FR" sz="2000" b="1" i="0" u="none" strike="noStrike" kern="1200" cap="none" spc="0" normalizeH="0" baseline="0" noProof="0">
                <a:ln>
                  <a:noFill/>
                </a:ln>
                <a:solidFill>
                  <a:srgbClr val="000000"/>
                </a:solidFill>
                <a:effectLst/>
                <a:uLnTx/>
                <a:uFillTx/>
                <a:ea typeface="+mj-ea"/>
              </a:rPr>
              <a:t>09h-12h – 14h-17h</a:t>
            </a:r>
            <a:endParaRPr lang="fr-FR" sz="1400"/>
          </a:p>
        </p:txBody>
      </p:sp>
      <p:pic>
        <p:nvPicPr>
          <p:cNvPr id="5" name="Image 4">
            <a:extLst>
              <a:ext uri="{FF2B5EF4-FFF2-40B4-BE49-F238E27FC236}">
                <a16:creationId xmlns:a16="http://schemas.microsoft.com/office/drawing/2014/main" id="{9823CC12-C075-F0DD-BF74-553FBA0CB228}"/>
              </a:ext>
            </a:extLst>
          </p:cNvPr>
          <p:cNvPicPr>
            <a:picLocks noChangeAspect="1"/>
          </p:cNvPicPr>
          <p:nvPr/>
        </p:nvPicPr>
        <p:blipFill>
          <a:blip r:embed="rId3"/>
          <a:stretch>
            <a:fillRect/>
          </a:stretch>
        </p:blipFill>
        <p:spPr>
          <a:xfrm>
            <a:off x="6324599" y="2121570"/>
            <a:ext cx="3999754" cy="1328638"/>
          </a:xfrm>
          <a:prstGeom prst="rect">
            <a:avLst/>
          </a:prstGeom>
        </p:spPr>
      </p:pic>
      <p:sp>
        <p:nvSpPr>
          <p:cNvPr id="7" name="Rectangle 6">
            <a:extLst>
              <a:ext uri="{FF2B5EF4-FFF2-40B4-BE49-F238E27FC236}">
                <a16:creationId xmlns:a16="http://schemas.microsoft.com/office/drawing/2014/main" id="{E60E4BE1-ED22-AD16-07C4-BB086E70A430}"/>
              </a:ext>
            </a:extLst>
          </p:cNvPr>
          <p:cNvSpPr/>
          <p:nvPr/>
        </p:nvSpPr>
        <p:spPr>
          <a:xfrm>
            <a:off x="8948057" y="2387908"/>
            <a:ext cx="1600200" cy="10305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Image 5" descr="Une image contenant Police, Graphique, logo, symbole&#10;&#10;Description générée automatiquement">
            <a:extLst>
              <a:ext uri="{FF2B5EF4-FFF2-40B4-BE49-F238E27FC236}">
                <a16:creationId xmlns:a16="http://schemas.microsoft.com/office/drawing/2014/main" id="{08ADC2E1-9D45-957B-DD64-AF4E3104936D}"/>
              </a:ext>
            </a:extLst>
          </p:cNvPr>
          <p:cNvPicPr>
            <a:picLocks noChangeAspect="1"/>
          </p:cNvPicPr>
          <p:nvPr/>
        </p:nvPicPr>
        <p:blipFill>
          <a:blip r:embed="rId4"/>
          <a:stretch>
            <a:fillRect/>
          </a:stretch>
        </p:blipFill>
        <p:spPr>
          <a:xfrm>
            <a:off x="8788945" y="2479067"/>
            <a:ext cx="2093233" cy="764213"/>
          </a:xfrm>
          <a:prstGeom prst="rect">
            <a:avLst/>
          </a:prstGeom>
        </p:spPr>
      </p:pic>
    </p:spTree>
    <p:extLst>
      <p:ext uri="{BB962C8B-B14F-4D97-AF65-F5344CB8AC3E}">
        <p14:creationId xmlns:p14="http://schemas.microsoft.com/office/powerpoint/2010/main" val="3681504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58BCC-B219-8358-D01F-0BF3BEB6BAEE}"/>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8581D069-14A3-3AFF-9464-9A4EB9281706}"/>
              </a:ext>
            </a:extLst>
          </p:cNvPr>
          <p:cNvSpPr txBox="1"/>
          <p:nvPr/>
        </p:nvSpPr>
        <p:spPr>
          <a:xfrm>
            <a:off x="599089" y="3233346"/>
            <a:ext cx="14716762" cy="1585049"/>
          </a:xfrm>
          <a:prstGeom prst="rect">
            <a:avLst/>
          </a:prstGeom>
        </p:spPr>
        <p:txBody>
          <a:bodyPr wrap="square" lIns="0" tIns="0" rIns="0" bIns="0" rtlCol="0" anchor="t">
            <a:spAutoFit/>
          </a:bodyPr>
          <a:lstStyle/>
          <a:p>
            <a:pPr defTabSz="812810">
              <a:defRPr/>
            </a:pPr>
            <a:r>
              <a:rPr lang="fr-FR" sz="7100" b="1">
                <a:solidFill>
                  <a:prstClr val="black"/>
                </a:solidFill>
                <a:latin typeface="Arial Black"/>
                <a:cs typeface="Arial"/>
              </a:rPr>
              <a:t>I. Quelques chiffres clefs</a:t>
            </a:r>
            <a:endParaRPr lang="fr-FR" sz="7100">
              <a:solidFill>
                <a:prstClr val="black"/>
              </a:solidFill>
              <a:latin typeface="Arial Black"/>
              <a:cs typeface="Arial"/>
            </a:endParaRPr>
          </a:p>
          <a:p>
            <a:pPr defTabSz="812810">
              <a:defRPr/>
            </a:pPr>
            <a:r>
              <a:rPr lang="fr-FR" sz="3200">
                <a:solidFill>
                  <a:srgbClr val="1D1D1B"/>
                </a:solidFill>
                <a:latin typeface="Arial"/>
                <a:cs typeface="Arial"/>
              </a:rPr>
              <a:t>  </a:t>
            </a:r>
            <a:endParaRPr lang="fr-FR" sz="710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3EF59B1E-9AA4-407C-16F2-37C2CE8CC675}"/>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3</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85B26F79-C2E6-3341-8E09-5210196D383E}"/>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0E26260B-8F78-7277-8493-0E7BC587DC53}"/>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2833991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3A742-BD56-5861-79E2-04A65EBA72F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8A51266B-E8B3-299F-D56F-5450B85771AA}"/>
              </a:ext>
            </a:extLst>
          </p:cNvPr>
          <p:cNvSpPr/>
          <p:nvPr/>
        </p:nvSpPr>
        <p:spPr>
          <a:xfrm>
            <a:off x="6407840" y="-8593"/>
            <a:ext cx="9841849" cy="914400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prstClr val="white"/>
              </a:solidFill>
              <a:latin typeface="Calibri"/>
            </a:endParaRPr>
          </a:p>
        </p:txBody>
      </p:sp>
      <p:sp>
        <p:nvSpPr>
          <p:cNvPr id="3" name="Espace réservé du numéro de diapositive 2">
            <a:extLst>
              <a:ext uri="{FF2B5EF4-FFF2-40B4-BE49-F238E27FC236}">
                <a16:creationId xmlns:a16="http://schemas.microsoft.com/office/drawing/2014/main" id="{0730FE2E-31C0-7A21-246A-9519E40C7B89}"/>
              </a:ext>
            </a:extLst>
          </p:cNvPr>
          <p:cNvSpPr>
            <a:spLocks noGrp="1"/>
          </p:cNvSpPr>
          <p:nvPr>
            <p:ph type="sldNum" sz="quarter" idx="10"/>
          </p:nvPr>
        </p:nvSpPr>
        <p:spPr>
          <a:xfrm>
            <a:off x="15199538" y="8224774"/>
            <a:ext cx="565149" cy="308371"/>
          </a:xfrm>
        </p:spPr>
        <p:txBody>
          <a:bodyPr/>
          <a:lstStyle/>
          <a:p>
            <a:pPr defTabSz="1219170">
              <a:defRPr/>
            </a:pPr>
            <a:fld id="{54A149C6-6019-4B05-B4F5-8ADACCDF97D0}" type="slidenum">
              <a:rPr lang="fr-FR" dirty="0">
                <a:solidFill>
                  <a:prstClr val="black"/>
                </a:solidFill>
                <a:latin typeface="Calibri"/>
              </a:rPr>
              <a:pPr defTabSz="1219170">
                <a:defRPr/>
              </a:pPr>
              <a:t>4</a:t>
            </a:fld>
            <a:endParaRPr lang="fr-FR">
              <a:solidFill>
                <a:prstClr val="black"/>
              </a:solidFill>
              <a:latin typeface="Calibri"/>
            </a:endParaRPr>
          </a:p>
        </p:txBody>
      </p:sp>
      <p:sp>
        <p:nvSpPr>
          <p:cNvPr id="9" name="Title 1">
            <a:extLst>
              <a:ext uri="{FF2B5EF4-FFF2-40B4-BE49-F238E27FC236}">
                <a16:creationId xmlns:a16="http://schemas.microsoft.com/office/drawing/2014/main" id="{399A0FF4-DCB0-9890-9FF5-A6853D7017DF}"/>
              </a:ext>
            </a:extLst>
          </p:cNvPr>
          <p:cNvSpPr txBox="1">
            <a:spLocks/>
          </p:cNvSpPr>
          <p:nvPr/>
        </p:nvSpPr>
        <p:spPr>
          <a:xfrm>
            <a:off x="7589278" y="117081"/>
            <a:ext cx="8685793" cy="1327804"/>
          </a:xfrm>
          <a:prstGeom prst="rect">
            <a:avLst/>
          </a:prstGeom>
        </p:spPr>
        <p:txBody>
          <a:bodyPr vert="horz" lIns="121920" tIns="60960" rIns="121920" bIns="60960" rtlCol="0" anchor="ctr">
            <a:noAutofit/>
          </a:bodyPr>
          <a:lstStyle>
            <a:lvl1pPr algn="l" defTabSz="914400" rtl="0" eaLnBrk="1" latinLnBrk="0" hangingPunct="1">
              <a:lnSpc>
                <a:spcPct val="110000"/>
              </a:lnSpc>
              <a:spcBef>
                <a:spcPct val="0"/>
              </a:spcBef>
              <a:buNone/>
              <a:defRPr sz="2000" b="1" kern="1200">
                <a:solidFill>
                  <a:schemeClr val="bg1"/>
                </a:solidFill>
                <a:latin typeface="+mj-lt"/>
                <a:ea typeface="+mj-ea"/>
                <a:cs typeface="+mj-cs"/>
              </a:defRPr>
            </a:lvl1pPr>
          </a:lstStyle>
          <a:p>
            <a:pPr algn="ctr" defTabSz="1219170">
              <a:defRPr/>
            </a:pPr>
            <a:r>
              <a:rPr lang="en-US" sz="7200">
                <a:solidFill>
                  <a:prstClr val="black"/>
                </a:solidFill>
              </a:rPr>
              <a:t>Chiffres clefs</a:t>
            </a:r>
            <a:endParaRPr lang="fr-FR" sz="2133">
              <a:solidFill>
                <a:prstClr val="black"/>
              </a:solidFill>
            </a:endParaRPr>
          </a:p>
        </p:txBody>
      </p:sp>
      <p:pic>
        <p:nvPicPr>
          <p:cNvPr id="1026" name="Picture 2" descr="Seul dans la foule">
            <a:extLst>
              <a:ext uri="{FF2B5EF4-FFF2-40B4-BE49-F238E27FC236}">
                <a16:creationId xmlns:a16="http://schemas.microsoft.com/office/drawing/2014/main" id="{DD1D39C4-7372-64F0-FC09-D82A9C924A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25" y="-8593"/>
            <a:ext cx="6412296" cy="915259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 coins arrondis 1">
            <a:extLst>
              <a:ext uri="{FF2B5EF4-FFF2-40B4-BE49-F238E27FC236}">
                <a16:creationId xmlns:a16="http://schemas.microsoft.com/office/drawing/2014/main" id="{C819F234-68A3-29EA-2EF5-0E1424ACCA33}"/>
              </a:ext>
            </a:extLst>
          </p:cNvPr>
          <p:cNvSpPr/>
          <p:nvPr/>
        </p:nvSpPr>
        <p:spPr>
          <a:xfrm>
            <a:off x="6650164" y="1426515"/>
            <a:ext cx="1878227" cy="1219200"/>
          </a:xfrm>
          <a:prstGeom prst="roundRect">
            <a:avLst/>
          </a:prstGeom>
          <a:solidFill>
            <a:schemeClr val="bg2">
              <a:lumMod val="90000"/>
            </a:schemeClr>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fr-FR" sz="4800" b="1">
                <a:solidFill>
                  <a:schemeClr val="tx1"/>
                </a:solidFill>
              </a:rPr>
              <a:t>343</a:t>
            </a:r>
          </a:p>
        </p:txBody>
      </p:sp>
      <p:sp>
        <p:nvSpPr>
          <p:cNvPr id="4" name="ZoneTexte 3">
            <a:extLst>
              <a:ext uri="{FF2B5EF4-FFF2-40B4-BE49-F238E27FC236}">
                <a16:creationId xmlns:a16="http://schemas.microsoft.com/office/drawing/2014/main" id="{820074CD-E6D2-2A7F-60EC-1970F1544E5A}"/>
              </a:ext>
            </a:extLst>
          </p:cNvPr>
          <p:cNvSpPr txBox="1"/>
          <p:nvPr/>
        </p:nvSpPr>
        <p:spPr>
          <a:xfrm>
            <a:off x="8660419" y="1746367"/>
            <a:ext cx="7614652" cy="748988"/>
          </a:xfrm>
          <a:prstGeom prst="rect">
            <a:avLst/>
          </a:prstGeom>
          <a:noFill/>
        </p:spPr>
        <p:txBody>
          <a:bodyPr wrap="square" rtlCol="0">
            <a:spAutoFit/>
          </a:bodyPr>
          <a:lstStyle/>
          <a:p>
            <a:r>
              <a:rPr lang="fr-FR" sz="4267"/>
              <a:t>Dossiers en cours au 09/01/2025</a:t>
            </a:r>
          </a:p>
        </p:txBody>
      </p:sp>
      <p:sp>
        <p:nvSpPr>
          <p:cNvPr id="5" name="Rectangle : coins arrondis 4">
            <a:extLst>
              <a:ext uri="{FF2B5EF4-FFF2-40B4-BE49-F238E27FC236}">
                <a16:creationId xmlns:a16="http://schemas.microsoft.com/office/drawing/2014/main" id="{8C62EEF5-8861-7366-2658-2C58695C5474}"/>
              </a:ext>
            </a:extLst>
          </p:cNvPr>
          <p:cNvSpPr/>
          <p:nvPr/>
        </p:nvSpPr>
        <p:spPr>
          <a:xfrm>
            <a:off x="6688384" y="3170819"/>
            <a:ext cx="1878227" cy="1219200"/>
          </a:xfrm>
          <a:prstGeom prst="roundRect">
            <a:avLst/>
          </a:prstGeom>
          <a:solidFill>
            <a:schemeClr val="bg2">
              <a:lumMod val="9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800" b="1">
                <a:solidFill>
                  <a:schemeClr val="tx1"/>
                </a:solidFill>
              </a:rPr>
              <a:t>122</a:t>
            </a:r>
          </a:p>
        </p:txBody>
      </p:sp>
      <p:sp>
        <p:nvSpPr>
          <p:cNvPr id="7" name="ZoneTexte 6">
            <a:extLst>
              <a:ext uri="{FF2B5EF4-FFF2-40B4-BE49-F238E27FC236}">
                <a16:creationId xmlns:a16="http://schemas.microsoft.com/office/drawing/2014/main" id="{04232BF1-09CA-8377-F7D1-E6CB35185268}"/>
              </a:ext>
            </a:extLst>
          </p:cNvPr>
          <p:cNvSpPr txBox="1"/>
          <p:nvPr/>
        </p:nvSpPr>
        <p:spPr>
          <a:xfrm>
            <a:off x="8660419" y="3420071"/>
            <a:ext cx="5349311" cy="748988"/>
          </a:xfrm>
          <a:prstGeom prst="rect">
            <a:avLst/>
          </a:prstGeom>
          <a:noFill/>
        </p:spPr>
        <p:txBody>
          <a:bodyPr wrap="square" rtlCol="0">
            <a:spAutoFit/>
          </a:bodyPr>
          <a:lstStyle/>
          <a:p>
            <a:r>
              <a:rPr lang="fr-FR" sz="4267"/>
              <a:t>Dossiers lauréats 2024</a:t>
            </a:r>
          </a:p>
        </p:txBody>
      </p:sp>
      <p:sp>
        <p:nvSpPr>
          <p:cNvPr id="8" name="Rectangle : coins arrondis 7">
            <a:extLst>
              <a:ext uri="{FF2B5EF4-FFF2-40B4-BE49-F238E27FC236}">
                <a16:creationId xmlns:a16="http://schemas.microsoft.com/office/drawing/2014/main" id="{3658D4D0-21FE-C21E-9AFB-7403FC3B98B1}"/>
              </a:ext>
            </a:extLst>
          </p:cNvPr>
          <p:cNvSpPr/>
          <p:nvPr/>
        </p:nvSpPr>
        <p:spPr>
          <a:xfrm>
            <a:off x="7868187" y="4769671"/>
            <a:ext cx="1878227" cy="12192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800">
                <a:solidFill>
                  <a:schemeClr val="accent2"/>
                </a:solidFill>
              </a:rPr>
              <a:t>26</a:t>
            </a:r>
          </a:p>
        </p:txBody>
      </p:sp>
      <p:sp>
        <p:nvSpPr>
          <p:cNvPr id="10" name="ZoneTexte 9">
            <a:extLst>
              <a:ext uri="{FF2B5EF4-FFF2-40B4-BE49-F238E27FC236}">
                <a16:creationId xmlns:a16="http://schemas.microsoft.com/office/drawing/2014/main" id="{181D1FFB-3BC5-0188-D26F-85679EE70E5B}"/>
              </a:ext>
            </a:extLst>
          </p:cNvPr>
          <p:cNvSpPr txBox="1"/>
          <p:nvPr/>
        </p:nvSpPr>
        <p:spPr>
          <a:xfrm>
            <a:off x="10145479" y="4891244"/>
            <a:ext cx="5349311" cy="748988"/>
          </a:xfrm>
          <a:prstGeom prst="rect">
            <a:avLst/>
          </a:prstGeom>
          <a:noFill/>
        </p:spPr>
        <p:txBody>
          <a:bodyPr wrap="square" rtlCol="0">
            <a:spAutoFit/>
          </a:bodyPr>
          <a:lstStyle/>
          <a:p>
            <a:r>
              <a:rPr lang="fr-FR" sz="4267"/>
              <a:t>AàP</a:t>
            </a:r>
          </a:p>
        </p:txBody>
      </p:sp>
      <p:sp>
        <p:nvSpPr>
          <p:cNvPr id="11" name="Rectangle : coins arrondis 10">
            <a:extLst>
              <a:ext uri="{FF2B5EF4-FFF2-40B4-BE49-F238E27FC236}">
                <a16:creationId xmlns:a16="http://schemas.microsoft.com/office/drawing/2014/main" id="{3B9FA0D1-15DB-A721-D7C2-14A1E3568B13}"/>
              </a:ext>
            </a:extLst>
          </p:cNvPr>
          <p:cNvSpPr/>
          <p:nvPr/>
        </p:nvSpPr>
        <p:spPr>
          <a:xfrm>
            <a:off x="7924891" y="6125153"/>
            <a:ext cx="1878227" cy="12192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800">
                <a:solidFill>
                  <a:schemeClr val="accent2"/>
                </a:solidFill>
              </a:rPr>
              <a:t>75</a:t>
            </a:r>
          </a:p>
        </p:txBody>
      </p:sp>
      <p:sp>
        <p:nvSpPr>
          <p:cNvPr id="12" name="ZoneTexte 11">
            <a:extLst>
              <a:ext uri="{FF2B5EF4-FFF2-40B4-BE49-F238E27FC236}">
                <a16:creationId xmlns:a16="http://schemas.microsoft.com/office/drawing/2014/main" id="{705950DB-889F-E2C6-791A-EA10F89918CD}"/>
              </a:ext>
            </a:extLst>
          </p:cNvPr>
          <p:cNvSpPr txBox="1"/>
          <p:nvPr/>
        </p:nvSpPr>
        <p:spPr>
          <a:xfrm>
            <a:off x="10178515" y="6313160"/>
            <a:ext cx="5349311" cy="748988"/>
          </a:xfrm>
          <a:prstGeom prst="rect">
            <a:avLst/>
          </a:prstGeom>
          <a:noFill/>
        </p:spPr>
        <p:txBody>
          <a:bodyPr wrap="square" rtlCol="0">
            <a:spAutoFit/>
          </a:bodyPr>
          <a:lstStyle/>
          <a:p>
            <a:r>
              <a:rPr lang="fr-FR" sz="4267"/>
              <a:t>AàC</a:t>
            </a:r>
          </a:p>
        </p:txBody>
      </p:sp>
      <p:sp>
        <p:nvSpPr>
          <p:cNvPr id="13" name="Rectangle : coins arrondis 12">
            <a:extLst>
              <a:ext uri="{FF2B5EF4-FFF2-40B4-BE49-F238E27FC236}">
                <a16:creationId xmlns:a16="http://schemas.microsoft.com/office/drawing/2014/main" id="{0D52F8E3-ABF1-8D11-F008-F6A6E4CD9E31}"/>
              </a:ext>
            </a:extLst>
          </p:cNvPr>
          <p:cNvSpPr/>
          <p:nvPr/>
        </p:nvSpPr>
        <p:spPr>
          <a:xfrm>
            <a:off x="7924891" y="7442673"/>
            <a:ext cx="1878227" cy="1219200"/>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4800">
                <a:solidFill>
                  <a:schemeClr val="accent2"/>
                </a:solidFill>
              </a:rPr>
              <a:t>21</a:t>
            </a:r>
          </a:p>
        </p:txBody>
      </p:sp>
      <p:sp>
        <p:nvSpPr>
          <p:cNvPr id="14" name="ZoneTexte 13">
            <a:extLst>
              <a:ext uri="{FF2B5EF4-FFF2-40B4-BE49-F238E27FC236}">
                <a16:creationId xmlns:a16="http://schemas.microsoft.com/office/drawing/2014/main" id="{DC636B52-F014-91D0-691A-A0DD01C24EFA}"/>
              </a:ext>
            </a:extLst>
          </p:cNvPr>
          <p:cNvSpPr txBox="1"/>
          <p:nvPr/>
        </p:nvSpPr>
        <p:spPr>
          <a:xfrm>
            <a:off x="10145480" y="7335611"/>
            <a:ext cx="3909521" cy="1405641"/>
          </a:xfrm>
          <a:prstGeom prst="rect">
            <a:avLst/>
          </a:prstGeom>
          <a:noFill/>
        </p:spPr>
        <p:txBody>
          <a:bodyPr wrap="square" rtlCol="0">
            <a:spAutoFit/>
          </a:bodyPr>
          <a:lstStyle/>
          <a:p>
            <a:r>
              <a:rPr lang="fr-FR" sz="4267"/>
              <a:t>Investissement innovant</a:t>
            </a:r>
          </a:p>
        </p:txBody>
      </p:sp>
      <p:sp>
        <p:nvSpPr>
          <p:cNvPr id="15" name="Rectangle : coins arrondis 14">
            <a:extLst>
              <a:ext uri="{FF2B5EF4-FFF2-40B4-BE49-F238E27FC236}">
                <a16:creationId xmlns:a16="http://schemas.microsoft.com/office/drawing/2014/main" id="{9D7F116D-5127-2F7C-4DB6-479752BB3E04}"/>
              </a:ext>
            </a:extLst>
          </p:cNvPr>
          <p:cNvSpPr/>
          <p:nvPr/>
        </p:nvSpPr>
        <p:spPr>
          <a:xfrm>
            <a:off x="14008493" y="3367658"/>
            <a:ext cx="1992261" cy="880680"/>
          </a:xfrm>
          <a:prstGeom prst="roundRect">
            <a:avLst/>
          </a:prstGeo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fr-FR" sz="3733" b="1">
                <a:solidFill>
                  <a:schemeClr val="tx1"/>
                </a:solidFill>
              </a:rPr>
              <a:t>45,5 M€</a:t>
            </a:r>
          </a:p>
        </p:txBody>
      </p:sp>
      <p:sp>
        <p:nvSpPr>
          <p:cNvPr id="16" name="Rectangle : coins arrondis 15">
            <a:extLst>
              <a:ext uri="{FF2B5EF4-FFF2-40B4-BE49-F238E27FC236}">
                <a16:creationId xmlns:a16="http://schemas.microsoft.com/office/drawing/2014/main" id="{33329D3D-E819-B622-CB25-E396A7637F5F}"/>
              </a:ext>
            </a:extLst>
          </p:cNvPr>
          <p:cNvSpPr/>
          <p:nvPr/>
        </p:nvSpPr>
        <p:spPr>
          <a:xfrm>
            <a:off x="12306478" y="8092805"/>
            <a:ext cx="1991024" cy="880680"/>
          </a:xfrm>
          <a:prstGeom prst="roundRect">
            <a:avLst/>
          </a:prstGeo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fr-FR" sz="3733" b="1">
                <a:solidFill>
                  <a:schemeClr val="tx1"/>
                </a:solidFill>
              </a:rPr>
              <a:t>27,7 M€</a:t>
            </a:r>
          </a:p>
        </p:txBody>
      </p:sp>
      <p:sp>
        <p:nvSpPr>
          <p:cNvPr id="17" name="Rectangle : coins arrondis 16">
            <a:extLst>
              <a:ext uri="{FF2B5EF4-FFF2-40B4-BE49-F238E27FC236}">
                <a16:creationId xmlns:a16="http://schemas.microsoft.com/office/drawing/2014/main" id="{CB967E44-C52A-92A0-638F-B7BAF0F7F285}"/>
              </a:ext>
            </a:extLst>
          </p:cNvPr>
          <p:cNvSpPr/>
          <p:nvPr/>
        </p:nvSpPr>
        <p:spPr>
          <a:xfrm>
            <a:off x="12399191" y="4900525"/>
            <a:ext cx="1709687" cy="880680"/>
          </a:xfrm>
          <a:prstGeom prst="roundRect">
            <a:avLst/>
          </a:prstGeo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fr-FR" sz="3733" b="1">
                <a:solidFill>
                  <a:schemeClr val="tx1"/>
                </a:solidFill>
              </a:rPr>
              <a:t>9,9 M€</a:t>
            </a:r>
          </a:p>
        </p:txBody>
      </p:sp>
      <p:sp>
        <p:nvSpPr>
          <p:cNvPr id="18" name="Rectangle : coins arrondis 17">
            <a:extLst>
              <a:ext uri="{FF2B5EF4-FFF2-40B4-BE49-F238E27FC236}">
                <a16:creationId xmlns:a16="http://schemas.microsoft.com/office/drawing/2014/main" id="{2F39C6AA-CBF9-A552-152F-3E7A283B5946}"/>
              </a:ext>
            </a:extLst>
          </p:cNvPr>
          <p:cNvSpPr/>
          <p:nvPr/>
        </p:nvSpPr>
        <p:spPr>
          <a:xfrm>
            <a:off x="12370800" y="6338479"/>
            <a:ext cx="1709687" cy="880680"/>
          </a:xfrm>
          <a:prstGeom prst="roundRect">
            <a:avLst/>
          </a:prstGeo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fr-FR" sz="3733" b="1">
                <a:solidFill>
                  <a:schemeClr val="tx1"/>
                </a:solidFill>
              </a:rPr>
              <a:t>7,9 M€</a:t>
            </a:r>
          </a:p>
        </p:txBody>
      </p:sp>
      <p:sp>
        <p:nvSpPr>
          <p:cNvPr id="19" name="Rectangle 18">
            <a:extLst>
              <a:ext uri="{FF2B5EF4-FFF2-40B4-BE49-F238E27FC236}">
                <a16:creationId xmlns:a16="http://schemas.microsoft.com/office/drawing/2014/main" id="{BB85401C-F67B-1024-84BF-5F490413BDDD}"/>
              </a:ext>
            </a:extLst>
          </p:cNvPr>
          <p:cNvSpPr/>
          <p:nvPr/>
        </p:nvSpPr>
        <p:spPr>
          <a:xfrm>
            <a:off x="2825952" y="5458351"/>
            <a:ext cx="3608424" cy="2092881"/>
          </a:xfrm>
          <a:prstGeom prst="rect">
            <a:avLst/>
          </a:prstGeom>
          <a:noFill/>
        </p:spPr>
        <p:txBody>
          <a:bodyPr wrap="none" lIns="121920" tIns="60960" rIns="121920" bIns="60960">
            <a:spAutoFit/>
          </a:bodyPr>
          <a:lstStyle/>
          <a:p>
            <a:pPr algn="ctr"/>
            <a:r>
              <a:rPr lang="fr-FR" sz="12800" b="1" spc="67">
                <a:ln w="9525" cmpd="sng">
                  <a:solidFill>
                    <a:schemeClr val="accent1"/>
                  </a:solidFill>
                  <a:prstDash val="solid"/>
                </a:ln>
                <a:solidFill>
                  <a:srgbClr val="70AD47">
                    <a:tint val="1000"/>
                  </a:srgbClr>
                </a:solidFill>
                <a:effectLst>
                  <a:glow rad="38100">
                    <a:schemeClr val="accent1">
                      <a:alpha val="40000"/>
                    </a:schemeClr>
                  </a:glow>
                </a:effectLst>
              </a:rPr>
              <a:t>2024</a:t>
            </a:r>
            <a:endParaRPr lang="fr-FR" sz="7200" b="1" spc="67">
              <a:ln w="9525" cmpd="sng">
                <a:solidFill>
                  <a:schemeClr val="accent1"/>
                </a:solidFill>
                <a:prstDash val="solid"/>
              </a:ln>
              <a:solidFill>
                <a:srgbClr val="70AD47">
                  <a:tint val="1000"/>
                </a:srgbClr>
              </a:solidFill>
              <a:effectLst>
                <a:glow rad="38100">
                  <a:schemeClr val="accent1">
                    <a:alpha val="40000"/>
                  </a:schemeClr>
                </a:glow>
              </a:effectLst>
            </a:endParaRPr>
          </a:p>
        </p:txBody>
      </p:sp>
    </p:spTree>
    <p:extLst>
      <p:ext uri="{BB962C8B-B14F-4D97-AF65-F5344CB8AC3E}">
        <p14:creationId xmlns:p14="http://schemas.microsoft.com/office/powerpoint/2010/main" val="1015179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0FD1C0C-D969-1998-54FA-0FC02520F5CB}"/>
              </a:ext>
            </a:extLst>
          </p:cNvPr>
          <p:cNvSpPr txBox="1"/>
          <p:nvPr/>
        </p:nvSpPr>
        <p:spPr>
          <a:xfrm>
            <a:off x="599089" y="3233346"/>
            <a:ext cx="14716762" cy="2677656"/>
          </a:xfrm>
          <a:prstGeom prst="rect">
            <a:avLst/>
          </a:prstGeom>
        </p:spPr>
        <p:txBody>
          <a:bodyPr wrap="square" lIns="0" tIns="0" rIns="0" bIns="0" rtlCol="0" anchor="t">
            <a:spAutoFit/>
          </a:bodyPr>
          <a:lstStyle/>
          <a:p>
            <a:pPr defTabSz="812810">
              <a:defRPr/>
            </a:pPr>
            <a:r>
              <a:rPr lang="fr-FR" sz="7100" b="1">
                <a:solidFill>
                  <a:prstClr val="black"/>
                </a:solidFill>
                <a:latin typeface="Arial Black"/>
                <a:cs typeface="Arial"/>
              </a:rPr>
              <a:t>II. Appels à projets et Appels à candidatures 2025</a:t>
            </a:r>
            <a:endParaRPr lang="fr-FR" sz="7100">
              <a:solidFill>
                <a:prstClr val="black"/>
              </a:solidFill>
              <a:latin typeface="Arial Black"/>
              <a:cs typeface="Arial"/>
            </a:endParaRPr>
          </a:p>
          <a:p>
            <a:pPr defTabSz="812810">
              <a:defRPr/>
            </a:pPr>
            <a:r>
              <a:rPr lang="fr-FR" sz="3200">
                <a:solidFill>
                  <a:srgbClr val="1D1D1B"/>
                </a:solidFill>
                <a:latin typeface="Arial"/>
                <a:cs typeface="Arial"/>
              </a:rPr>
              <a:t>  </a:t>
            </a:r>
            <a:endParaRPr lang="fr-FR" sz="7100">
              <a:solidFill>
                <a:prstClr val="black"/>
              </a:solidFill>
              <a:latin typeface="Arial Black"/>
              <a:cs typeface="Arial"/>
            </a:endParaRPr>
          </a:p>
        </p:txBody>
      </p:sp>
      <p:sp>
        <p:nvSpPr>
          <p:cNvPr id="5" name="Espace réservé du numéro de diapositive 2">
            <a:extLst>
              <a:ext uri="{FF2B5EF4-FFF2-40B4-BE49-F238E27FC236}">
                <a16:creationId xmlns:a16="http://schemas.microsoft.com/office/drawing/2014/main" id="{F7D242BC-4275-7ACA-2932-9862D335AB41}"/>
              </a:ext>
            </a:extLst>
          </p:cNvPr>
          <p:cNvSpPr txBox="1">
            <a:spLocks/>
          </p:cNvSpPr>
          <p:nvPr/>
        </p:nvSpPr>
        <p:spPr>
          <a:xfrm>
            <a:off x="15199538" y="8718550"/>
            <a:ext cx="565149" cy="308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12810"/>
            <a:fld id="{54A149C6-6019-4B05-B4F5-8ADACCDF97D0}" type="slidenum">
              <a:rPr lang="fr-FR" sz="1400" smtClean="0">
                <a:solidFill>
                  <a:prstClr val="black"/>
                </a:solidFill>
                <a:latin typeface="Calibri"/>
              </a:rPr>
              <a:pPr defTabSz="812810"/>
              <a:t>5</a:t>
            </a:fld>
            <a:endParaRPr lang="fr-FR" sz="1400">
              <a:solidFill>
                <a:prstClr val="black"/>
              </a:solidFill>
              <a:latin typeface="Calibri"/>
            </a:endParaRPr>
          </a:p>
        </p:txBody>
      </p:sp>
      <p:sp>
        <p:nvSpPr>
          <p:cNvPr id="3" name="Rectangle 2">
            <a:extLst>
              <a:ext uri="{FF2B5EF4-FFF2-40B4-BE49-F238E27FC236}">
                <a16:creationId xmlns:a16="http://schemas.microsoft.com/office/drawing/2014/main" id="{EBB1DBCE-D1D7-9804-F94C-813B0F85200E}"/>
              </a:ext>
            </a:extLst>
          </p:cNvPr>
          <p:cNvSpPr/>
          <p:nvPr/>
        </p:nvSpPr>
        <p:spPr>
          <a:xfrm>
            <a:off x="14345984" y="7531968"/>
            <a:ext cx="1418526" cy="905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Police, Graphique, logo, symbole&#10;&#10;Description générée automatiquement">
            <a:extLst>
              <a:ext uri="{FF2B5EF4-FFF2-40B4-BE49-F238E27FC236}">
                <a16:creationId xmlns:a16="http://schemas.microsoft.com/office/drawing/2014/main" id="{9C986CA9-1B64-9FD7-E2D9-7CED90A0028C}"/>
              </a:ext>
            </a:extLst>
          </p:cNvPr>
          <p:cNvPicPr>
            <a:picLocks noChangeAspect="1"/>
          </p:cNvPicPr>
          <p:nvPr/>
        </p:nvPicPr>
        <p:blipFill>
          <a:blip r:embed="rId3"/>
          <a:stretch>
            <a:fillRect/>
          </a:stretch>
        </p:blipFill>
        <p:spPr>
          <a:xfrm>
            <a:off x="14059588" y="7739820"/>
            <a:ext cx="1985643" cy="800945"/>
          </a:xfrm>
          <a:prstGeom prst="rect">
            <a:avLst/>
          </a:prstGeom>
        </p:spPr>
      </p:pic>
    </p:spTree>
    <p:extLst>
      <p:ext uri="{BB962C8B-B14F-4D97-AF65-F5344CB8AC3E}">
        <p14:creationId xmlns:p14="http://schemas.microsoft.com/office/powerpoint/2010/main" val="3072265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3F84C86-A753-3B1F-1DB2-334A401CAE18}"/>
              </a:ext>
            </a:extLst>
          </p:cNvPr>
          <p:cNvSpPr>
            <a:spLocks noGrp="1"/>
          </p:cNvSpPr>
          <p:nvPr>
            <p:ph type="title"/>
          </p:nvPr>
        </p:nvSpPr>
        <p:spPr>
          <a:xfrm>
            <a:off x="690303" y="491769"/>
            <a:ext cx="11865872" cy="715947"/>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fr-FR" dirty="0"/>
              <a:t>THEMATIQUES APPEL A PROJETS - APPEL A CANDIDATURES ET ENVELOPPE BUDGETAIRE 2025</a:t>
            </a:r>
          </a:p>
        </p:txBody>
      </p:sp>
      <p:sp>
        <p:nvSpPr>
          <p:cNvPr id="2" name="TextBox 18">
            <a:extLst>
              <a:ext uri="{FF2B5EF4-FFF2-40B4-BE49-F238E27FC236}">
                <a16:creationId xmlns:a16="http://schemas.microsoft.com/office/drawing/2014/main" id="{43886824-CAE5-5A3C-6761-02DB4621F74F}"/>
              </a:ext>
            </a:extLst>
          </p:cNvPr>
          <p:cNvSpPr txBox="1"/>
          <p:nvPr/>
        </p:nvSpPr>
        <p:spPr>
          <a:xfrm>
            <a:off x="3018783" y="4446846"/>
            <a:ext cx="10857760" cy="372239"/>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419" dirty="0">
                <a:solidFill>
                  <a:srgbClr val="222222"/>
                </a:solidFill>
                <a:latin typeface="Bebas Neue Bold"/>
              </a:rPr>
              <a:t>Performance et transition énergétique des OF-A du BTP</a:t>
            </a:r>
          </a:p>
        </p:txBody>
      </p:sp>
      <p:sp>
        <p:nvSpPr>
          <p:cNvPr id="6" name="TextBox 18">
            <a:extLst>
              <a:ext uri="{FF2B5EF4-FFF2-40B4-BE49-F238E27FC236}">
                <a16:creationId xmlns:a16="http://schemas.microsoft.com/office/drawing/2014/main" id="{9A8262DF-A5F1-70E2-2E32-F37C1056CDCF}"/>
              </a:ext>
            </a:extLst>
          </p:cNvPr>
          <p:cNvSpPr txBox="1"/>
          <p:nvPr/>
        </p:nvSpPr>
        <p:spPr>
          <a:xfrm>
            <a:off x="2127485" y="1367736"/>
            <a:ext cx="5715552"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Thème ouvert</a:t>
            </a:r>
          </a:p>
        </p:txBody>
      </p:sp>
      <p:grpSp>
        <p:nvGrpSpPr>
          <p:cNvPr id="7" name="Groupe 6">
            <a:extLst>
              <a:ext uri="{FF2B5EF4-FFF2-40B4-BE49-F238E27FC236}">
                <a16:creationId xmlns:a16="http://schemas.microsoft.com/office/drawing/2014/main" id="{25945678-68BD-1E5B-08AF-56CB247DD89E}"/>
              </a:ext>
            </a:extLst>
          </p:cNvPr>
          <p:cNvGrpSpPr/>
          <p:nvPr/>
        </p:nvGrpSpPr>
        <p:grpSpPr>
          <a:xfrm>
            <a:off x="3867439" y="4877320"/>
            <a:ext cx="11658223" cy="1010792"/>
            <a:chOff x="599940" y="2499912"/>
            <a:chExt cx="8605314" cy="835658"/>
          </a:xfrm>
        </p:grpSpPr>
        <p:sp>
          <p:nvSpPr>
            <p:cNvPr id="8" name="TextBox 5">
              <a:extLst>
                <a:ext uri="{FF2B5EF4-FFF2-40B4-BE49-F238E27FC236}">
                  <a16:creationId xmlns:a16="http://schemas.microsoft.com/office/drawing/2014/main" id="{F243222B-48ED-52DE-53D5-D9A27B16A4E9}"/>
                </a:ext>
              </a:extLst>
            </p:cNvPr>
            <p:cNvSpPr txBox="1"/>
            <p:nvPr/>
          </p:nvSpPr>
          <p:spPr>
            <a:xfrm>
              <a:off x="2135045" y="2521330"/>
              <a:ext cx="7070209" cy="814240"/>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969989">
                <a:tabLst>
                  <a:tab pos="242497" algn="l"/>
                  <a:tab pos="476912" algn="l"/>
                </a:tabLst>
                <a:defRPr/>
              </a:pPr>
              <a:r>
                <a:rPr lang="fr-FR" sz="1600" b="1" u="sng" dirty="0">
                  <a:latin typeface="Calibri"/>
                  <a:ea typeface="ＭＳ Ｐゴシック" pitchFamily="16" charset="-128"/>
                  <a:cs typeface="Arial" panose="020B0604020202020204" pitchFamily="34" charset="0"/>
                </a:rPr>
                <a:t>Engagement d’actions de développement durable et RSE</a:t>
              </a:r>
              <a:endParaRPr lang="fr-FR" sz="1600" dirty="0">
                <a:latin typeface="Arial" panose="020B0604020202020204" pitchFamily="34" charset="0"/>
                <a:ea typeface="ＭＳ Ｐゴシック" pitchFamily="16" charset="-128"/>
                <a:cs typeface="Arial" panose="020B0604020202020204" pitchFamily="34" charset="0"/>
              </a:endParaRPr>
            </a:p>
            <a:p>
              <a:pPr marL="0" lvl="1" defTabSz="969989">
                <a:tabLst>
                  <a:tab pos="242497" algn="l"/>
                  <a:tab pos="476912" algn="l"/>
                </a:tabLst>
                <a:defRPr/>
              </a:pPr>
              <a:r>
                <a:rPr lang="fr-FR" sz="1600" dirty="0">
                  <a:latin typeface="Calibri"/>
                  <a:ea typeface="ＭＳ Ｐゴシック" pitchFamily="16" charset="-128"/>
                  <a:cs typeface="Arial" panose="020B0604020202020204" pitchFamily="34" charset="0"/>
                </a:rPr>
                <a:t>(biosourcé, décarbonation, rénovation énergétique, processus BIM, végétalisation, préservation des ressources…)</a:t>
              </a:r>
              <a:endParaRPr lang="fr-FR" sz="1600" dirty="0">
                <a:highlight>
                  <a:srgbClr val="FFFF00"/>
                </a:highlight>
                <a:latin typeface="Calibri"/>
                <a:ea typeface="ＭＳ Ｐゴシック" pitchFamily="16" charset="-128"/>
                <a:cs typeface="Arial" panose="020B0604020202020204" pitchFamily="34" charset="0"/>
              </a:endParaRPr>
            </a:p>
            <a:p>
              <a:pPr marL="0" lvl="1" defTabSz="969989">
                <a:tabLst>
                  <a:tab pos="242497" algn="l"/>
                  <a:tab pos="476912" algn="l"/>
                </a:tabLst>
                <a:defRPr/>
              </a:pPr>
              <a:endParaRPr lang="fr-FR" sz="1600" b="1" u="sng" dirty="0">
                <a:latin typeface="Calibri"/>
                <a:ea typeface="ＭＳ Ｐゴシック" pitchFamily="16" charset="-128"/>
                <a:cs typeface="Arial" panose="020B0604020202020204" pitchFamily="34" charset="0"/>
              </a:endParaRPr>
            </a:p>
          </p:txBody>
        </p:sp>
        <p:sp>
          <p:nvSpPr>
            <p:cNvPr id="9" name="TextBox 15">
              <a:extLst>
                <a:ext uri="{FF2B5EF4-FFF2-40B4-BE49-F238E27FC236}">
                  <a16:creationId xmlns:a16="http://schemas.microsoft.com/office/drawing/2014/main" id="{E7FF8B46-2881-BA79-45C7-0CF646888764}"/>
                </a:ext>
              </a:extLst>
            </p:cNvPr>
            <p:cNvSpPr txBox="1"/>
            <p:nvPr/>
          </p:nvSpPr>
          <p:spPr>
            <a:xfrm>
              <a:off x="599940" y="2499912"/>
              <a:ext cx="988653" cy="16963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1604"/>
                </a:lnSpc>
                <a:defRPr/>
              </a:pPr>
              <a:r>
                <a:rPr lang="fr-FR" sz="1600" spc="263" dirty="0">
                  <a:latin typeface="Raleway Bold" charset="0"/>
                </a:rPr>
                <a:t>Thème 1</a:t>
              </a:r>
            </a:p>
          </p:txBody>
        </p:sp>
      </p:grpSp>
      <p:grpSp>
        <p:nvGrpSpPr>
          <p:cNvPr id="10" name="Groupe 9">
            <a:extLst>
              <a:ext uri="{FF2B5EF4-FFF2-40B4-BE49-F238E27FC236}">
                <a16:creationId xmlns:a16="http://schemas.microsoft.com/office/drawing/2014/main" id="{646E7F6D-C752-F403-6ECA-C3B9473A4070}"/>
              </a:ext>
            </a:extLst>
          </p:cNvPr>
          <p:cNvGrpSpPr/>
          <p:nvPr/>
        </p:nvGrpSpPr>
        <p:grpSpPr>
          <a:xfrm>
            <a:off x="7321749" y="1361534"/>
            <a:ext cx="3016475" cy="430085"/>
            <a:chOff x="4714274" y="1294810"/>
            <a:chExt cx="2493829" cy="355567"/>
          </a:xfrm>
        </p:grpSpPr>
        <p:sp>
          <p:nvSpPr>
            <p:cNvPr id="11" name="Rectangle : coins arrondis 10">
              <a:extLst>
                <a:ext uri="{FF2B5EF4-FFF2-40B4-BE49-F238E27FC236}">
                  <a16:creationId xmlns:a16="http://schemas.microsoft.com/office/drawing/2014/main" id="{2927FFCA-26BE-CF23-2315-DFB61EBD9C5C}"/>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12" name="ZoneTexte 11">
              <a:extLst>
                <a:ext uri="{FF2B5EF4-FFF2-40B4-BE49-F238E27FC236}">
                  <a16:creationId xmlns:a16="http://schemas.microsoft.com/office/drawing/2014/main" id="{09C37F94-5B59-0918-2025-CC17718D8ACA}"/>
                </a:ext>
              </a:extLst>
            </p:cNvPr>
            <p:cNvSpPr txBox="1"/>
            <p:nvPr/>
          </p:nvSpPr>
          <p:spPr>
            <a:xfrm>
              <a:off x="4714274" y="1294810"/>
              <a:ext cx="2346852" cy="243141"/>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dirty="0">
                  <a:solidFill>
                    <a:prstClr val="black">
                      <a:lumMod val="95000"/>
                      <a:lumOff val="5000"/>
                    </a:prstClr>
                  </a:solidFill>
                  <a:latin typeface="Raleway"/>
                </a:rPr>
                <a:t>Ouverture Annuelle </a:t>
              </a:r>
            </a:p>
          </p:txBody>
        </p:sp>
      </p:grpSp>
      <p:sp>
        <p:nvSpPr>
          <p:cNvPr id="13" name="TextBox 18">
            <a:extLst>
              <a:ext uri="{FF2B5EF4-FFF2-40B4-BE49-F238E27FC236}">
                <a16:creationId xmlns:a16="http://schemas.microsoft.com/office/drawing/2014/main" id="{2CFB4C94-2A68-0546-2B03-5E62CDBEE783}"/>
              </a:ext>
            </a:extLst>
          </p:cNvPr>
          <p:cNvSpPr txBox="1"/>
          <p:nvPr/>
        </p:nvSpPr>
        <p:spPr>
          <a:xfrm>
            <a:off x="2154677" y="7326089"/>
            <a:ext cx="5715552" cy="430887"/>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800" dirty="0">
                <a:solidFill>
                  <a:srgbClr val="222222"/>
                </a:solidFill>
                <a:latin typeface="Bebas Neue Bold"/>
              </a:rPr>
              <a:t>Investissement innovant</a:t>
            </a:r>
          </a:p>
        </p:txBody>
      </p:sp>
      <p:grpSp>
        <p:nvGrpSpPr>
          <p:cNvPr id="14" name="Groupe 13">
            <a:extLst>
              <a:ext uri="{FF2B5EF4-FFF2-40B4-BE49-F238E27FC236}">
                <a16:creationId xmlns:a16="http://schemas.microsoft.com/office/drawing/2014/main" id="{E904EBA9-5015-E801-E3A4-7673FB4A35D9}"/>
              </a:ext>
            </a:extLst>
          </p:cNvPr>
          <p:cNvGrpSpPr/>
          <p:nvPr/>
        </p:nvGrpSpPr>
        <p:grpSpPr>
          <a:xfrm>
            <a:off x="8348294" y="7278327"/>
            <a:ext cx="2838695" cy="465084"/>
            <a:chOff x="4917871" y="1281618"/>
            <a:chExt cx="2346852" cy="384501"/>
          </a:xfrm>
        </p:grpSpPr>
        <p:sp>
          <p:nvSpPr>
            <p:cNvPr id="15" name="Rectangle : coins arrondis 14">
              <a:extLst>
                <a:ext uri="{FF2B5EF4-FFF2-40B4-BE49-F238E27FC236}">
                  <a16:creationId xmlns:a16="http://schemas.microsoft.com/office/drawing/2014/main" id="{6845F91F-CA7A-F6AB-37EC-C2F74B293569}"/>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16" name="ZoneTexte 15">
              <a:extLst>
                <a:ext uri="{FF2B5EF4-FFF2-40B4-BE49-F238E27FC236}">
                  <a16:creationId xmlns:a16="http://schemas.microsoft.com/office/drawing/2014/main" id="{D3719B96-508A-B300-85CE-0AC6D5DF019C}"/>
                </a:ext>
              </a:extLst>
            </p:cNvPr>
            <p:cNvSpPr txBox="1"/>
            <p:nvPr/>
          </p:nvSpPr>
          <p:spPr>
            <a:xfrm>
              <a:off x="4917871" y="1281618"/>
              <a:ext cx="2346852" cy="384501"/>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a:solidFill>
                    <a:prstClr val="black">
                      <a:lumMod val="95000"/>
                      <a:lumOff val="5000"/>
                    </a:prstClr>
                  </a:solidFill>
                  <a:latin typeface="Raleway"/>
                </a:rPr>
                <a:t>Ouverture Annuelle</a:t>
              </a:r>
            </a:p>
            <a:p>
              <a:pPr algn="r" defTabSz="1106031">
                <a:lnSpc>
                  <a:spcPts val="1331"/>
                </a:lnSpc>
                <a:defRPr/>
              </a:pPr>
              <a:r>
                <a:rPr lang="fr-FR" sz="1209" b="1" i="1" spc="31">
                  <a:solidFill>
                    <a:prstClr val="black">
                      <a:lumMod val="95000"/>
                      <a:lumOff val="5000"/>
                    </a:prstClr>
                  </a:solidFill>
                  <a:latin typeface="Raleway"/>
                </a:rPr>
                <a:t>2025-2027 </a:t>
              </a:r>
            </a:p>
          </p:txBody>
        </p:sp>
      </p:grpSp>
      <p:sp>
        <p:nvSpPr>
          <p:cNvPr id="17" name="TextBox 18">
            <a:extLst>
              <a:ext uri="{FF2B5EF4-FFF2-40B4-BE49-F238E27FC236}">
                <a16:creationId xmlns:a16="http://schemas.microsoft.com/office/drawing/2014/main" id="{885AA37A-09B0-C94C-49E4-AEA120373136}"/>
              </a:ext>
            </a:extLst>
          </p:cNvPr>
          <p:cNvSpPr txBox="1"/>
          <p:nvPr/>
        </p:nvSpPr>
        <p:spPr>
          <a:xfrm>
            <a:off x="3018784" y="5404083"/>
            <a:ext cx="5715552" cy="372239"/>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419" dirty="0">
                <a:solidFill>
                  <a:srgbClr val="222222"/>
                </a:solidFill>
                <a:latin typeface="Bebas Neue Bold"/>
              </a:rPr>
              <a:t>Excellence et attractivité</a:t>
            </a:r>
          </a:p>
        </p:txBody>
      </p:sp>
      <p:grpSp>
        <p:nvGrpSpPr>
          <p:cNvPr id="18" name="Groupe 17">
            <a:extLst>
              <a:ext uri="{FF2B5EF4-FFF2-40B4-BE49-F238E27FC236}">
                <a16:creationId xmlns:a16="http://schemas.microsoft.com/office/drawing/2014/main" id="{8E73A316-652E-BC59-A2FE-A4B1EC904142}"/>
              </a:ext>
            </a:extLst>
          </p:cNvPr>
          <p:cNvGrpSpPr/>
          <p:nvPr/>
        </p:nvGrpSpPr>
        <p:grpSpPr>
          <a:xfrm>
            <a:off x="3856197" y="6023102"/>
            <a:ext cx="11428091" cy="425700"/>
            <a:chOff x="494088" y="3187828"/>
            <a:chExt cx="10319213" cy="296483"/>
          </a:xfrm>
        </p:grpSpPr>
        <p:sp>
          <p:nvSpPr>
            <p:cNvPr id="19" name="TextBox 5">
              <a:extLst>
                <a:ext uri="{FF2B5EF4-FFF2-40B4-BE49-F238E27FC236}">
                  <a16:creationId xmlns:a16="http://schemas.microsoft.com/office/drawing/2014/main" id="{7BACC506-81E3-A2B2-EF67-78B669BB1910}"/>
                </a:ext>
              </a:extLst>
            </p:cNvPr>
            <p:cNvSpPr txBox="1"/>
            <p:nvPr/>
          </p:nvSpPr>
          <p:spPr>
            <a:xfrm>
              <a:off x="2391001" y="3187828"/>
              <a:ext cx="8422300" cy="17148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969989">
                <a:defRPr/>
              </a:pPr>
              <a:r>
                <a:rPr lang="fr-FR" sz="1600" b="1" u="sng" dirty="0">
                  <a:latin typeface="Calibri"/>
                  <a:ea typeface="ＭＳ Ｐゴシック" pitchFamily="16" charset="-128"/>
                  <a:cs typeface="Arial" panose="020B0604020202020204" pitchFamily="34" charset="0"/>
                </a:rPr>
                <a:t>Stratégie marketing de l’offre (analyse des besoins territoriaux et impacts de l’offre </a:t>
              </a:r>
              <a:r>
                <a:rPr lang="fr-FR" sz="1600" b="1" u="sng">
                  <a:latin typeface="Calibri"/>
                  <a:ea typeface="ＭＳ Ｐゴシック" pitchFamily="16" charset="-128"/>
                  <a:cs typeface="Arial" panose="020B0604020202020204" pitchFamily="34" charset="0"/>
                </a:rPr>
                <a:t>de formation</a:t>
              </a:r>
              <a:endParaRPr lang="fr-FR" sz="1600" b="1" u="sng" dirty="0">
                <a:highlight>
                  <a:srgbClr val="FFFF00"/>
                </a:highlight>
                <a:latin typeface="Calibri"/>
                <a:ea typeface="ＭＳ Ｐゴシック" pitchFamily="16" charset="-128"/>
                <a:cs typeface="Arial" panose="020B0604020202020204" pitchFamily="34" charset="0"/>
              </a:endParaRPr>
            </a:p>
          </p:txBody>
        </p:sp>
        <p:sp>
          <p:nvSpPr>
            <p:cNvPr id="20" name="TextBox 15">
              <a:extLst>
                <a:ext uri="{FF2B5EF4-FFF2-40B4-BE49-F238E27FC236}">
                  <a16:creationId xmlns:a16="http://schemas.microsoft.com/office/drawing/2014/main" id="{B0D32624-1B4F-E7E8-882D-56FC284DFB62}"/>
                </a:ext>
              </a:extLst>
            </p:cNvPr>
            <p:cNvSpPr txBox="1"/>
            <p:nvPr/>
          </p:nvSpPr>
          <p:spPr>
            <a:xfrm>
              <a:off x="494088" y="3198505"/>
              <a:ext cx="988653" cy="285806"/>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1604"/>
                </a:lnSpc>
                <a:defRPr/>
              </a:pPr>
              <a:r>
                <a:rPr lang="fr-FR" sz="1600" spc="263" dirty="0">
                  <a:latin typeface="Raleway Bold" charset="0"/>
                </a:rPr>
                <a:t>Thème 1</a:t>
              </a:r>
            </a:p>
          </p:txBody>
        </p:sp>
      </p:grpSp>
      <p:cxnSp>
        <p:nvCxnSpPr>
          <p:cNvPr id="21" name="Connecteur droit 20">
            <a:extLst>
              <a:ext uri="{FF2B5EF4-FFF2-40B4-BE49-F238E27FC236}">
                <a16:creationId xmlns:a16="http://schemas.microsoft.com/office/drawing/2014/main" id="{DA4C86BE-5CE6-B190-232A-96C9411823FA}"/>
              </a:ext>
            </a:extLst>
          </p:cNvPr>
          <p:cNvCxnSpPr>
            <a:cxnSpLocks/>
          </p:cNvCxnSpPr>
          <p:nvPr/>
        </p:nvCxnSpPr>
        <p:spPr>
          <a:xfrm>
            <a:off x="2023111" y="1221236"/>
            <a:ext cx="6460727"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25" name="TextBox 18">
            <a:extLst>
              <a:ext uri="{FF2B5EF4-FFF2-40B4-BE49-F238E27FC236}">
                <a16:creationId xmlns:a16="http://schemas.microsoft.com/office/drawing/2014/main" id="{4D62D8A3-74FB-2D38-482C-D867A547219B}"/>
              </a:ext>
            </a:extLst>
          </p:cNvPr>
          <p:cNvSpPr txBox="1"/>
          <p:nvPr/>
        </p:nvSpPr>
        <p:spPr>
          <a:xfrm>
            <a:off x="2177273" y="8176197"/>
            <a:ext cx="5715552" cy="1340111"/>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800" dirty="0">
                <a:solidFill>
                  <a:prstClr val="black"/>
                </a:solidFill>
                <a:latin typeface="Bebas Neue Bold"/>
              </a:rPr>
              <a:t>Investissements Energétiques</a:t>
            </a:r>
          </a:p>
          <a:p>
            <a:pPr defTabSz="1106031">
              <a:defRPr/>
            </a:pPr>
            <a:r>
              <a:rPr lang="fr-FR" sz="2800" dirty="0">
                <a:solidFill>
                  <a:prstClr val="black"/>
                </a:solidFill>
                <a:latin typeface="Bebas Neue Bold"/>
              </a:rPr>
              <a:t>Formation et hébergement</a:t>
            </a:r>
          </a:p>
          <a:p>
            <a:pPr defTabSz="1106031">
              <a:defRPr/>
            </a:pPr>
            <a:endParaRPr lang="fr-FR" sz="2903" dirty="0">
              <a:solidFill>
                <a:prstClr val="black"/>
              </a:solidFill>
              <a:latin typeface="Bebas Neue Bold"/>
            </a:endParaRPr>
          </a:p>
        </p:txBody>
      </p:sp>
      <p:grpSp>
        <p:nvGrpSpPr>
          <p:cNvPr id="26" name="Groupe 25">
            <a:extLst>
              <a:ext uri="{FF2B5EF4-FFF2-40B4-BE49-F238E27FC236}">
                <a16:creationId xmlns:a16="http://schemas.microsoft.com/office/drawing/2014/main" id="{D8077CD3-78CE-00A9-D011-A09E7A11B6D0}"/>
              </a:ext>
            </a:extLst>
          </p:cNvPr>
          <p:cNvGrpSpPr/>
          <p:nvPr/>
        </p:nvGrpSpPr>
        <p:grpSpPr>
          <a:xfrm>
            <a:off x="7577274" y="8476278"/>
            <a:ext cx="2838695" cy="466319"/>
            <a:chOff x="4899281" y="1308100"/>
            <a:chExt cx="2346852" cy="385522"/>
          </a:xfrm>
        </p:grpSpPr>
        <p:sp>
          <p:nvSpPr>
            <p:cNvPr id="27" name="Rectangle : coins arrondis 26">
              <a:extLst>
                <a:ext uri="{FF2B5EF4-FFF2-40B4-BE49-F238E27FC236}">
                  <a16:creationId xmlns:a16="http://schemas.microsoft.com/office/drawing/2014/main" id="{DE474491-6AA1-1AEE-346E-EB2D0E8ED9A2}"/>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28" name="ZoneTexte 27">
              <a:extLst>
                <a:ext uri="{FF2B5EF4-FFF2-40B4-BE49-F238E27FC236}">
                  <a16:creationId xmlns:a16="http://schemas.microsoft.com/office/drawing/2014/main" id="{DF98AC4B-214D-11FD-9FBD-9085280323C2}"/>
                </a:ext>
              </a:extLst>
            </p:cNvPr>
            <p:cNvSpPr txBox="1"/>
            <p:nvPr/>
          </p:nvSpPr>
          <p:spPr>
            <a:xfrm>
              <a:off x="4899281" y="1309121"/>
              <a:ext cx="2346852" cy="384501"/>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a:solidFill>
                    <a:prstClr val="black">
                      <a:lumMod val="95000"/>
                      <a:lumOff val="5000"/>
                    </a:prstClr>
                  </a:solidFill>
                  <a:latin typeface="Raleway"/>
                </a:rPr>
                <a:t>Ouverture Annuelle</a:t>
              </a:r>
            </a:p>
            <a:p>
              <a:pPr algn="r" defTabSz="1106031">
                <a:lnSpc>
                  <a:spcPts val="1331"/>
                </a:lnSpc>
                <a:defRPr/>
              </a:pPr>
              <a:r>
                <a:rPr lang="fr-FR" sz="1209" b="1" i="1" spc="31">
                  <a:solidFill>
                    <a:prstClr val="black">
                      <a:lumMod val="95000"/>
                      <a:lumOff val="5000"/>
                    </a:prstClr>
                  </a:solidFill>
                  <a:latin typeface="Raleway"/>
                </a:rPr>
                <a:t> 2025-2027</a:t>
              </a:r>
            </a:p>
          </p:txBody>
        </p:sp>
      </p:grpSp>
      <p:cxnSp>
        <p:nvCxnSpPr>
          <p:cNvPr id="30" name="Connecteur droit 29">
            <a:extLst>
              <a:ext uri="{FF2B5EF4-FFF2-40B4-BE49-F238E27FC236}">
                <a16:creationId xmlns:a16="http://schemas.microsoft.com/office/drawing/2014/main" id="{D6010B2C-AEF4-6BD4-6E9F-15948971B6F4}"/>
              </a:ext>
            </a:extLst>
          </p:cNvPr>
          <p:cNvCxnSpPr>
            <a:cxnSpLocks/>
          </p:cNvCxnSpPr>
          <p:nvPr/>
        </p:nvCxnSpPr>
        <p:spPr>
          <a:xfrm>
            <a:off x="2064422" y="8019712"/>
            <a:ext cx="6378103"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31" name="TextBox 18">
            <a:extLst>
              <a:ext uri="{FF2B5EF4-FFF2-40B4-BE49-F238E27FC236}">
                <a16:creationId xmlns:a16="http://schemas.microsoft.com/office/drawing/2014/main" id="{707E3B81-8CA1-D6B6-6243-DFB5E685090B}"/>
              </a:ext>
            </a:extLst>
          </p:cNvPr>
          <p:cNvSpPr txBox="1"/>
          <p:nvPr/>
        </p:nvSpPr>
        <p:spPr>
          <a:xfrm>
            <a:off x="2970360" y="1395207"/>
            <a:ext cx="5763977" cy="747128"/>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6838"/>
              </a:lnSpc>
              <a:defRPr/>
            </a:pPr>
            <a:r>
              <a:rPr lang="fr-FR" sz="2419" dirty="0">
                <a:solidFill>
                  <a:srgbClr val="222222"/>
                </a:solidFill>
                <a:latin typeface="Bebas Neue Bold"/>
              </a:rPr>
              <a:t>Qualité Pédagogique</a:t>
            </a:r>
          </a:p>
        </p:txBody>
      </p:sp>
      <p:grpSp>
        <p:nvGrpSpPr>
          <p:cNvPr id="32" name="Groupe 31">
            <a:extLst>
              <a:ext uri="{FF2B5EF4-FFF2-40B4-BE49-F238E27FC236}">
                <a16:creationId xmlns:a16="http://schemas.microsoft.com/office/drawing/2014/main" id="{3599003F-D909-884C-B872-4EB83CFAD705}"/>
              </a:ext>
            </a:extLst>
          </p:cNvPr>
          <p:cNvGrpSpPr/>
          <p:nvPr/>
        </p:nvGrpSpPr>
        <p:grpSpPr>
          <a:xfrm>
            <a:off x="3856199" y="2086947"/>
            <a:ext cx="9159659" cy="738664"/>
            <a:chOff x="489899" y="1848333"/>
            <a:chExt cx="4475206" cy="610678"/>
          </a:xfrm>
        </p:grpSpPr>
        <p:sp>
          <p:nvSpPr>
            <p:cNvPr id="33" name="TextBox 5">
              <a:extLst>
                <a:ext uri="{FF2B5EF4-FFF2-40B4-BE49-F238E27FC236}">
                  <a16:creationId xmlns:a16="http://schemas.microsoft.com/office/drawing/2014/main" id="{EFD0C094-CF3C-31C6-7FDD-0177E8CB301A}"/>
                </a:ext>
              </a:extLst>
            </p:cNvPr>
            <p:cNvSpPr txBox="1"/>
            <p:nvPr/>
          </p:nvSpPr>
          <p:spPr>
            <a:xfrm>
              <a:off x="1507476" y="1848333"/>
              <a:ext cx="3457629" cy="610678"/>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600" b="1" u="sng" dirty="0">
                  <a:latin typeface="Calibri"/>
                  <a:ea typeface="ＭＳ Ｐゴシック" pitchFamily="16" charset="-128"/>
                  <a:cs typeface="Arial" panose="020B0604020202020204" pitchFamily="34" charset="0"/>
                </a:rPr>
                <a:t>Pédagogie de l’alternance </a:t>
              </a:r>
              <a:r>
                <a:rPr lang="fr-FR" sz="1600" dirty="0">
                  <a:latin typeface="Calibri"/>
                  <a:ea typeface="ＭＳ Ｐゴシック" pitchFamily="16" charset="-128"/>
                  <a:cs typeface="Arial" panose="020B0604020202020204" pitchFamily="34" charset="0"/>
                </a:rPr>
                <a:t>entreprise formatrice, adaptation des outils pédagogiques, évolution des modalités d’apprentissage, individualisation / personnalisation des parcours, évolution des espaces de formation…)</a:t>
              </a:r>
              <a:r>
                <a:rPr lang="fr-FR" sz="1600" b="1" u="sng" dirty="0">
                  <a:latin typeface="Calibri"/>
                  <a:ea typeface="ＭＳ Ｐゴシック" pitchFamily="16" charset="-128"/>
                  <a:cs typeface="Arial" panose="020B0604020202020204" pitchFamily="34" charset="0"/>
                </a:rPr>
                <a:t> </a:t>
              </a:r>
            </a:p>
          </p:txBody>
        </p:sp>
        <p:sp>
          <p:nvSpPr>
            <p:cNvPr id="34" name="TextBox 15">
              <a:extLst>
                <a:ext uri="{FF2B5EF4-FFF2-40B4-BE49-F238E27FC236}">
                  <a16:creationId xmlns:a16="http://schemas.microsoft.com/office/drawing/2014/main" id="{E67D26CD-B088-B9EC-20AD-F5C30BCDED2E}"/>
                </a:ext>
              </a:extLst>
            </p:cNvPr>
            <p:cNvSpPr txBox="1"/>
            <p:nvPr/>
          </p:nvSpPr>
          <p:spPr>
            <a:xfrm>
              <a:off x="489899" y="1879724"/>
              <a:ext cx="988653" cy="16963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1604"/>
                </a:lnSpc>
                <a:defRPr/>
              </a:pPr>
              <a:r>
                <a:rPr lang="fr-FR" sz="1600" spc="263" dirty="0">
                  <a:latin typeface="Raleway Bold" charset="0"/>
                </a:rPr>
                <a:t>Thème 1</a:t>
              </a:r>
            </a:p>
          </p:txBody>
        </p:sp>
      </p:grpSp>
      <p:grpSp>
        <p:nvGrpSpPr>
          <p:cNvPr id="35" name="Groupe 34">
            <a:extLst>
              <a:ext uri="{FF2B5EF4-FFF2-40B4-BE49-F238E27FC236}">
                <a16:creationId xmlns:a16="http://schemas.microsoft.com/office/drawing/2014/main" id="{76CA896E-8534-E4A5-B474-172A3C4BFCCD}"/>
              </a:ext>
            </a:extLst>
          </p:cNvPr>
          <p:cNvGrpSpPr/>
          <p:nvPr/>
        </p:nvGrpSpPr>
        <p:grpSpPr>
          <a:xfrm>
            <a:off x="3861793" y="2885836"/>
            <a:ext cx="11619487" cy="492443"/>
            <a:chOff x="544485" y="2155595"/>
            <a:chExt cx="5677022" cy="407119"/>
          </a:xfrm>
        </p:grpSpPr>
        <p:sp>
          <p:nvSpPr>
            <p:cNvPr id="36" name="TextBox 5">
              <a:extLst>
                <a:ext uri="{FF2B5EF4-FFF2-40B4-BE49-F238E27FC236}">
                  <a16:creationId xmlns:a16="http://schemas.microsoft.com/office/drawing/2014/main" id="{F267B740-D094-BAE7-E935-2DDDBAF7AD42}"/>
                </a:ext>
              </a:extLst>
            </p:cNvPr>
            <p:cNvSpPr txBox="1"/>
            <p:nvPr/>
          </p:nvSpPr>
          <p:spPr>
            <a:xfrm>
              <a:off x="1548501" y="2155595"/>
              <a:ext cx="4673006" cy="407119"/>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969989">
                <a:defRPr/>
              </a:pPr>
              <a:r>
                <a:rPr lang="fr-FR" sz="1600" b="1" u="sng" dirty="0">
                  <a:latin typeface="Calibri"/>
                  <a:ea typeface="ＭＳ Ｐゴシック" pitchFamily="16" charset="-128"/>
                  <a:cs typeface="Arial" panose="020B0604020202020204" pitchFamily="34" charset="0"/>
                </a:rPr>
                <a:t>Mission sociétale des CFA </a:t>
              </a:r>
              <a:r>
                <a:rPr lang="fr-FR" sz="1600" dirty="0">
                  <a:latin typeface="Calibri"/>
                  <a:ea typeface="ＭＳ Ｐゴシック" pitchFamily="16" charset="-128"/>
                  <a:cs typeface="Arial" panose="020B0604020202020204" pitchFamily="34" charset="0"/>
                </a:rPr>
                <a:t>Santé et Sécurité au Travail, internationalisation des parcours, accueil publics allophones, accompagnement socioéducatif, sécurisation des parcours de formation des apprentis…)</a:t>
              </a:r>
              <a:r>
                <a:rPr lang="fr-FR" sz="1600" u="sng" dirty="0">
                  <a:latin typeface="Calibri"/>
                  <a:ea typeface="ＭＳ Ｐゴシック" pitchFamily="16" charset="-128"/>
                  <a:cs typeface="Arial" panose="020B0604020202020204" pitchFamily="34" charset="0"/>
                </a:rPr>
                <a:t> </a:t>
              </a:r>
            </a:p>
          </p:txBody>
        </p:sp>
        <p:sp>
          <p:nvSpPr>
            <p:cNvPr id="37" name="TextBox 15">
              <a:extLst>
                <a:ext uri="{FF2B5EF4-FFF2-40B4-BE49-F238E27FC236}">
                  <a16:creationId xmlns:a16="http://schemas.microsoft.com/office/drawing/2014/main" id="{E1598468-2F6B-986E-673A-D9F1FB4D8947}"/>
                </a:ext>
              </a:extLst>
            </p:cNvPr>
            <p:cNvSpPr txBox="1"/>
            <p:nvPr/>
          </p:nvSpPr>
          <p:spPr>
            <a:xfrm>
              <a:off x="544485" y="2182990"/>
              <a:ext cx="1023647" cy="16963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1604"/>
                </a:lnSpc>
                <a:defRPr/>
              </a:pPr>
              <a:r>
                <a:rPr lang="fr-FR" sz="1600" spc="263" dirty="0">
                  <a:latin typeface="Raleway Bold" charset="0"/>
                </a:rPr>
                <a:t>Thème 2</a:t>
              </a:r>
            </a:p>
          </p:txBody>
        </p:sp>
      </p:grpSp>
      <p:grpSp>
        <p:nvGrpSpPr>
          <p:cNvPr id="38" name="Groupe 37">
            <a:extLst>
              <a:ext uri="{FF2B5EF4-FFF2-40B4-BE49-F238E27FC236}">
                <a16:creationId xmlns:a16="http://schemas.microsoft.com/office/drawing/2014/main" id="{B7B0EB06-C5CE-25E8-B170-47AB9391C244}"/>
              </a:ext>
            </a:extLst>
          </p:cNvPr>
          <p:cNvGrpSpPr/>
          <p:nvPr/>
        </p:nvGrpSpPr>
        <p:grpSpPr>
          <a:xfrm>
            <a:off x="3819058" y="3758792"/>
            <a:ext cx="11706604" cy="738664"/>
            <a:chOff x="544485" y="2697698"/>
            <a:chExt cx="5553288" cy="610680"/>
          </a:xfrm>
        </p:grpSpPr>
        <p:sp>
          <p:nvSpPr>
            <p:cNvPr id="39" name="TextBox 5">
              <a:extLst>
                <a:ext uri="{FF2B5EF4-FFF2-40B4-BE49-F238E27FC236}">
                  <a16:creationId xmlns:a16="http://schemas.microsoft.com/office/drawing/2014/main" id="{0192BF3E-7860-3303-2FD2-4380079012A4}"/>
                </a:ext>
              </a:extLst>
            </p:cNvPr>
            <p:cNvSpPr txBox="1"/>
            <p:nvPr/>
          </p:nvSpPr>
          <p:spPr>
            <a:xfrm>
              <a:off x="1560636" y="2697698"/>
              <a:ext cx="4537137" cy="610680"/>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969989">
                <a:defRPr/>
              </a:pPr>
              <a:r>
                <a:rPr lang="fr-FR" sz="1600" b="1" u="sng" dirty="0">
                  <a:latin typeface="Calibri"/>
                  <a:ea typeface="ＭＳ Ｐゴシック" pitchFamily="16" charset="-128"/>
                  <a:cs typeface="Arial" panose="020B0604020202020204" pitchFamily="34" charset="0"/>
                </a:rPr>
                <a:t>Formation tout au long de la vie </a:t>
              </a:r>
              <a:r>
                <a:rPr lang="fr-FR" sz="1600" dirty="0">
                  <a:latin typeface="Calibri"/>
                  <a:ea typeface="ＭＳ Ｐゴシック" pitchFamily="16" charset="-128"/>
                  <a:cs typeface="Arial" panose="020B0604020202020204" pitchFamily="34" charset="0"/>
                </a:rPr>
                <a:t>(modalités de certification, ouverture vers la Formation Professionnelle Continue, déploiement d’une offre de formation…)</a:t>
              </a:r>
            </a:p>
            <a:p>
              <a:pPr marL="0" lvl="1" defTabSz="969989">
                <a:defRPr/>
              </a:pPr>
              <a:r>
                <a:rPr lang="fr-FR" sz="1600" b="1" u="sng" dirty="0">
                  <a:latin typeface="Calibri"/>
                  <a:ea typeface="ＭＳ Ｐゴシック" pitchFamily="16" charset="-128"/>
                  <a:cs typeface="Arial" panose="020B0604020202020204" pitchFamily="34" charset="0"/>
                </a:rPr>
                <a:t> </a:t>
              </a:r>
            </a:p>
          </p:txBody>
        </p:sp>
        <p:sp>
          <p:nvSpPr>
            <p:cNvPr id="40" name="TextBox 15">
              <a:extLst>
                <a:ext uri="{FF2B5EF4-FFF2-40B4-BE49-F238E27FC236}">
                  <a16:creationId xmlns:a16="http://schemas.microsoft.com/office/drawing/2014/main" id="{DC4E0D48-AB06-73AD-F917-389489DE6873}"/>
                </a:ext>
              </a:extLst>
            </p:cNvPr>
            <p:cNvSpPr txBox="1"/>
            <p:nvPr/>
          </p:nvSpPr>
          <p:spPr>
            <a:xfrm>
              <a:off x="544485" y="2720881"/>
              <a:ext cx="988653" cy="16963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lnSpc>
                  <a:spcPts val="1604"/>
                </a:lnSpc>
                <a:defRPr/>
              </a:pPr>
              <a:r>
                <a:rPr lang="fr-FR" sz="1600" spc="263" dirty="0">
                  <a:latin typeface="Raleway Bold" charset="0"/>
                </a:rPr>
                <a:t>Thème 3</a:t>
              </a:r>
            </a:p>
          </p:txBody>
        </p:sp>
      </p:grpSp>
      <p:cxnSp>
        <p:nvCxnSpPr>
          <p:cNvPr id="41" name="Connecteur droit 40">
            <a:extLst>
              <a:ext uri="{FF2B5EF4-FFF2-40B4-BE49-F238E27FC236}">
                <a16:creationId xmlns:a16="http://schemas.microsoft.com/office/drawing/2014/main" id="{D48DB35C-9EB4-85BE-7179-0F7F241CBA4F}"/>
              </a:ext>
            </a:extLst>
          </p:cNvPr>
          <p:cNvCxnSpPr>
            <a:cxnSpLocks/>
          </p:cNvCxnSpPr>
          <p:nvPr/>
        </p:nvCxnSpPr>
        <p:spPr>
          <a:xfrm>
            <a:off x="2079058" y="7079165"/>
            <a:ext cx="6378103"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A01A5023-4230-36A7-7DE5-447956A92A05}"/>
              </a:ext>
            </a:extLst>
          </p:cNvPr>
          <p:cNvSpPr/>
          <p:nvPr/>
        </p:nvSpPr>
        <p:spPr>
          <a:xfrm rot="19208412">
            <a:off x="1400769" y="8254521"/>
            <a:ext cx="847472" cy="316443"/>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331" dirty="0">
                <a:ln w="0"/>
                <a:solidFill>
                  <a:prstClr val="black"/>
                </a:solidFill>
                <a:effectLst>
                  <a:outerShdw blurRad="38100" dist="25400" dir="5400000" algn="ctr" rotWithShape="0">
                    <a:srgbClr val="6E747A">
                      <a:alpha val="43000"/>
                    </a:srgbClr>
                  </a:outerShdw>
                </a:effectLst>
                <a:latin typeface="Calibri"/>
              </a:rPr>
              <a:t>Nouveau</a:t>
            </a:r>
            <a:endParaRPr lang="fr-FR" sz="1693" dirty="0">
              <a:ln w="0"/>
              <a:solidFill>
                <a:prstClr val="black"/>
              </a:solidFill>
              <a:effectLst>
                <a:outerShdw blurRad="38100" dist="25400" dir="5400000" algn="ctr" rotWithShape="0">
                  <a:srgbClr val="6E747A">
                    <a:alpha val="43000"/>
                  </a:srgbClr>
                </a:outerShdw>
              </a:effectLst>
              <a:latin typeface="Calibri"/>
            </a:endParaRPr>
          </a:p>
        </p:txBody>
      </p:sp>
      <p:sp>
        <p:nvSpPr>
          <p:cNvPr id="46" name="TextBox 18">
            <a:extLst>
              <a:ext uri="{FF2B5EF4-FFF2-40B4-BE49-F238E27FC236}">
                <a16:creationId xmlns:a16="http://schemas.microsoft.com/office/drawing/2014/main" id="{C98AB2FC-E7F8-D894-2834-AEDACC46AB0F}"/>
              </a:ext>
            </a:extLst>
          </p:cNvPr>
          <p:cNvSpPr txBox="1"/>
          <p:nvPr/>
        </p:nvSpPr>
        <p:spPr>
          <a:xfrm>
            <a:off x="3018783" y="6442567"/>
            <a:ext cx="6191215" cy="372239"/>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419" dirty="0">
                <a:solidFill>
                  <a:srgbClr val="222222"/>
                </a:solidFill>
                <a:latin typeface="Bebas Neue Bold"/>
              </a:rPr>
              <a:t>Thème libre</a:t>
            </a:r>
          </a:p>
        </p:txBody>
      </p:sp>
      <p:sp>
        <p:nvSpPr>
          <p:cNvPr id="5" name="Espace réservé du numéro de diapositive 3">
            <a:extLst>
              <a:ext uri="{FF2B5EF4-FFF2-40B4-BE49-F238E27FC236}">
                <a16:creationId xmlns:a16="http://schemas.microsoft.com/office/drawing/2014/main" id="{541C12E0-4ABE-EFD6-1632-44500B4D4E5B}"/>
              </a:ext>
            </a:extLst>
          </p:cNvPr>
          <p:cNvSpPr txBox="1">
            <a:spLocks/>
          </p:cNvSpPr>
          <p:nvPr/>
        </p:nvSpPr>
        <p:spPr>
          <a:xfrm>
            <a:off x="12944913" y="8702354"/>
            <a:ext cx="2580751" cy="441647"/>
          </a:xfrm>
          <a:prstGeom prst="rect">
            <a:avLst/>
          </a:prstGeom>
        </p:spPr>
        <p:txBody>
          <a:bodyPr lIns="110604" tIns="55303" rIns="110604" bIns="55303" anchor="t"/>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212061" lvl="4" defTabSz="1106031">
              <a:defRPr/>
            </a:pPr>
            <a:fld id="{44412A4F-F26D-4452-BD16-A821188C28C5}" type="slidenum">
              <a:rPr lang="en-US" sz="968" dirty="0">
                <a:solidFill>
                  <a:prstClr val="black"/>
                </a:solidFill>
                <a:latin typeface="Calibri"/>
              </a:rPr>
              <a:pPr marL="2212061" lvl="4" defTabSz="1106031">
                <a:defRPr/>
              </a:pPr>
              <a:t>6</a:t>
            </a:fld>
            <a:endParaRPr lang="en-US" sz="968">
              <a:solidFill>
                <a:prstClr val="black"/>
              </a:solidFill>
              <a:latin typeface="Calibri"/>
              <a:ea typeface="Calibri"/>
              <a:cs typeface="Calibri"/>
            </a:endParaRPr>
          </a:p>
        </p:txBody>
      </p:sp>
      <p:pic>
        <p:nvPicPr>
          <p:cNvPr id="4" name="Image 3">
            <a:extLst>
              <a:ext uri="{FF2B5EF4-FFF2-40B4-BE49-F238E27FC236}">
                <a16:creationId xmlns:a16="http://schemas.microsoft.com/office/drawing/2014/main" id="{39F48F1E-B11D-ED82-C4E1-DDAF44A451B1}"/>
              </a:ext>
            </a:extLst>
          </p:cNvPr>
          <p:cNvPicPr>
            <a:picLocks noChangeAspect="1"/>
          </p:cNvPicPr>
          <p:nvPr/>
        </p:nvPicPr>
        <p:blipFill>
          <a:blip r:embed="rId3"/>
          <a:stretch>
            <a:fillRect/>
          </a:stretch>
        </p:blipFill>
        <p:spPr>
          <a:xfrm>
            <a:off x="13015858" y="373799"/>
            <a:ext cx="3187445" cy="914136"/>
          </a:xfrm>
          <a:prstGeom prst="rect">
            <a:avLst/>
          </a:prstGeom>
        </p:spPr>
      </p:pic>
      <p:grpSp>
        <p:nvGrpSpPr>
          <p:cNvPr id="22" name="Groupe 21">
            <a:extLst>
              <a:ext uri="{FF2B5EF4-FFF2-40B4-BE49-F238E27FC236}">
                <a16:creationId xmlns:a16="http://schemas.microsoft.com/office/drawing/2014/main" id="{525B7173-8FD8-5AD3-8DFE-BC8E6C6B4C32}"/>
              </a:ext>
            </a:extLst>
          </p:cNvPr>
          <p:cNvGrpSpPr/>
          <p:nvPr/>
        </p:nvGrpSpPr>
        <p:grpSpPr>
          <a:xfrm>
            <a:off x="6077446" y="1120147"/>
            <a:ext cx="2021673" cy="747128"/>
            <a:chOff x="6360185" y="1517609"/>
            <a:chExt cx="1361534" cy="580883"/>
          </a:xfrm>
        </p:grpSpPr>
        <p:sp>
          <p:nvSpPr>
            <p:cNvPr id="43" name="Freeform 5">
              <a:extLst>
                <a:ext uri="{FF2B5EF4-FFF2-40B4-BE49-F238E27FC236}">
                  <a16:creationId xmlns:a16="http://schemas.microsoft.com/office/drawing/2014/main" id="{A11B5237-2CD4-9C90-447D-29B157105353}"/>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44" name="ZoneTexte 5">
              <a:extLst>
                <a:ext uri="{FF2B5EF4-FFF2-40B4-BE49-F238E27FC236}">
                  <a16:creationId xmlns:a16="http://schemas.microsoft.com/office/drawing/2014/main" id="{A82580CA-F93D-4760-2333-82AB7508232B}"/>
                </a:ext>
              </a:extLst>
            </p:cNvPr>
            <p:cNvSpPr txBox="1"/>
            <p:nvPr/>
          </p:nvSpPr>
          <p:spPr>
            <a:xfrm>
              <a:off x="6360185" y="1698382"/>
              <a:ext cx="1179810" cy="400110"/>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effectLst/>
                  <a:uLnTx/>
                  <a:uFillTx/>
                  <a:latin typeface="Arial Black"/>
                  <a:ea typeface="+mn-ea"/>
                  <a:cs typeface="+mn-cs"/>
                </a:rPr>
                <a:t>11 M€</a:t>
              </a:r>
              <a:endParaRPr kumimoji="0" lang="fr-FR" sz="2667" b="0" i="0" u="none" strike="noStrike" kern="1200" cap="none" spc="0" normalizeH="0" baseline="0" noProof="0" dirty="0">
                <a:ln>
                  <a:noFill/>
                </a:ln>
                <a:effectLst/>
                <a:uLnTx/>
                <a:uFillTx/>
                <a:latin typeface="Arial Black"/>
                <a:ea typeface="+mn-ea"/>
                <a:cs typeface="+mn-cs"/>
              </a:endParaRPr>
            </a:p>
          </p:txBody>
        </p:sp>
        <p:pic>
          <p:nvPicPr>
            <p:cNvPr id="47" name="Graphique 46" descr="Pièces contour">
              <a:extLst>
                <a:ext uri="{FF2B5EF4-FFF2-40B4-BE49-F238E27FC236}">
                  <a16:creationId xmlns:a16="http://schemas.microsoft.com/office/drawing/2014/main" id="{F1FA6D34-2351-59B5-D324-EA0865ACA3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8926" y="1517609"/>
              <a:ext cx="502793" cy="502793"/>
            </a:xfrm>
            <a:prstGeom prst="rect">
              <a:avLst/>
            </a:prstGeom>
          </p:spPr>
        </p:pic>
      </p:grpSp>
      <p:grpSp>
        <p:nvGrpSpPr>
          <p:cNvPr id="48" name="Groupe 47">
            <a:extLst>
              <a:ext uri="{FF2B5EF4-FFF2-40B4-BE49-F238E27FC236}">
                <a16:creationId xmlns:a16="http://schemas.microsoft.com/office/drawing/2014/main" id="{E6A1D84B-0EE9-C0BC-E821-077218779DC2}"/>
              </a:ext>
            </a:extLst>
          </p:cNvPr>
          <p:cNvGrpSpPr/>
          <p:nvPr/>
        </p:nvGrpSpPr>
        <p:grpSpPr>
          <a:xfrm>
            <a:off x="13274656" y="1147563"/>
            <a:ext cx="2529144" cy="1976595"/>
            <a:chOff x="14006266" y="1145834"/>
            <a:chExt cx="2213945" cy="1944265"/>
          </a:xfrm>
        </p:grpSpPr>
        <p:pic>
          <p:nvPicPr>
            <p:cNvPr id="49" name="Picture 2">
              <a:extLst>
                <a:ext uri="{FF2B5EF4-FFF2-40B4-BE49-F238E27FC236}">
                  <a16:creationId xmlns:a16="http://schemas.microsoft.com/office/drawing/2014/main" id="{E3562E7D-3971-4EB2-0587-FE542CCED5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006266" y="1145834"/>
              <a:ext cx="2213945" cy="1519942"/>
            </a:xfrm>
            <a:prstGeom prst="rect">
              <a:avLst/>
            </a:prstGeom>
            <a:noFill/>
            <a:extLst>
              <a:ext uri="{909E8E84-426E-40DD-AFC4-6F175D3DCCD1}">
                <a14:hiddenFill xmlns:a14="http://schemas.microsoft.com/office/drawing/2010/main">
                  <a:solidFill>
                    <a:srgbClr val="FFFFFF"/>
                  </a:solidFill>
                </a14:hiddenFill>
              </a:ext>
            </a:extLst>
          </p:spPr>
        </p:pic>
        <p:sp>
          <p:nvSpPr>
            <p:cNvPr id="50" name="Rectangle 49">
              <a:extLst>
                <a:ext uri="{FF2B5EF4-FFF2-40B4-BE49-F238E27FC236}">
                  <a16:creationId xmlns:a16="http://schemas.microsoft.com/office/drawing/2014/main" id="{A11C8D90-0B36-0C86-C8F8-3FFE8DC9B76C}"/>
                </a:ext>
              </a:extLst>
            </p:cNvPr>
            <p:cNvSpPr/>
            <p:nvPr/>
          </p:nvSpPr>
          <p:spPr>
            <a:xfrm>
              <a:off x="14077300" y="1703897"/>
              <a:ext cx="2071877" cy="1386202"/>
            </a:xfrm>
            <a:prstGeom prst="rect">
              <a:avLst/>
            </a:prstGeom>
            <a:noFill/>
            <a:ln w="12700" cap="flat" cmpd="sng" algn="ctr">
              <a:noFill/>
              <a:prstDash val="solid"/>
              <a:miter lim="800000"/>
            </a:ln>
            <a:effectLst/>
          </p:spPr>
          <p:txBody>
            <a:bodyPr rtlCol="0" anchor="t"/>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2133" b="1" i="0" u="none" strike="noStrike" kern="0" cap="none" spc="0" normalizeH="0" baseline="0" noProof="0" dirty="0">
                  <a:ln>
                    <a:noFill/>
                  </a:ln>
                  <a:solidFill>
                    <a:srgbClr val="1D1D1B"/>
                  </a:solidFill>
                  <a:effectLst/>
                  <a:uLnTx/>
                  <a:uFillTx/>
                  <a:latin typeface="Arial Black"/>
                  <a:ea typeface="+mn-ea"/>
                  <a:cs typeface="+mn-cs"/>
                </a:rPr>
                <a:t>45 M€</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1D1D1B"/>
                  </a:solidFill>
                  <a:effectLst/>
                  <a:uLnTx/>
                  <a:uFillTx/>
                  <a:latin typeface="Arial"/>
                  <a:ea typeface="+mn-ea"/>
                  <a:cs typeface="+mn-cs"/>
                </a:rPr>
                <a:t>de budget dédié aux AAP </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1D1D1B"/>
                  </a:solidFill>
                  <a:effectLst/>
                  <a:uLnTx/>
                  <a:uFillTx/>
                  <a:latin typeface="Arial"/>
                  <a:ea typeface="+mn-ea"/>
                  <a:cs typeface="+mn-cs"/>
                </a:rPr>
                <a:t>pour 2025  </a:t>
              </a:r>
            </a:p>
          </p:txBody>
        </p:sp>
      </p:grpSp>
      <p:grpSp>
        <p:nvGrpSpPr>
          <p:cNvPr id="51" name="Groupe 50">
            <a:extLst>
              <a:ext uri="{FF2B5EF4-FFF2-40B4-BE49-F238E27FC236}">
                <a16:creationId xmlns:a16="http://schemas.microsoft.com/office/drawing/2014/main" id="{11ADC5F8-82DE-E906-DAE5-9F122ABEBF7E}"/>
              </a:ext>
            </a:extLst>
          </p:cNvPr>
          <p:cNvGrpSpPr/>
          <p:nvPr/>
        </p:nvGrpSpPr>
        <p:grpSpPr>
          <a:xfrm>
            <a:off x="6332244" y="7066192"/>
            <a:ext cx="1688177" cy="621357"/>
            <a:chOff x="6360185" y="1517609"/>
            <a:chExt cx="1361534" cy="580883"/>
          </a:xfrm>
        </p:grpSpPr>
        <p:sp>
          <p:nvSpPr>
            <p:cNvPr id="52" name="Freeform 5">
              <a:extLst>
                <a:ext uri="{FF2B5EF4-FFF2-40B4-BE49-F238E27FC236}">
                  <a16:creationId xmlns:a16="http://schemas.microsoft.com/office/drawing/2014/main" id="{6F7C2D23-A8D6-9D64-C88E-119452FA72C8}"/>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53" name="ZoneTexte 5">
              <a:extLst>
                <a:ext uri="{FF2B5EF4-FFF2-40B4-BE49-F238E27FC236}">
                  <a16:creationId xmlns:a16="http://schemas.microsoft.com/office/drawing/2014/main" id="{CEDC0C3A-3C4D-F376-530E-6383E434D7D8}"/>
                </a:ext>
              </a:extLst>
            </p:cNvPr>
            <p:cNvSpPr txBox="1"/>
            <p:nvPr/>
          </p:nvSpPr>
          <p:spPr>
            <a:xfrm>
              <a:off x="6360185" y="1698382"/>
              <a:ext cx="1179810" cy="400110"/>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effectLst/>
                  <a:uLnTx/>
                  <a:uFillTx/>
                  <a:latin typeface="Arial Black"/>
                  <a:ea typeface="+mn-ea"/>
                  <a:cs typeface="+mn-cs"/>
                </a:rPr>
                <a:t>17 M€</a:t>
              </a:r>
              <a:endParaRPr kumimoji="0" lang="fr-FR" sz="2667" b="0" i="0" u="none" strike="noStrike" kern="1200" cap="none" spc="0" normalizeH="0" baseline="0" noProof="0" dirty="0">
                <a:ln>
                  <a:noFill/>
                </a:ln>
                <a:effectLst/>
                <a:uLnTx/>
                <a:uFillTx/>
                <a:latin typeface="Arial Black"/>
                <a:ea typeface="+mn-ea"/>
                <a:cs typeface="+mn-cs"/>
              </a:endParaRPr>
            </a:p>
          </p:txBody>
        </p:sp>
        <p:pic>
          <p:nvPicPr>
            <p:cNvPr id="54" name="Graphique 53" descr="Pièces contour">
              <a:extLst>
                <a:ext uri="{FF2B5EF4-FFF2-40B4-BE49-F238E27FC236}">
                  <a16:creationId xmlns:a16="http://schemas.microsoft.com/office/drawing/2014/main" id="{45527FD0-9DA3-36CA-A880-D536732E3E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8926" y="1517609"/>
              <a:ext cx="502793" cy="502793"/>
            </a:xfrm>
            <a:prstGeom prst="rect">
              <a:avLst/>
            </a:prstGeom>
          </p:spPr>
        </p:pic>
      </p:grpSp>
      <p:grpSp>
        <p:nvGrpSpPr>
          <p:cNvPr id="55" name="Groupe 54">
            <a:extLst>
              <a:ext uri="{FF2B5EF4-FFF2-40B4-BE49-F238E27FC236}">
                <a16:creationId xmlns:a16="http://schemas.microsoft.com/office/drawing/2014/main" id="{256D4867-9843-2B98-E53A-397483EA2C7C}"/>
              </a:ext>
            </a:extLst>
          </p:cNvPr>
          <p:cNvGrpSpPr/>
          <p:nvPr/>
        </p:nvGrpSpPr>
        <p:grpSpPr>
          <a:xfrm>
            <a:off x="6332244" y="8176196"/>
            <a:ext cx="1688177" cy="621357"/>
            <a:chOff x="6360185" y="1517609"/>
            <a:chExt cx="1361534" cy="580883"/>
          </a:xfrm>
        </p:grpSpPr>
        <p:sp>
          <p:nvSpPr>
            <p:cNvPr id="56" name="Freeform 5">
              <a:extLst>
                <a:ext uri="{FF2B5EF4-FFF2-40B4-BE49-F238E27FC236}">
                  <a16:creationId xmlns:a16="http://schemas.microsoft.com/office/drawing/2014/main" id="{90383D4B-108B-A9EA-C7B2-54379E998ECE}"/>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57" name="ZoneTexte 5">
              <a:extLst>
                <a:ext uri="{FF2B5EF4-FFF2-40B4-BE49-F238E27FC236}">
                  <a16:creationId xmlns:a16="http://schemas.microsoft.com/office/drawing/2014/main" id="{8A241856-71E0-3D9A-ADF1-01BAF77A56D9}"/>
                </a:ext>
              </a:extLst>
            </p:cNvPr>
            <p:cNvSpPr txBox="1"/>
            <p:nvPr/>
          </p:nvSpPr>
          <p:spPr>
            <a:xfrm>
              <a:off x="6360185" y="1698382"/>
              <a:ext cx="1179810" cy="400110"/>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667" b="1" i="0" u="none" strike="noStrike" kern="1200" cap="none" spc="0" normalizeH="0" baseline="0" noProof="0" dirty="0">
                  <a:ln>
                    <a:noFill/>
                  </a:ln>
                  <a:effectLst/>
                  <a:uLnTx/>
                  <a:uFillTx/>
                  <a:latin typeface="Arial Black"/>
                  <a:ea typeface="+mn-ea"/>
                  <a:cs typeface="+mn-cs"/>
                </a:rPr>
                <a:t>17 M€</a:t>
              </a:r>
              <a:endParaRPr kumimoji="0" lang="fr-FR" sz="2667" b="0" i="0" u="none" strike="noStrike" kern="1200" cap="none" spc="0" normalizeH="0" baseline="0" noProof="0" dirty="0">
                <a:ln>
                  <a:noFill/>
                </a:ln>
                <a:effectLst/>
                <a:uLnTx/>
                <a:uFillTx/>
                <a:latin typeface="Arial Black"/>
                <a:ea typeface="+mn-ea"/>
                <a:cs typeface="+mn-cs"/>
              </a:endParaRPr>
            </a:p>
          </p:txBody>
        </p:sp>
        <p:pic>
          <p:nvPicPr>
            <p:cNvPr id="58" name="Graphique 57" descr="Pièces contour">
              <a:extLst>
                <a:ext uri="{FF2B5EF4-FFF2-40B4-BE49-F238E27FC236}">
                  <a16:creationId xmlns:a16="http://schemas.microsoft.com/office/drawing/2014/main" id="{B990512A-513C-F013-BC53-A12ACFBD72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8926" y="1517609"/>
              <a:ext cx="502793" cy="502793"/>
            </a:xfrm>
            <a:prstGeom prst="rect">
              <a:avLst/>
            </a:prstGeom>
          </p:spPr>
        </p:pic>
      </p:grpSp>
    </p:spTree>
    <p:extLst>
      <p:ext uri="{BB962C8B-B14F-4D97-AF65-F5344CB8AC3E}">
        <p14:creationId xmlns:p14="http://schemas.microsoft.com/office/powerpoint/2010/main" val="2436644921"/>
      </p:ext>
    </p:extLst>
  </p:cSld>
  <p:clrMapOvr>
    <a:masterClrMapping/>
  </p:clrMapOvr>
  <mc:AlternateContent xmlns:mc="http://schemas.openxmlformats.org/markup-compatibility/2006">
    <mc:Choice xmlns:p15="http://schemas.microsoft.com/office/powerpoint/2012/main" Requires="p15">
      <p:transition spd="slow" advClick="0" advTm="9000">
        <p15:prstTrans prst="peelOff"/>
      </p:transition>
    </mc:Choice>
    <mc:Fallback>
      <p:transition spd="slow" advClick="0" advTm="9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Connecteur droit 20">
            <a:extLst>
              <a:ext uri="{FF2B5EF4-FFF2-40B4-BE49-F238E27FC236}">
                <a16:creationId xmlns:a16="http://schemas.microsoft.com/office/drawing/2014/main" id="{DA4C86BE-5CE6-B190-232A-96C9411823FA}"/>
              </a:ext>
            </a:extLst>
          </p:cNvPr>
          <p:cNvCxnSpPr>
            <a:cxnSpLocks/>
          </p:cNvCxnSpPr>
          <p:nvPr/>
        </p:nvCxnSpPr>
        <p:spPr>
          <a:xfrm>
            <a:off x="2023111" y="1221236"/>
            <a:ext cx="6460727"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4" name="TextBox 18">
            <a:extLst>
              <a:ext uri="{FF2B5EF4-FFF2-40B4-BE49-F238E27FC236}">
                <a16:creationId xmlns:a16="http://schemas.microsoft.com/office/drawing/2014/main" id="{232A2074-ADD7-ADB4-F780-08CA12E2C360}"/>
              </a:ext>
            </a:extLst>
          </p:cNvPr>
          <p:cNvSpPr txBox="1"/>
          <p:nvPr/>
        </p:nvSpPr>
        <p:spPr>
          <a:xfrm>
            <a:off x="2314121" y="4368200"/>
            <a:ext cx="5715552"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Excellence et attractivité</a:t>
            </a:r>
          </a:p>
        </p:txBody>
      </p:sp>
      <p:sp>
        <p:nvSpPr>
          <p:cNvPr id="5" name="TextBox 18">
            <a:extLst>
              <a:ext uri="{FF2B5EF4-FFF2-40B4-BE49-F238E27FC236}">
                <a16:creationId xmlns:a16="http://schemas.microsoft.com/office/drawing/2014/main" id="{A76AFEC7-8114-A4E4-2395-8D1C30AFD297}"/>
              </a:ext>
            </a:extLst>
          </p:cNvPr>
          <p:cNvSpPr txBox="1"/>
          <p:nvPr/>
        </p:nvSpPr>
        <p:spPr>
          <a:xfrm>
            <a:off x="2317816" y="1533621"/>
            <a:ext cx="9331357"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Performance et transition Energétique des OF.A du BTP</a:t>
            </a:r>
          </a:p>
        </p:txBody>
      </p:sp>
      <p:sp>
        <p:nvSpPr>
          <p:cNvPr id="43" name="TextBox 5">
            <a:extLst>
              <a:ext uri="{FF2B5EF4-FFF2-40B4-BE49-F238E27FC236}">
                <a16:creationId xmlns:a16="http://schemas.microsoft.com/office/drawing/2014/main" id="{5528B0E2-D07E-448C-CEE9-8BD9DEE67DF8}"/>
              </a:ext>
            </a:extLst>
          </p:cNvPr>
          <p:cNvSpPr txBox="1"/>
          <p:nvPr/>
        </p:nvSpPr>
        <p:spPr>
          <a:xfrm>
            <a:off x="2302294" y="1997766"/>
            <a:ext cx="9215837"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Aide à la rédaction et présentation des projets en réponse aux appels à projets du CCCA-BTP</a:t>
            </a:r>
          </a:p>
        </p:txBody>
      </p:sp>
      <p:sp>
        <p:nvSpPr>
          <p:cNvPr id="47" name="TextBox 5">
            <a:extLst>
              <a:ext uri="{FF2B5EF4-FFF2-40B4-BE49-F238E27FC236}">
                <a16:creationId xmlns:a16="http://schemas.microsoft.com/office/drawing/2014/main" id="{B95357CA-7571-E0F2-6538-97D11AFE1E31}"/>
              </a:ext>
            </a:extLst>
          </p:cNvPr>
          <p:cNvSpPr txBox="1"/>
          <p:nvPr/>
        </p:nvSpPr>
        <p:spPr>
          <a:xfrm>
            <a:off x="2291117" y="2578354"/>
            <a:ext cx="8364779"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Aide à la finalisation des projets en vue de la diffusion gratuite des productions </a:t>
            </a:r>
          </a:p>
        </p:txBody>
      </p:sp>
      <p:cxnSp>
        <p:nvCxnSpPr>
          <p:cNvPr id="48" name="Connecteur droit 47">
            <a:extLst>
              <a:ext uri="{FF2B5EF4-FFF2-40B4-BE49-F238E27FC236}">
                <a16:creationId xmlns:a16="http://schemas.microsoft.com/office/drawing/2014/main" id="{0AA292CA-34CB-F998-7F65-3FF14674CCDA}"/>
              </a:ext>
            </a:extLst>
          </p:cNvPr>
          <p:cNvCxnSpPr>
            <a:cxnSpLocks/>
          </p:cNvCxnSpPr>
          <p:nvPr/>
        </p:nvCxnSpPr>
        <p:spPr>
          <a:xfrm>
            <a:off x="2190681" y="4265317"/>
            <a:ext cx="7599516"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49" name="TextBox 18">
            <a:extLst>
              <a:ext uri="{FF2B5EF4-FFF2-40B4-BE49-F238E27FC236}">
                <a16:creationId xmlns:a16="http://schemas.microsoft.com/office/drawing/2014/main" id="{B15E627A-6960-5E47-B594-94131667EF18}"/>
              </a:ext>
            </a:extLst>
          </p:cNvPr>
          <p:cNvSpPr txBox="1"/>
          <p:nvPr/>
        </p:nvSpPr>
        <p:spPr>
          <a:xfrm>
            <a:off x="2291117" y="6507601"/>
            <a:ext cx="5715552"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Développement des compétences</a:t>
            </a:r>
          </a:p>
        </p:txBody>
      </p:sp>
      <p:cxnSp>
        <p:nvCxnSpPr>
          <p:cNvPr id="50" name="Connecteur droit 49">
            <a:extLst>
              <a:ext uri="{FF2B5EF4-FFF2-40B4-BE49-F238E27FC236}">
                <a16:creationId xmlns:a16="http://schemas.microsoft.com/office/drawing/2014/main" id="{6827EAFC-E814-493D-22B0-388979E1E46B}"/>
              </a:ext>
            </a:extLst>
          </p:cNvPr>
          <p:cNvCxnSpPr>
            <a:cxnSpLocks/>
          </p:cNvCxnSpPr>
          <p:nvPr/>
        </p:nvCxnSpPr>
        <p:spPr>
          <a:xfrm>
            <a:off x="2190679" y="6414060"/>
            <a:ext cx="7517677"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grpSp>
        <p:nvGrpSpPr>
          <p:cNvPr id="51" name="Groupe 50">
            <a:extLst>
              <a:ext uri="{FF2B5EF4-FFF2-40B4-BE49-F238E27FC236}">
                <a16:creationId xmlns:a16="http://schemas.microsoft.com/office/drawing/2014/main" id="{B9CB1203-178B-E879-8E1C-343F25545093}"/>
              </a:ext>
            </a:extLst>
          </p:cNvPr>
          <p:cNvGrpSpPr/>
          <p:nvPr/>
        </p:nvGrpSpPr>
        <p:grpSpPr>
          <a:xfrm>
            <a:off x="11052027" y="2188823"/>
            <a:ext cx="2990543" cy="443784"/>
            <a:chOff x="4735713" y="1283485"/>
            <a:chExt cx="2472390" cy="366892"/>
          </a:xfrm>
        </p:grpSpPr>
        <p:sp>
          <p:nvSpPr>
            <p:cNvPr id="52" name="Rectangle : coins arrondis 51">
              <a:extLst>
                <a:ext uri="{FF2B5EF4-FFF2-40B4-BE49-F238E27FC236}">
                  <a16:creationId xmlns:a16="http://schemas.microsoft.com/office/drawing/2014/main" id="{7360E688-8DB0-B266-C62E-1C4FFEA27FA5}"/>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53" name="ZoneTexte 52">
              <a:extLst>
                <a:ext uri="{FF2B5EF4-FFF2-40B4-BE49-F238E27FC236}">
                  <a16:creationId xmlns:a16="http://schemas.microsoft.com/office/drawing/2014/main" id="{96362FD8-D0E7-B8E1-62B9-84B39251F72E}"/>
                </a:ext>
              </a:extLst>
            </p:cNvPr>
            <p:cNvSpPr txBox="1"/>
            <p:nvPr/>
          </p:nvSpPr>
          <p:spPr>
            <a:xfrm>
              <a:off x="4735713" y="1283485"/>
              <a:ext cx="2346852" cy="243141"/>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dirty="0">
                  <a:solidFill>
                    <a:prstClr val="black">
                      <a:lumMod val="95000"/>
                      <a:lumOff val="5000"/>
                    </a:prstClr>
                  </a:solidFill>
                  <a:latin typeface="Raleway"/>
                </a:rPr>
                <a:t>Ouverture Annuelle </a:t>
              </a:r>
            </a:p>
          </p:txBody>
        </p:sp>
      </p:grpSp>
      <p:grpSp>
        <p:nvGrpSpPr>
          <p:cNvPr id="54" name="Groupe 53">
            <a:extLst>
              <a:ext uri="{FF2B5EF4-FFF2-40B4-BE49-F238E27FC236}">
                <a16:creationId xmlns:a16="http://schemas.microsoft.com/office/drawing/2014/main" id="{384CD098-8E38-36B0-031B-1ADCD1A9ECB7}"/>
              </a:ext>
            </a:extLst>
          </p:cNvPr>
          <p:cNvGrpSpPr/>
          <p:nvPr/>
        </p:nvGrpSpPr>
        <p:grpSpPr>
          <a:xfrm>
            <a:off x="11649172" y="5096639"/>
            <a:ext cx="2336480" cy="470628"/>
            <a:chOff x="4714274" y="1294810"/>
            <a:chExt cx="2493829" cy="355567"/>
          </a:xfrm>
        </p:grpSpPr>
        <p:sp>
          <p:nvSpPr>
            <p:cNvPr id="55" name="Rectangle : coins arrondis 54">
              <a:extLst>
                <a:ext uri="{FF2B5EF4-FFF2-40B4-BE49-F238E27FC236}">
                  <a16:creationId xmlns:a16="http://schemas.microsoft.com/office/drawing/2014/main" id="{01CCE54C-F0A6-1CD7-33EE-14C4FA0DBAAA}"/>
                </a:ext>
              </a:extLst>
            </p:cNvPr>
            <p:cNvSpPr/>
            <p:nvPr/>
          </p:nvSpPr>
          <p:spPr>
            <a:xfrm>
              <a:off x="5229396" y="1308100"/>
              <a:ext cx="1978707"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56" name="ZoneTexte 55">
              <a:extLst>
                <a:ext uri="{FF2B5EF4-FFF2-40B4-BE49-F238E27FC236}">
                  <a16:creationId xmlns:a16="http://schemas.microsoft.com/office/drawing/2014/main" id="{385128B2-DCF8-9E9C-6D30-43E55277014C}"/>
                </a:ext>
              </a:extLst>
            </p:cNvPr>
            <p:cNvSpPr txBox="1"/>
            <p:nvPr/>
          </p:nvSpPr>
          <p:spPr>
            <a:xfrm>
              <a:off x="4714274" y="1294810"/>
              <a:ext cx="2346851" cy="222195"/>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dirty="0">
                  <a:solidFill>
                    <a:prstClr val="black">
                      <a:lumMod val="95000"/>
                      <a:lumOff val="5000"/>
                    </a:prstClr>
                  </a:solidFill>
                  <a:latin typeface="Raleway"/>
                </a:rPr>
                <a:t>Ouverture annuelle</a:t>
              </a:r>
            </a:p>
          </p:txBody>
        </p:sp>
      </p:grpSp>
      <p:sp>
        <p:nvSpPr>
          <p:cNvPr id="64" name="TextBox 5">
            <a:extLst>
              <a:ext uri="{FF2B5EF4-FFF2-40B4-BE49-F238E27FC236}">
                <a16:creationId xmlns:a16="http://schemas.microsoft.com/office/drawing/2014/main" id="{6CBF2445-DE73-6BC4-52C2-712BA9BC5605}"/>
              </a:ext>
            </a:extLst>
          </p:cNvPr>
          <p:cNvSpPr txBox="1"/>
          <p:nvPr/>
        </p:nvSpPr>
        <p:spPr>
          <a:xfrm>
            <a:off x="2351273" y="7152990"/>
            <a:ext cx="679722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 Devenir Pro » : maitrise des ruptures et abandons</a:t>
            </a:r>
          </a:p>
        </p:txBody>
      </p:sp>
      <p:sp>
        <p:nvSpPr>
          <p:cNvPr id="65" name="TextBox 5">
            <a:extLst>
              <a:ext uri="{FF2B5EF4-FFF2-40B4-BE49-F238E27FC236}">
                <a16:creationId xmlns:a16="http://schemas.microsoft.com/office/drawing/2014/main" id="{0171639E-0658-FC12-5337-62F6F07BC07B}"/>
              </a:ext>
            </a:extLst>
          </p:cNvPr>
          <p:cNvSpPr txBox="1"/>
          <p:nvPr/>
        </p:nvSpPr>
        <p:spPr>
          <a:xfrm>
            <a:off x="2351271" y="7583299"/>
            <a:ext cx="679722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dirty="0">
                <a:latin typeface="Calibri"/>
                <a:ea typeface="ＭＳ Ｐゴシック" pitchFamily="16" charset="-128"/>
                <a:cs typeface="Arial" panose="020B0604020202020204" pitchFamily="34" charset="0"/>
              </a:rPr>
              <a:t>Mettre en place et promouvoir les sections  à composantes européennes </a:t>
            </a:r>
            <a:endParaRPr lang="fr-FR" sz="1467" b="1" dirty="0">
              <a:highlight>
                <a:srgbClr val="FFFF00"/>
              </a:highlight>
              <a:latin typeface="Calibri"/>
              <a:ea typeface="ＭＳ Ｐゴシック" pitchFamily="16" charset="-128"/>
              <a:cs typeface="Arial" panose="020B0604020202020204" pitchFamily="34" charset="0"/>
            </a:endParaRPr>
          </a:p>
        </p:txBody>
      </p:sp>
      <p:sp>
        <p:nvSpPr>
          <p:cNvPr id="66" name="TextBox 5">
            <a:extLst>
              <a:ext uri="{FF2B5EF4-FFF2-40B4-BE49-F238E27FC236}">
                <a16:creationId xmlns:a16="http://schemas.microsoft.com/office/drawing/2014/main" id="{B16EC2ED-0E9C-BAA6-5715-46437FCE2D0E}"/>
              </a:ext>
            </a:extLst>
          </p:cNvPr>
          <p:cNvSpPr txBox="1"/>
          <p:nvPr/>
        </p:nvSpPr>
        <p:spPr>
          <a:xfrm>
            <a:off x="2351270" y="7968374"/>
            <a:ext cx="679722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Modulariser, développer les entrées et sorties permanentes des formations</a:t>
            </a:r>
            <a:endParaRPr lang="fr-FR" sz="1467" b="1" u="sng" dirty="0">
              <a:highlight>
                <a:srgbClr val="FFFF00"/>
              </a:highlight>
              <a:latin typeface="Calibri"/>
              <a:ea typeface="ＭＳ Ｐゴシック" pitchFamily="16" charset="-128"/>
              <a:cs typeface="Arial" panose="020B0604020202020204" pitchFamily="34" charset="0"/>
            </a:endParaRPr>
          </a:p>
        </p:txBody>
      </p:sp>
      <p:grpSp>
        <p:nvGrpSpPr>
          <p:cNvPr id="71" name="Groupe 70">
            <a:extLst>
              <a:ext uri="{FF2B5EF4-FFF2-40B4-BE49-F238E27FC236}">
                <a16:creationId xmlns:a16="http://schemas.microsoft.com/office/drawing/2014/main" id="{FAB7ADAE-94F1-2FDF-1572-9862BCF7C13E}"/>
              </a:ext>
            </a:extLst>
          </p:cNvPr>
          <p:cNvGrpSpPr/>
          <p:nvPr/>
        </p:nvGrpSpPr>
        <p:grpSpPr>
          <a:xfrm>
            <a:off x="11762739" y="7291098"/>
            <a:ext cx="2357620" cy="470236"/>
            <a:chOff x="4714274" y="1294810"/>
            <a:chExt cx="2493829" cy="355567"/>
          </a:xfrm>
        </p:grpSpPr>
        <p:sp>
          <p:nvSpPr>
            <p:cNvPr id="72" name="Rectangle : coins arrondis 71">
              <a:extLst>
                <a:ext uri="{FF2B5EF4-FFF2-40B4-BE49-F238E27FC236}">
                  <a16:creationId xmlns:a16="http://schemas.microsoft.com/office/drawing/2014/main" id="{3B8E8CBF-F197-B0AF-2630-6E6298B2C38C}"/>
                </a:ext>
              </a:extLst>
            </p:cNvPr>
            <p:cNvSpPr/>
            <p:nvPr/>
          </p:nvSpPr>
          <p:spPr>
            <a:xfrm>
              <a:off x="5229396" y="1308100"/>
              <a:ext cx="1978707"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73" name="ZoneTexte 72">
              <a:extLst>
                <a:ext uri="{FF2B5EF4-FFF2-40B4-BE49-F238E27FC236}">
                  <a16:creationId xmlns:a16="http://schemas.microsoft.com/office/drawing/2014/main" id="{8A3F240E-88BC-F66E-AA30-3F00A5A0A292}"/>
                </a:ext>
              </a:extLst>
            </p:cNvPr>
            <p:cNvSpPr txBox="1"/>
            <p:nvPr/>
          </p:nvSpPr>
          <p:spPr>
            <a:xfrm>
              <a:off x="4714274" y="1294810"/>
              <a:ext cx="2346853" cy="351671"/>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dirty="0">
                  <a:solidFill>
                    <a:prstClr val="black">
                      <a:lumMod val="95000"/>
                      <a:lumOff val="5000"/>
                    </a:prstClr>
                  </a:solidFill>
                  <a:latin typeface="Raleway"/>
                </a:rPr>
                <a:t>Ouverture annuelle</a:t>
              </a:r>
            </a:p>
            <a:p>
              <a:pPr algn="r" defTabSz="1106031">
                <a:lnSpc>
                  <a:spcPts val="1331"/>
                </a:lnSpc>
                <a:defRPr/>
              </a:pPr>
              <a:r>
                <a:rPr lang="fr-FR" sz="1209" b="1" i="1" spc="31" dirty="0">
                  <a:solidFill>
                    <a:prstClr val="black">
                      <a:lumMod val="95000"/>
                      <a:lumOff val="5000"/>
                    </a:prstClr>
                  </a:solidFill>
                  <a:latin typeface="Raleway"/>
                </a:rPr>
                <a:t> </a:t>
              </a:r>
            </a:p>
          </p:txBody>
        </p:sp>
      </p:grpSp>
      <p:sp>
        <p:nvSpPr>
          <p:cNvPr id="83" name="TextBox 5">
            <a:extLst>
              <a:ext uri="{FF2B5EF4-FFF2-40B4-BE49-F238E27FC236}">
                <a16:creationId xmlns:a16="http://schemas.microsoft.com/office/drawing/2014/main" id="{FF1992D8-B585-75F2-0D6F-AB36824C0609}"/>
              </a:ext>
            </a:extLst>
          </p:cNvPr>
          <p:cNvSpPr txBox="1"/>
          <p:nvPr/>
        </p:nvSpPr>
        <p:spPr>
          <a:xfrm>
            <a:off x="2314122" y="5412197"/>
            <a:ext cx="679722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1 2 3 PODIUM</a:t>
            </a:r>
          </a:p>
        </p:txBody>
      </p:sp>
      <p:sp>
        <p:nvSpPr>
          <p:cNvPr id="84" name="TextBox 5">
            <a:extLst>
              <a:ext uri="{FF2B5EF4-FFF2-40B4-BE49-F238E27FC236}">
                <a16:creationId xmlns:a16="http://schemas.microsoft.com/office/drawing/2014/main" id="{76155E16-0DEA-CFB3-B708-8C19DEDDC649}"/>
              </a:ext>
            </a:extLst>
          </p:cNvPr>
          <p:cNvSpPr txBox="1"/>
          <p:nvPr/>
        </p:nvSpPr>
        <p:spPr>
          <a:xfrm>
            <a:off x="2359001" y="8375265"/>
            <a:ext cx="726287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spcBef>
                <a:spcPts val="1452"/>
              </a:spcBef>
              <a:defRPr/>
            </a:pPr>
            <a:r>
              <a:rPr lang="fr-FR" sz="1467" b="1" u="sng" dirty="0">
                <a:latin typeface="Calibri"/>
                <a:ea typeface="ＭＳ Ｐゴシック" pitchFamily="16" charset="-128"/>
                <a:cs typeface="Arial" panose="020B0604020202020204" pitchFamily="34" charset="0"/>
              </a:rPr>
              <a:t>Prépa Apprentissage</a:t>
            </a:r>
          </a:p>
        </p:txBody>
      </p:sp>
      <p:sp>
        <p:nvSpPr>
          <p:cNvPr id="85" name="ZoneTexte 84">
            <a:extLst>
              <a:ext uri="{FF2B5EF4-FFF2-40B4-BE49-F238E27FC236}">
                <a16:creationId xmlns:a16="http://schemas.microsoft.com/office/drawing/2014/main" id="{623738E8-297D-F80E-B730-D6915FD37E09}"/>
              </a:ext>
            </a:extLst>
          </p:cNvPr>
          <p:cNvSpPr txBox="1"/>
          <p:nvPr/>
        </p:nvSpPr>
        <p:spPr>
          <a:xfrm>
            <a:off x="2190680" y="4798163"/>
            <a:ext cx="4711715" cy="318100"/>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La Box Cap BTP avec l’API système interne CFA </a:t>
            </a:r>
          </a:p>
        </p:txBody>
      </p:sp>
      <p:sp>
        <p:nvSpPr>
          <p:cNvPr id="86" name="TextBox 5">
            <a:extLst>
              <a:ext uri="{FF2B5EF4-FFF2-40B4-BE49-F238E27FC236}">
                <a16:creationId xmlns:a16="http://schemas.microsoft.com/office/drawing/2014/main" id="{57B7493A-88C2-0895-FC7D-741AB2EEE6BE}"/>
              </a:ext>
            </a:extLst>
          </p:cNvPr>
          <p:cNvSpPr txBox="1"/>
          <p:nvPr/>
        </p:nvSpPr>
        <p:spPr>
          <a:xfrm>
            <a:off x="2291117" y="3631496"/>
            <a:ext cx="8937817" cy="451405"/>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spcBef>
                <a:spcPts val="1452"/>
              </a:spcBef>
              <a:defRPr/>
            </a:pPr>
            <a:r>
              <a:rPr lang="fr-FR" sz="1467" b="1" u="sng" dirty="0">
                <a:latin typeface="Calibri"/>
                <a:ea typeface="ＭＳ Ｐゴシック" pitchFamily="16" charset="-128"/>
                <a:cs typeface="Arial" panose="020B0604020202020204" pitchFamily="34" charset="0"/>
              </a:rPr>
              <a:t>Financement dans la mise en œuvre d’une démarche RSE : </a:t>
            </a:r>
            <a:r>
              <a:rPr lang="fr-FR" sz="1467" b="1" u="sng" dirty="0" err="1">
                <a:latin typeface="Calibri"/>
                <a:ea typeface="ＭＳ Ｐゴシック" pitchFamily="16" charset="-128"/>
                <a:cs typeface="Arial" panose="020B0604020202020204" pitchFamily="34" charset="0"/>
              </a:rPr>
              <a:t>auto-diagnostic</a:t>
            </a:r>
            <a:r>
              <a:rPr lang="fr-FR" sz="1467" b="1" u="sng" dirty="0">
                <a:latin typeface="Calibri"/>
                <a:ea typeface="ＭＳ Ｐゴシック" pitchFamily="16" charset="-128"/>
                <a:cs typeface="Arial" panose="020B0604020202020204" pitchFamily="34" charset="0"/>
              </a:rPr>
              <a:t> du niveau d’engagement RSE, réalisation d’ateliers RSE, élaboration d’une démarche RSE; accompagnement vers la labellisation ISO 26000)</a:t>
            </a:r>
            <a:endParaRPr lang="fr-FR" sz="1467" b="1" u="sng" dirty="0">
              <a:highlight>
                <a:srgbClr val="FFFF00"/>
              </a:highlight>
              <a:latin typeface="Calibri"/>
              <a:ea typeface="ＭＳ Ｐゴシック" pitchFamily="16" charset="-128"/>
              <a:cs typeface="Arial" panose="020B0604020202020204" pitchFamily="34" charset="0"/>
            </a:endParaRPr>
          </a:p>
        </p:txBody>
      </p:sp>
      <p:sp>
        <p:nvSpPr>
          <p:cNvPr id="87" name="TextBox 5">
            <a:extLst>
              <a:ext uri="{FF2B5EF4-FFF2-40B4-BE49-F238E27FC236}">
                <a16:creationId xmlns:a16="http://schemas.microsoft.com/office/drawing/2014/main" id="{F9199A87-97B8-5E6F-1BCA-8CBBF54F3F89}"/>
              </a:ext>
            </a:extLst>
          </p:cNvPr>
          <p:cNvSpPr txBox="1"/>
          <p:nvPr/>
        </p:nvSpPr>
        <p:spPr>
          <a:xfrm>
            <a:off x="2291117" y="5969694"/>
            <a:ext cx="8670732"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474671">
              <a:defRPr/>
            </a:pPr>
            <a:r>
              <a:rPr lang="fr-FR" sz="1467" b="1" u="sng" dirty="0">
                <a:latin typeface="Calibri"/>
                <a:ea typeface="ＭＳ Ｐゴシック" pitchFamily="16" charset="-128"/>
                <a:cs typeface="Arial" panose="020B0604020202020204" pitchFamily="34" charset="0"/>
              </a:rPr>
              <a:t>Développement du sourcing des jeunes, public en reconversion et attractivité des métiers dans les territoires</a:t>
            </a:r>
          </a:p>
        </p:txBody>
      </p:sp>
      <p:sp>
        <p:nvSpPr>
          <p:cNvPr id="88" name="Rectangle 87">
            <a:extLst>
              <a:ext uri="{FF2B5EF4-FFF2-40B4-BE49-F238E27FC236}">
                <a16:creationId xmlns:a16="http://schemas.microsoft.com/office/drawing/2014/main" id="{1C842421-B4E8-0843-67AB-9F27EDB2D018}"/>
              </a:ext>
            </a:extLst>
          </p:cNvPr>
          <p:cNvSpPr/>
          <p:nvPr/>
        </p:nvSpPr>
        <p:spPr>
          <a:xfrm rot="19208412">
            <a:off x="1400585" y="3779971"/>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89" name="Rectangle 88">
            <a:extLst>
              <a:ext uri="{FF2B5EF4-FFF2-40B4-BE49-F238E27FC236}">
                <a16:creationId xmlns:a16="http://schemas.microsoft.com/office/drawing/2014/main" id="{5A556099-9577-6F92-3EBD-4237C3ADDC18}"/>
              </a:ext>
            </a:extLst>
          </p:cNvPr>
          <p:cNvSpPr/>
          <p:nvPr/>
        </p:nvSpPr>
        <p:spPr>
          <a:xfrm rot="19208412">
            <a:off x="1400585" y="5467546"/>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90" name="Rectangle 89">
            <a:extLst>
              <a:ext uri="{FF2B5EF4-FFF2-40B4-BE49-F238E27FC236}">
                <a16:creationId xmlns:a16="http://schemas.microsoft.com/office/drawing/2014/main" id="{37C7DE3F-F998-3B14-00AE-7B649F1B1F41}"/>
              </a:ext>
            </a:extLst>
          </p:cNvPr>
          <p:cNvSpPr/>
          <p:nvPr/>
        </p:nvSpPr>
        <p:spPr>
          <a:xfrm rot="19208412">
            <a:off x="1400584" y="6078192"/>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91" name="Rectangle 90">
            <a:extLst>
              <a:ext uri="{FF2B5EF4-FFF2-40B4-BE49-F238E27FC236}">
                <a16:creationId xmlns:a16="http://schemas.microsoft.com/office/drawing/2014/main" id="{EFB403B4-F928-7F51-36A2-78F16F86A7BE}"/>
              </a:ext>
            </a:extLst>
          </p:cNvPr>
          <p:cNvSpPr/>
          <p:nvPr/>
        </p:nvSpPr>
        <p:spPr>
          <a:xfrm rot="19208412">
            <a:off x="1400583" y="7142194"/>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92" name="Rectangle 91">
            <a:extLst>
              <a:ext uri="{FF2B5EF4-FFF2-40B4-BE49-F238E27FC236}">
                <a16:creationId xmlns:a16="http://schemas.microsoft.com/office/drawing/2014/main" id="{49731813-76A5-48AE-06C7-1B784643EB56}"/>
              </a:ext>
            </a:extLst>
          </p:cNvPr>
          <p:cNvSpPr/>
          <p:nvPr/>
        </p:nvSpPr>
        <p:spPr>
          <a:xfrm rot="19208412">
            <a:off x="1400581" y="8408123"/>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94" name="TextBox 5">
            <a:extLst>
              <a:ext uri="{FF2B5EF4-FFF2-40B4-BE49-F238E27FC236}">
                <a16:creationId xmlns:a16="http://schemas.microsoft.com/office/drawing/2014/main" id="{66FF7A2D-A66D-513D-262B-22D4CB29FE2A}"/>
              </a:ext>
            </a:extLst>
          </p:cNvPr>
          <p:cNvSpPr txBox="1"/>
          <p:nvPr/>
        </p:nvSpPr>
        <p:spPr>
          <a:xfrm>
            <a:off x="2291118" y="3136567"/>
            <a:ext cx="8937817"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spcBef>
                <a:spcPts val="1452"/>
              </a:spcBef>
              <a:defRPr/>
            </a:pPr>
            <a:r>
              <a:rPr lang="fr-FR" sz="1467" b="1" u="sng" dirty="0">
                <a:latin typeface="Calibri"/>
                <a:ea typeface="ＭＳ Ｐゴシック" pitchFamily="16" charset="-128"/>
                <a:cs typeface="Arial" panose="020B0604020202020204" pitchFamily="34" charset="0"/>
              </a:rPr>
              <a:t>Financement de l’audit de performance énergétique des bâtiments</a:t>
            </a:r>
            <a:endParaRPr lang="fr-FR" sz="1467" b="1" u="sng" dirty="0">
              <a:highlight>
                <a:srgbClr val="FFFF00"/>
              </a:highlight>
              <a:latin typeface="Calibri"/>
              <a:ea typeface="ＭＳ Ｐゴシック" pitchFamily="16" charset="-128"/>
              <a:cs typeface="Arial" panose="020B0604020202020204" pitchFamily="34" charset="0"/>
            </a:endParaRPr>
          </a:p>
        </p:txBody>
      </p:sp>
      <p:cxnSp>
        <p:nvCxnSpPr>
          <p:cNvPr id="100" name="Connecteur droit 99">
            <a:extLst>
              <a:ext uri="{FF2B5EF4-FFF2-40B4-BE49-F238E27FC236}">
                <a16:creationId xmlns:a16="http://schemas.microsoft.com/office/drawing/2014/main" id="{B326CDC0-153E-71AF-085C-E33EBFEE2A00}"/>
              </a:ext>
            </a:extLst>
          </p:cNvPr>
          <p:cNvCxnSpPr>
            <a:cxnSpLocks/>
          </p:cNvCxnSpPr>
          <p:nvPr/>
        </p:nvCxnSpPr>
        <p:spPr>
          <a:xfrm>
            <a:off x="2071590" y="8782155"/>
            <a:ext cx="7718607"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101" name="Rectangle : avec coins rognés en diagonale 100">
            <a:extLst>
              <a:ext uri="{FF2B5EF4-FFF2-40B4-BE49-F238E27FC236}">
                <a16:creationId xmlns:a16="http://schemas.microsoft.com/office/drawing/2014/main" id="{F0B33757-1A18-3255-6CF5-BC12A54AB6A8}"/>
              </a:ext>
            </a:extLst>
          </p:cNvPr>
          <p:cNvSpPr/>
          <p:nvPr/>
        </p:nvSpPr>
        <p:spPr>
          <a:xfrm>
            <a:off x="10961849" y="947712"/>
            <a:ext cx="1483892" cy="372693"/>
          </a:xfrm>
          <a:prstGeom prst="snip2DiagRect">
            <a:avLst/>
          </a:prstGeom>
          <a:solidFill>
            <a:schemeClr val="bg1">
              <a:lumMod val="75000"/>
            </a:schemeClr>
          </a:solidFill>
          <a:ln>
            <a:solidFill>
              <a:srgbClr val="FDEB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2177" b="1" dirty="0">
                <a:solidFill>
                  <a:prstClr val="black"/>
                </a:solidFill>
                <a:latin typeface="Calibri"/>
              </a:rPr>
              <a:t>10 M€</a:t>
            </a:r>
          </a:p>
        </p:txBody>
      </p:sp>
      <p:sp>
        <p:nvSpPr>
          <p:cNvPr id="6" name="Espace réservé du numéro de diapositive 3">
            <a:extLst>
              <a:ext uri="{FF2B5EF4-FFF2-40B4-BE49-F238E27FC236}">
                <a16:creationId xmlns:a16="http://schemas.microsoft.com/office/drawing/2014/main" id="{FF48ED57-31A9-1123-AF0D-EE104931B643}"/>
              </a:ext>
            </a:extLst>
          </p:cNvPr>
          <p:cNvSpPr txBox="1">
            <a:spLocks/>
          </p:cNvSpPr>
          <p:nvPr/>
        </p:nvSpPr>
        <p:spPr>
          <a:xfrm>
            <a:off x="13031733" y="8746966"/>
            <a:ext cx="2580751" cy="441647"/>
          </a:xfrm>
          <a:prstGeom prst="rect">
            <a:avLst/>
          </a:prstGeom>
        </p:spPr>
        <p:txBody>
          <a:bodyPr lIns="110604" tIns="55303" rIns="110604" bIns="55303" anchor="t"/>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212061" lvl="4" defTabSz="1106031">
              <a:defRPr/>
            </a:pPr>
            <a:fld id="{44412A4F-F26D-4452-BD16-A821188C28C5}" type="slidenum">
              <a:rPr lang="en-US" sz="968" dirty="0">
                <a:solidFill>
                  <a:prstClr val="black"/>
                </a:solidFill>
                <a:latin typeface="Calibri"/>
              </a:rPr>
              <a:pPr marL="2212061" lvl="4" defTabSz="1106031">
                <a:defRPr/>
              </a:pPr>
              <a:t>7</a:t>
            </a:fld>
            <a:endParaRPr lang="en-US" sz="968">
              <a:solidFill>
                <a:prstClr val="black"/>
              </a:solidFill>
              <a:latin typeface="Calibri"/>
              <a:ea typeface="Calibri"/>
              <a:cs typeface="Calibri"/>
            </a:endParaRPr>
          </a:p>
        </p:txBody>
      </p:sp>
      <p:sp>
        <p:nvSpPr>
          <p:cNvPr id="8" name="Titre 2">
            <a:extLst>
              <a:ext uri="{FF2B5EF4-FFF2-40B4-BE49-F238E27FC236}">
                <a16:creationId xmlns:a16="http://schemas.microsoft.com/office/drawing/2014/main" id="{E9831771-9741-769C-61BF-502776D16AFD}"/>
              </a:ext>
            </a:extLst>
          </p:cNvPr>
          <p:cNvSpPr>
            <a:spLocks noGrp="1"/>
          </p:cNvSpPr>
          <p:nvPr>
            <p:ph type="title"/>
          </p:nvPr>
        </p:nvSpPr>
        <p:spPr>
          <a:xfrm>
            <a:off x="1006203" y="516821"/>
            <a:ext cx="11865872" cy="715947"/>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fr-FR" dirty="0"/>
              <a:t>THEMATIQUES APPEL A PROJETS - APPEL A CANDIDATURES ET ENVELOPPE BUDGETAIRE 2025</a:t>
            </a:r>
          </a:p>
        </p:txBody>
      </p:sp>
      <p:pic>
        <p:nvPicPr>
          <p:cNvPr id="2" name="Image 1">
            <a:extLst>
              <a:ext uri="{FF2B5EF4-FFF2-40B4-BE49-F238E27FC236}">
                <a16:creationId xmlns:a16="http://schemas.microsoft.com/office/drawing/2014/main" id="{CE4CF311-A38B-A39D-1A4E-BCC6D45EA5C9}"/>
              </a:ext>
            </a:extLst>
          </p:cNvPr>
          <p:cNvPicPr>
            <a:picLocks noChangeAspect="1"/>
          </p:cNvPicPr>
          <p:nvPr/>
        </p:nvPicPr>
        <p:blipFill>
          <a:blip r:embed="rId3"/>
          <a:stretch>
            <a:fillRect/>
          </a:stretch>
        </p:blipFill>
        <p:spPr>
          <a:xfrm>
            <a:off x="12748560" y="388839"/>
            <a:ext cx="3187445" cy="914136"/>
          </a:xfrm>
          <a:prstGeom prst="rect">
            <a:avLst/>
          </a:prstGeom>
        </p:spPr>
      </p:pic>
      <p:sp>
        <p:nvSpPr>
          <p:cNvPr id="3" name="Rectangle 2">
            <a:extLst>
              <a:ext uri="{FF2B5EF4-FFF2-40B4-BE49-F238E27FC236}">
                <a16:creationId xmlns:a16="http://schemas.microsoft.com/office/drawing/2014/main" id="{1841357B-7E81-C7F7-4C9D-B435DAB1C3CC}"/>
              </a:ext>
            </a:extLst>
          </p:cNvPr>
          <p:cNvSpPr/>
          <p:nvPr/>
        </p:nvSpPr>
        <p:spPr>
          <a:xfrm rot="19208412">
            <a:off x="1400587" y="4856899"/>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grpSp>
        <p:nvGrpSpPr>
          <p:cNvPr id="7" name="Groupe 6">
            <a:extLst>
              <a:ext uri="{FF2B5EF4-FFF2-40B4-BE49-F238E27FC236}">
                <a16:creationId xmlns:a16="http://schemas.microsoft.com/office/drawing/2014/main" id="{91A90FC8-C9F6-DCA0-D990-C247FB716A77}"/>
              </a:ext>
            </a:extLst>
          </p:cNvPr>
          <p:cNvGrpSpPr/>
          <p:nvPr/>
        </p:nvGrpSpPr>
        <p:grpSpPr>
          <a:xfrm>
            <a:off x="14283467" y="1058181"/>
            <a:ext cx="1866248" cy="1707836"/>
            <a:chOff x="13959455" y="1145834"/>
            <a:chExt cx="2260756" cy="1800413"/>
          </a:xfrm>
        </p:grpSpPr>
        <p:pic>
          <p:nvPicPr>
            <p:cNvPr id="9" name="Picture 2">
              <a:extLst>
                <a:ext uri="{FF2B5EF4-FFF2-40B4-BE49-F238E27FC236}">
                  <a16:creationId xmlns:a16="http://schemas.microsoft.com/office/drawing/2014/main" id="{56F1CAFE-FC26-48A1-40D8-8F8EF14FA8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006266" y="1145834"/>
              <a:ext cx="2213945" cy="151994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97A716C2-937D-6E5A-67FA-3E7E9254CBBA}"/>
                </a:ext>
              </a:extLst>
            </p:cNvPr>
            <p:cNvSpPr/>
            <p:nvPr/>
          </p:nvSpPr>
          <p:spPr>
            <a:xfrm>
              <a:off x="13959455" y="1560046"/>
              <a:ext cx="2071876" cy="1386201"/>
            </a:xfrm>
            <a:prstGeom prst="rect">
              <a:avLst/>
            </a:prstGeom>
            <a:noFill/>
            <a:ln w="12700" cap="flat" cmpd="sng" algn="ctr">
              <a:noFill/>
              <a:prstDash val="solid"/>
              <a:miter lim="800000"/>
            </a:ln>
            <a:effectLst/>
          </p:spPr>
          <p:txBody>
            <a:bodyPr rtlCol="0" anchor="t"/>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2667" b="1" i="0" u="none" strike="noStrike" kern="0" cap="none" spc="0" normalizeH="0" baseline="0" noProof="0" dirty="0">
                  <a:ln>
                    <a:noFill/>
                  </a:ln>
                  <a:solidFill>
                    <a:srgbClr val="1D1D1B"/>
                  </a:solidFill>
                  <a:effectLst/>
                  <a:uLnTx/>
                  <a:uFillTx/>
                  <a:latin typeface="Arial Black"/>
                  <a:ea typeface="+mn-ea"/>
                  <a:cs typeface="+mn-cs"/>
                </a:rPr>
                <a:t>10 M€</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dirty="0">
                  <a:ln>
                    <a:noFill/>
                  </a:ln>
                  <a:solidFill>
                    <a:srgbClr val="1D1D1B"/>
                  </a:solidFill>
                  <a:effectLst/>
                  <a:uLnTx/>
                  <a:uFillTx/>
                  <a:latin typeface="Arial"/>
                  <a:ea typeface="+mn-ea"/>
                  <a:cs typeface="+mn-cs"/>
                </a:rPr>
                <a:t>de budget dédié aux AAC </a:t>
              </a:r>
            </a:p>
            <a:p>
              <a:pPr marL="0" marR="0" lvl="0" indent="0" algn="ctr" defTabSz="1219170" eaLnBrk="1" fontAlgn="auto" latinLnBrk="0" hangingPunct="1">
                <a:lnSpc>
                  <a:spcPct val="100000"/>
                </a:lnSpc>
                <a:spcBef>
                  <a:spcPts val="0"/>
                </a:spcBef>
                <a:spcAft>
                  <a:spcPts val="0"/>
                </a:spcAft>
                <a:buClrTx/>
                <a:buSzTx/>
                <a:buFontTx/>
                <a:buNone/>
                <a:tabLst/>
                <a:defRPr/>
              </a:pPr>
              <a:r>
                <a:rPr kumimoji="0" lang="fr-FR" sz="1067" b="1" i="0" u="none" strike="noStrike" kern="0" cap="none" spc="0" normalizeH="0" baseline="0" noProof="0" dirty="0">
                  <a:ln>
                    <a:noFill/>
                  </a:ln>
                  <a:solidFill>
                    <a:srgbClr val="1D1D1B"/>
                  </a:solidFill>
                  <a:effectLst/>
                  <a:uLnTx/>
                  <a:uFillTx/>
                  <a:latin typeface="Arial"/>
                  <a:ea typeface="+mn-ea"/>
                  <a:cs typeface="+mn-cs"/>
                </a:rPr>
                <a:t>pour 2025  </a:t>
              </a:r>
              <a:endParaRPr kumimoji="0" lang="fr-FR" sz="1400" b="1" i="0" u="none" strike="noStrike" kern="0" cap="none" spc="0" normalizeH="0" baseline="0" noProof="0" dirty="0">
                <a:ln>
                  <a:noFill/>
                </a:ln>
                <a:solidFill>
                  <a:srgbClr val="1D1D1B"/>
                </a:solidFill>
                <a:effectLst/>
                <a:uLnTx/>
                <a:uFillTx/>
                <a:latin typeface="Arial"/>
                <a:ea typeface="+mn-ea"/>
                <a:cs typeface="+mn-cs"/>
              </a:endParaRPr>
            </a:p>
          </p:txBody>
        </p:sp>
      </p:grpSp>
      <p:grpSp>
        <p:nvGrpSpPr>
          <p:cNvPr id="11" name="Groupe 10">
            <a:extLst>
              <a:ext uri="{FF2B5EF4-FFF2-40B4-BE49-F238E27FC236}">
                <a16:creationId xmlns:a16="http://schemas.microsoft.com/office/drawing/2014/main" id="{01CB6177-464F-3C8B-3E6A-F9FDA9400F32}"/>
              </a:ext>
            </a:extLst>
          </p:cNvPr>
          <p:cNvGrpSpPr/>
          <p:nvPr/>
        </p:nvGrpSpPr>
        <p:grpSpPr>
          <a:xfrm>
            <a:off x="12149505" y="2738168"/>
            <a:ext cx="1893065" cy="601592"/>
            <a:chOff x="6360185" y="1517609"/>
            <a:chExt cx="1361534" cy="724110"/>
          </a:xfrm>
        </p:grpSpPr>
        <p:sp>
          <p:nvSpPr>
            <p:cNvPr id="12" name="Freeform 5">
              <a:extLst>
                <a:ext uri="{FF2B5EF4-FFF2-40B4-BE49-F238E27FC236}">
                  <a16:creationId xmlns:a16="http://schemas.microsoft.com/office/drawing/2014/main" id="{EA4DA8BE-E6F4-EDF3-52F3-7B65C641A24E}"/>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13" name="ZoneTexte 5">
              <a:extLst>
                <a:ext uri="{FF2B5EF4-FFF2-40B4-BE49-F238E27FC236}">
                  <a16:creationId xmlns:a16="http://schemas.microsoft.com/office/drawing/2014/main" id="{48C9A262-46D8-CFFD-EFBF-705200DF9754}"/>
                </a:ext>
              </a:extLst>
            </p:cNvPr>
            <p:cNvSpPr txBox="1"/>
            <p:nvPr/>
          </p:nvSpPr>
          <p:spPr>
            <a:xfrm>
              <a:off x="6360185" y="1698382"/>
              <a:ext cx="1179810" cy="543337"/>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effectLst/>
                  <a:uLnTx/>
                  <a:uFillTx/>
                  <a:latin typeface="Arial Black"/>
                  <a:ea typeface="+mn-ea"/>
                  <a:cs typeface="+mn-cs"/>
                </a:rPr>
                <a:t>3 M€</a:t>
              </a:r>
              <a:endParaRPr kumimoji="0" lang="fr-FR" sz="2133" b="0" i="0" u="none" strike="noStrike" kern="1200" cap="none" spc="0" normalizeH="0" baseline="0" noProof="0" dirty="0">
                <a:ln>
                  <a:noFill/>
                </a:ln>
                <a:effectLst/>
                <a:uLnTx/>
                <a:uFillTx/>
                <a:latin typeface="Arial Black"/>
                <a:ea typeface="+mn-ea"/>
                <a:cs typeface="+mn-cs"/>
              </a:endParaRPr>
            </a:p>
          </p:txBody>
        </p:sp>
        <p:pic>
          <p:nvPicPr>
            <p:cNvPr id="14" name="Graphique 13" descr="Pièces contour">
              <a:extLst>
                <a:ext uri="{FF2B5EF4-FFF2-40B4-BE49-F238E27FC236}">
                  <a16:creationId xmlns:a16="http://schemas.microsoft.com/office/drawing/2014/main" id="{A4F0E950-4CBB-78FD-8C78-AB83F36BF8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8926" y="1517609"/>
              <a:ext cx="502793" cy="502793"/>
            </a:xfrm>
            <a:prstGeom prst="rect">
              <a:avLst/>
            </a:prstGeom>
          </p:spPr>
        </p:pic>
      </p:grpSp>
      <p:grpSp>
        <p:nvGrpSpPr>
          <p:cNvPr id="15" name="Groupe 14">
            <a:extLst>
              <a:ext uri="{FF2B5EF4-FFF2-40B4-BE49-F238E27FC236}">
                <a16:creationId xmlns:a16="http://schemas.microsoft.com/office/drawing/2014/main" id="{D3C7ABCA-3E67-14EA-C16F-39ECE1CFBC85}"/>
              </a:ext>
            </a:extLst>
          </p:cNvPr>
          <p:cNvGrpSpPr/>
          <p:nvPr/>
        </p:nvGrpSpPr>
        <p:grpSpPr>
          <a:xfrm>
            <a:off x="12149505" y="5834816"/>
            <a:ext cx="1893065" cy="601592"/>
            <a:chOff x="6360185" y="1517609"/>
            <a:chExt cx="1361534" cy="724110"/>
          </a:xfrm>
        </p:grpSpPr>
        <p:sp>
          <p:nvSpPr>
            <p:cNvPr id="16" name="Freeform 5">
              <a:extLst>
                <a:ext uri="{FF2B5EF4-FFF2-40B4-BE49-F238E27FC236}">
                  <a16:creationId xmlns:a16="http://schemas.microsoft.com/office/drawing/2014/main" id="{F44D0DE0-FECB-2858-129B-177EA287AE20}"/>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17" name="ZoneTexte 5">
              <a:extLst>
                <a:ext uri="{FF2B5EF4-FFF2-40B4-BE49-F238E27FC236}">
                  <a16:creationId xmlns:a16="http://schemas.microsoft.com/office/drawing/2014/main" id="{B46EE5B2-343B-6F8F-0D54-F55BAAD582EC}"/>
                </a:ext>
              </a:extLst>
            </p:cNvPr>
            <p:cNvSpPr txBox="1"/>
            <p:nvPr/>
          </p:nvSpPr>
          <p:spPr>
            <a:xfrm>
              <a:off x="6360185" y="1698382"/>
              <a:ext cx="1179810" cy="543337"/>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effectLst/>
                  <a:uLnTx/>
                  <a:uFillTx/>
                  <a:latin typeface="Arial Black"/>
                  <a:ea typeface="+mn-ea"/>
                  <a:cs typeface="+mn-cs"/>
                </a:rPr>
                <a:t>3 M€</a:t>
              </a:r>
              <a:endParaRPr kumimoji="0" lang="fr-FR" sz="2133" b="0" i="0" u="none" strike="noStrike" kern="1200" cap="none" spc="0" normalizeH="0" baseline="0" noProof="0" dirty="0">
                <a:ln>
                  <a:noFill/>
                </a:ln>
                <a:effectLst/>
                <a:uLnTx/>
                <a:uFillTx/>
                <a:latin typeface="Arial Black"/>
                <a:ea typeface="+mn-ea"/>
                <a:cs typeface="+mn-cs"/>
              </a:endParaRPr>
            </a:p>
          </p:txBody>
        </p:sp>
        <p:pic>
          <p:nvPicPr>
            <p:cNvPr id="18" name="Graphique 17" descr="Pièces contour">
              <a:extLst>
                <a:ext uri="{FF2B5EF4-FFF2-40B4-BE49-F238E27FC236}">
                  <a16:creationId xmlns:a16="http://schemas.microsoft.com/office/drawing/2014/main" id="{6D74A1C4-14BA-9C26-FE0E-6E60620EDD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8926" y="1517609"/>
              <a:ext cx="502793" cy="502793"/>
            </a:xfrm>
            <a:prstGeom prst="rect">
              <a:avLst/>
            </a:prstGeom>
          </p:spPr>
        </p:pic>
      </p:grpSp>
      <p:grpSp>
        <p:nvGrpSpPr>
          <p:cNvPr id="19" name="Groupe 18">
            <a:extLst>
              <a:ext uri="{FF2B5EF4-FFF2-40B4-BE49-F238E27FC236}">
                <a16:creationId xmlns:a16="http://schemas.microsoft.com/office/drawing/2014/main" id="{89217179-A49B-801E-A5FF-48E10C1873C3}"/>
              </a:ext>
            </a:extLst>
          </p:cNvPr>
          <p:cNvGrpSpPr/>
          <p:nvPr/>
        </p:nvGrpSpPr>
        <p:grpSpPr>
          <a:xfrm>
            <a:off x="12227294" y="7970440"/>
            <a:ext cx="1893065" cy="601592"/>
            <a:chOff x="6360185" y="1517609"/>
            <a:chExt cx="1361534" cy="724110"/>
          </a:xfrm>
        </p:grpSpPr>
        <p:sp>
          <p:nvSpPr>
            <p:cNvPr id="20" name="Freeform 5">
              <a:extLst>
                <a:ext uri="{FF2B5EF4-FFF2-40B4-BE49-F238E27FC236}">
                  <a16:creationId xmlns:a16="http://schemas.microsoft.com/office/drawing/2014/main" id="{228E4DF3-56D1-6603-0616-A470F7C7FDEF}"/>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22" name="ZoneTexte 5">
              <a:extLst>
                <a:ext uri="{FF2B5EF4-FFF2-40B4-BE49-F238E27FC236}">
                  <a16:creationId xmlns:a16="http://schemas.microsoft.com/office/drawing/2014/main" id="{27813975-7A36-DCA5-C1ED-81F8993FC16A}"/>
                </a:ext>
              </a:extLst>
            </p:cNvPr>
            <p:cNvSpPr txBox="1"/>
            <p:nvPr/>
          </p:nvSpPr>
          <p:spPr>
            <a:xfrm>
              <a:off x="6360185" y="1698382"/>
              <a:ext cx="1179810" cy="543337"/>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effectLst/>
                  <a:uLnTx/>
                  <a:uFillTx/>
                  <a:latin typeface="Arial Black"/>
                  <a:ea typeface="+mn-ea"/>
                  <a:cs typeface="+mn-cs"/>
                </a:rPr>
                <a:t>2 M€</a:t>
              </a:r>
              <a:endParaRPr kumimoji="0" lang="fr-FR" sz="2133" b="0" i="0" u="none" strike="noStrike" kern="1200" cap="none" spc="0" normalizeH="0" baseline="0" noProof="0" dirty="0">
                <a:ln>
                  <a:noFill/>
                </a:ln>
                <a:effectLst/>
                <a:uLnTx/>
                <a:uFillTx/>
                <a:latin typeface="Arial Black"/>
                <a:ea typeface="+mn-ea"/>
                <a:cs typeface="+mn-cs"/>
              </a:endParaRPr>
            </a:p>
          </p:txBody>
        </p:sp>
        <p:pic>
          <p:nvPicPr>
            <p:cNvPr id="23" name="Graphique 22" descr="Pièces contour">
              <a:extLst>
                <a:ext uri="{FF2B5EF4-FFF2-40B4-BE49-F238E27FC236}">
                  <a16:creationId xmlns:a16="http://schemas.microsoft.com/office/drawing/2014/main" id="{A121F217-7460-8F2E-2CA9-B312434C1F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8926" y="1517609"/>
              <a:ext cx="502793" cy="502793"/>
            </a:xfrm>
            <a:prstGeom prst="rect">
              <a:avLst/>
            </a:prstGeom>
          </p:spPr>
        </p:pic>
      </p:grpSp>
    </p:spTree>
    <p:extLst>
      <p:ext uri="{BB962C8B-B14F-4D97-AF65-F5344CB8AC3E}">
        <p14:creationId xmlns:p14="http://schemas.microsoft.com/office/powerpoint/2010/main" val="2100317759"/>
      </p:ext>
    </p:extLst>
  </p:cSld>
  <p:clrMapOvr>
    <a:masterClrMapping/>
  </p:clrMapOvr>
  <mc:AlternateContent xmlns:mc="http://schemas.openxmlformats.org/markup-compatibility/2006">
    <mc:Choice xmlns:p15="http://schemas.microsoft.com/office/powerpoint/2012/main" Requires="p15">
      <p:transition spd="slow" advClick="0" advTm="9000">
        <p15:prstTrans prst="peelOff"/>
      </p:transition>
    </mc:Choice>
    <mc:Fallback>
      <p:transition spd="slow" advClick="0" advTm="9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Connecteur droit 20">
            <a:extLst>
              <a:ext uri="{FF2B5EF4-FFF2-40B4-BE49-F238E27FC236}">
                <a16:creationId xmlns:a16="http://schemas.microsoft.com/office/drawing/2014/main" id="{DA4C86BE-5CE6-B190-232A-96C9411823FA}"/>
              </a:ext>
            </a:extLst>
          </p:cNvPr>
          <p:cNvCxnSpPr>
            <a:cxnSpLocks/>
          </p:cNvCxnSpPr>
          <p:nvPr/>
        </p:nvCxnSpPr>
        <p:spPr>
          <a:xfrm>
            <a:off x="2023111" y="1221236"/>
            <a:ext cx="6460727"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58" name="TextBox 18">
            <a:extLst>
              <a:ext uri="{FF2B5EF4-FFF2-40B4-BE49-F238E27FC236}">
                <a16:creationId xmlns:a16="http://schemas.microsoft.com/office/drawing/2014/main" id="{34D90070-97D0-2758-B4B3-B2944DCDB220}"/>
              </a:ext>
            </a:extLst>
          </p:cNvPr>
          <p:cNvSpPr txBox="1"/>
          <p:nvPr/>
        </p:nvSpPr>
        <p:spPr>
          <a:xfrm>
            <a:off x="2199188" y="2133225"/>
            <a:ext cx="7965704"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Diversification des actions de formation</a:t>
            </a:r>
          </a:p>
        </p:txBody>
      </p:sp>
      <p:grpSp>
        <p:nvGrpSpPr>
          <p:cNvPr id="59" name="Groupe 58">
            <a:extLst>
              <a:ext uri="{FF2B5EF4-FFF2-40B4-BE49-F238E27FC236}">
                <a16:creationId xmlns:a16="http://schemas.microsoft.com/office/drawing/2014/main" id="{DEB9D2B4-2040-F99E-8403-EA5C7159271C}"/>
              </a:ext>
            </a:extLst>
          </p:cNvPr>
          <p:cNvGrpSpPr/>
          <p:nvPr/>
        </p:nvGrpSpPr>
        <p:grpSpPr>
          <a:xfrm>
            <a:off x="11490313" y="2513358"/>
            <a:ext cx="2643675" cy="477303"/>
            <a:chOff x="4856045" y="1308100"/>
            <a:chExt cx="2352058" cy="342277"/>
          </a:xfrm>
        </p:grpSpPr>
        <p:sp>
          <p:nvSpPr>
            <p:cNvPr id="60" name="Rectangle : coins arrondis 59">
              <a:extLst>
                <a:ext uri="{FF2B5EF4-FFF2-40B4-BE49-F238E27FC236}">
                  <a16:creationId xmlns:a16="http://schemas.microsoft.com/office/drawing/2014/main" id="{3F0BCF44-5714-F9E7-D5E4-77589A0BA2DD}"/>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61" name="ZoneTexte 60">
              <a:extLst>
                <a:ext uri="{FF2B5EF4-FFF2-40B4-BE49-F238E27FC236}">
                  <a16:creationId xmlns:a16="http://schemas.microsoft.com/office/drawing/2014/main" id="{B13569B0-0C0E-98C4-0027-B5DDA19BEFD5}"/>
                </a:ext>
              </a:extLst>
            </p:cNvPr>
            <p:cNvSpPr txBox="1"/>
            <p:nvPr/>
          </p:nvSpPr>
          <p:spPr>
            <a:xfrm>
              <a:off x="4856045" y="1332460"/>
              <a:ext cx="2346852" cy="202706"/>
            </a:xfrm>
            <a:prstGeom prst="rect">
              <a:avLst/>
            </a:prstGeom>
            <a:noFill/>
          </p:spPr>
          <p:txBody>
            <a:bodyPr wrap="square" lIns="110604" tIns="55303" rIns="110604" bIns="55303"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a:solidFill>
                    <a:prstClr val="black">
                      <a:lumMod val="95000"/>
                      <a:lumOff val="5000"/>
                    </a:prstClr>
                  </a:solidFill>
                  <a:latin typeface="Raleway"/>
                </a:rPr>
                <a:t>Ouverture a</a:t>
              </a:r>
              <a:r>
                <a:rPr lang="fr-FR" sz="1209" b="1" i="1" spc="31" err="1">
                  <a:solidFill>
                    <a:prstClr val="black">
                      <a:lumMod val="95000"/>
                      <a:lumOff val="5000"/>
                    </a:prstClr>
                  </a:solidFill>
                  <a:latin typeface="Raleway"/>
                </a:rPr>
                <a:t>nnuelle</a:t>
              </a:r>
              <a:r>
                <a:rPr lang="fr-FR" sz="1209" b="1" i="1" spc="31">
                  <a:solidFill>
                    <a:prstClr val="black">
                      <a:lumMod val="95000"/>
                      <a:lumOff val="5000"/>
                    </a:prstClr>
                  </a:solidFill>
                  <a:latin typeface="Raleway"/>
                </a:rPr>
                <a:t> </a:t>
              </a:r>
              <a:endParaRPr lang="fr-FR" sz="2177">
                <a:solidFill>
                  <a:prstClr val="black">
                    <a:lumMod val="95000"/>
                    <a:lumOff val="5000"/>
                  </a:prstClr>
                </a:solidFill>
                <a:latin typeface="Calibri"/>
                <a:ea typeface="Calibri"/>
                <a:cs typeface="Calibri"/>
              </a:endParaRPr>
            </a:p>
          </p:txBody>
        </p:sp>
      </p:grpSp>
      <p:cxnSp>
        <p:nvCxnSpPr>
          <p:cNvPr id="62" name="Connecteur droit 61">
            <a:extLst>
              <a:ext uri="{FF2B5EF4-FFF2-40B4-BE49-F238E27FC236}">
                <a16:creationId xmlns:a16="http://schemas.microsoft.com/office/drawing/2014/main" id="{AEEAF39D-0800-3481-0AEF-C3B25280B9CB}"/>
              </a:ext>
            </a:extLst>
          </p:cNvPr>
          <p:cNvCxnSpPr>
            <a:cxnSpLocks/>
          </p:cNvCxnSpPr>
          <p:nvPr/>
        </p:nvCxnSpPr>
        <p:spPr>
          <a:xfrm>
            <a:off x="2112119" y="4063883"/>
            <a:ext cx="6175368"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63" name="TextBox 18">
            <a:extLst>
              <a:ext uri="{FF2B5EF4-FFF2-40B4-BE49-F238E27FC236}">
                <a16:creationId xmlns:a16="http://schemas.microsoft.com/office/drawing/2014/main" id="{7A4633FE-9638-50A8-1A86-49A97B0113CE}"/>
              </a:ext>
            </a:extLst>
          </p:cNvPr>
          <p:cNvSpPr txBox="1"/>
          <p:nvPr/>
        </p:nvSpPr>
        <p:spPr>
          <a:xfrm>
            <a:off x="2199188" y="4280709"/>
            <a:ext cx="5715552" cy="446704"/>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106031">
              <a:defRPr/>
            </a:pPr>
            <a:r>
              <a:rPr lang="fr-FR" sz="2903" dirty="0">
                <a:solidFill>
                  <a:srgbClr val="222222"/>
                </a:solidFill>
                <a:latin typeface="Bebas Neue Bold"/>
              </a:rPr>
              <a:t>Performance interne</a:t>
            </a:r>
          </a:p>
        </p:txBody>
      </p:sp>
      <p:sp>
        <p:nvSpPr>
          <p:cNvPr id="67" name="TextBox 5">
            <a:extLst>
              <a:ext uri="{FF2B5EF4-FFF2-40B4-BE49-F238E27FC236}">
                <a16:creationId xmlns:a16="http://schemas.microsoft.com/office/drawing/2014/main" id="{4E2D912E-D98E-F388-6CE4-0DF270DE76E4}"/>
              </a:ext>
            </a:extLst>
          </p:cNvPr>
          <p:cNvSpPr txBox="1"/>
          <p:nvPr/>
        </p:nvSpPr>
        <p:spPr>
          <a:xfrm>
            <a:off x="2173078" y="2718505"/>
            <a:ext cx="6797223"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latin typeface="Calibri"/>
                <a:ea typeface="ＭＳ Ｐゴシック" pitchFamily="16" charset="-128"/>
                <a:cs typeface="Arial" panose="020B0604020202020204" pitchFamily="34" charset="0"/>
              </a:rPr>
              <a:t>BTP-BTP « Bien dans ta peau, Bien dans ton poste » </a:t>
            </a:r>
          </a:p>
        </p:txBody>
      </p:sp>
      <p:sp>
        <p:nvSpPr>
          <p:cNvPr id="68" name="TextBox 5">
            <a:extLst>
              <a:ext uri="{FF2B5EF4-FFF2-40B4-BE49-F238E27FC236}">
                <a16:creationId xmlns:a16="http://schemas.microsoft.com/office/drawing/2014/main" id="{26E03F09-9D5A-D539-383A-78A76FE49A2B}"/>
              </a:ext>
            </a:extLst>
          </p:cNvPr>
          <p:cNvSpPr txBox="1"/>
          <p:nvPr/>
        </p:nvSpPr>
        <p:spPr>
          <a:xfrm>
            <a:off x="2182860" y="3198155"/>
            <a:ext cx="9438889" cy="451405"/>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solidFill>
                  <a:prstClr val="black"/>
                </a:solidFill>
                <a:latin typeface="Calibri"/>
                <a:ea typeface="ＭＳ Ｐゴシック" pitchFamily="16" charset="-128"/>
                <a:cs typeface="Arial" panose="020B0604020202020204" pitchFamily="34" charset="0"/>
              </a:rPr>
              <a:t>Accompagnement au déploiement du titre professionnel « chargé d’accompagnement à la rénovation énergétique du bâtiment» (CAREB)</a:t>
            </a:r>
          </a:p>
        </p:txBody>
      </p:sp>
      <p:sp>
        <p:nvSpPr>
          <p:cNvPr id="69" name="TextBox 5">
            <a:extLst>
              <a:ext uri="{FF2B5EF4-FFF2-40B4-BE49-F238E27FC236}">
                <a16:creationId xmlns:a16="http://schemas.microsoft.com/office/drawing/2014/main" id="{D2F0CCD2-D584-E5A8-AC53-D3C21DE0FDCE}"/>
              </a:ext>
            </a:extLst>
          </p:cNvPr>
          <p:cNvSpPr txBox="1"/>
          <p:nvPr/>
        </p:nvSpPr>
        <p:spPr>
          <a:xfrm>
            <a:off x="2199188" y="4874589"/>
            <a:ext cx="5388992"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solidFill>
                  <a:prstClr val="black">
                    <a:lumMod val="65000"/>
                    <a:lumOff val="35000"/>
                  </a:prstClr>
                </a:solidFill>
                <a:latin typeface="Calibri"/>
                <a:ea typeface="ＭＳ Ｐゴシック" pitchFamily="16" charset="-128"/>
                <a:cs typeface="Arial" panose="020B0604020202020204" pitchFamily="34" charset="0"/>
              </a:rPr>
              <a:t>Construire sa marque employeur</a:t>
            </a:r>
          </a:p>
        </p:txBody>
      </p:sp>
      <p:sp>
        <p:nvSpPr>
          <p:cNvPr id="70" name="TextBox 5">
            <a:extLst>
              <a:ext uri="{FF2B5EF4-FFF2-40B4-BE49-F238E27FC236}">
                <a16:creationId xmlns:a16="http://schemas.microsoft.com/office/drawing/2014/main" id="{3317FDBE-323D-7DEF-FD0D-54F18AD2C8BC}"/>
              </a:ext>
            </a:extLst>
          </p:cNvPr>
          <p:cNvSpPr txBox="1"/>
          <p:nvPr/>
        </p:nvSpPr>
        <p:spPr>
          <a:xfrm>
            <a:off x="2199188" y="5259119"/>
            <a:ext cx="5388992" cy="225703"/>
          </a:xfrm>
          <a:prstGeom prst="rect">
            <a:avLst/>
          </a:prstGeom>
        </p:spPr>
        <p:txBody>
          <a:bodyPr wrap="square" lIns="0" tIns="0" rIns="0" bIns="0" rtlCol="0"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lvl="1" defTabSz="1106031">
              <a:defRPr/>
            </a:pPr>
            <a:r>
              <a:rPr lang="fr-FR" sz="1467" b="1" u="sng" dirty="0">
                <a:solidFill>
                  <a:prstClr val="black">
                    <a:lumMod val="65000"/>
                    <a:lumOff val="35000"/>
                  </a:prstClr>
                </a:solidFill>
                <a:latin typeface="Calibri"/>
                <a:ea typeface="ＭＳ Ｐゴシック" pitchFamily="16" charset="-128"/>
                <a:cs typeface="Arial" panose="020B0604020202020204" pitchFamily="34" charset="0"/>
              </a:rPr>
              <a:t>Elaborer un nouveau modèle managérial</a:t>
            </a:r>
          </a:p>
        </p:txBody>
      </p:sp>
      <p:cxnSp>
        <p:nvCxnSpPr>
          <p:cNvPr id="77" name="Connecteur droit 76">
            <a:extLst>
              <a:ext uri="{FF2B5EF4-FFF2-40B4-BE49-F238E27FC236}">
                <a16:creationId xmlns:a16="http://schemas.microsoft.com/office/drawing/2014/main" id="{C037D20B-B48D-C16C-B037-4CA12EC3EB24}"/>
              </a:ext>
            </a:extLst>
          </p:cNvPr>
          <p:cNvCxnSpPr>
            <a:cxnSpLocks/>
          </p:cNvCxnSpPr>
          <p:nvPr/>
        </p:nvCxnSpPr>
        <p:spPr>
          <a:xfrm>
            <a:off x="2112119" y="5772888"/>
            <a:ext cx="6175368" cy="0"/>
          </a:xfrm>
          <a:prstGeom prst="line">
            <a:avLst/>
          </a:prstGeom>
          <a:ln w="57150">
            <a:solidFill>
              <a:srgbClr val="FDEB1A"/>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0B9D85E9-3538-0DF4-251E-DF77D3174BE3}"/>
              </a:ext>
            </a:extLst>
          </p:cNvPr>
          <p:cNvSpPr/>
          <p:nvPr/>
        </p:nvSpPr>
        <p:spPr>
          <a:xfrm rot="19208412">
            <a:off x="1212240" y="3415427"/>
            <a:ext cx="785987" cy="297805"/>
          </a:xfrm>
          <a:prstGeom prst="rect">
            <a:avLst/>
          </a:prstGeom>
          <a:solidFill>
            <a:srgbClr val="FFFF00"/>
          </a:solidFill>
        </p:spPr>
        <p:txBody>
          <a:bodyPr wrap="square" lIns="110604" tIns="55303" rIns="110604" bIns="55303">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r>
              <a:rPr lang="fr-FR" sz="1209" dirty="0">
                <a:ln w="0"/>
                <a:solidFill>
                  <a:prstClr val="black"/>
                </a:solidFill>
                <a:effectLst>
                  <a:outerShdw blurRad="38100" dist="25400" dir="5400000" algn="ctr" rotWithShape="0">
                    <a:srgbClr val="6E747A">
                      <a:alpha val="43000"/>
                    </a:srgbClr>
                  </a:outerShdw>
                </a:effectLst>
                <a:latin typeface="Calibri"/>
              </a:rPr>
              <a:t>Nouveau</a:t>
            </a:r>
          </a:p>
        </p:txBody>
      </p:sp>
      <p:sp>
        <p:nvSpPr>
          <p:cNvPr id="4" name="Espace réservé du numéro de diapositive 3">
            <a:extLst>
              <a:ext uri="{FF2B5EF4-FFF2-40B4-BE49-F238E27FC236}">
                <a16:creationId xmlns:a16="http://schemas.microsoft.com/office/drawing/2014/main" id="{91F7C34A-8C46-6CE1-3E3A-E4AD7A3C2E7E}"/>
              </a:ext>
            </a:extLst>
          </p:cNvPr>
          <p:cNvSpPr txBox="1">
            <a:spLocks/>
          </p:cNvSpPr>
          <p:nvPr/>
        </p:nvSpPr>
        <p:spPr>
          <a:xfrm>
            <a:off x="12855350" y="8714874"/>
            <a:ext cx="2580751" cy="441647"/>
          </a:xfrm>
          <a:prstGeom prst="rect">
            <a:avLst/>
          </a:prstGeom>
        </p:spPr>
        <p:txBody>
          <a:bodyPr lIns="110604" tIns="55303" rIns="110604" bIns="55303" anchor="t"/>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2212061" lvl="4" defTabSz="1106031">
              <a:defRPr/>
            </a:pPr>
            <a:fld id="{44412A4F-F26D-4452-BD16-A821188C28C5}" type="slidenum">
              <a:rPr lang="en-US" sz="968" dirty="0">
                <a:solidFill>
                  <a:prstClr val="black"/>
                </a:solidFill>
                <a:latin typeface="Calibri"/>
              </a:rPr>
              <a:pPr marL="2212061" lvl="4" defTabSz="1106031">
                <a:defRPr/>
              </a:pPr>
              <a:t>8</a:t>
            </a:fld>
            <a:endParaRPr lang="en-US" sz="968">
              <a:solidFill>
                <a:prstClr val="black"/>
              </a:solidFill>
              <a:latin typeface="Calibri"/>
              <a:ea typeface="Calibri"/>
              <a:cs typeface="Calibri"/>
            </a:endParaRPr>
          </a:p>
        </p:txBody>
      </p:sp>
      <p:grpSp>
        <p:nvGrpSpPr>
          <p:cNvPr id="15" name="Groupe 14">
            <a:extLst>
              <a:ext uri="{FF2B5EF4-FFF2-40B4-BE49-F238E27FC236}">
                <a16:creationId xmlns:a16="http://schemas.microsoft.com/office/drawing/2014/main" id="{74613E0B-CFEF-A0DE-6C44-6DE38BFBFF59}"/>
              </a:ext>
            </a:extLst>
          </p:cNvPr>
          <p:cNvGrpSpPr/>
          <p:nvPr/>
        </p:nvGrpSpPr>
        <p:grpSpPr>
          <a:xfrm>
            <a:off x="11412983" y="4453558"/>
            <a:ext cx="2643675" cy="477303"/>
            <a:chOff x="4856045" y="1308100"/>
            <a:chExt cx="2352058" cy="342277"/>
          </a:xfrm>
        </p:grpSpPr>
        <p:sp>
          <p:nvSpPr>
            <p:cNvPr id="16" name="Rectangle : coins arrondis 15">
              <a:extLst>
                <a:ext uri="{FF2B5EF4-FFF2-40B4-BE49-F238E27FC236}">
                  <a16:creationId xmlns:a16="http://schemas.microsoft.com/office/drawing/2014/main" id="{81DD337B-6DC5-5E7B-EBBA-4813EE7F8DAD}"/>
                </a:ext>
              </a:extLst>
            </p:cNvPr>
            <p:cNvSpPr/>
            <p:nvPr/>
          </p:nvSpPr>
          <p:spPr>
            <a:xfrm>
              <a:off x="5536711" y="1308100"/>
              <a:ext cx="1671392" cy="342277"/>
            </a:xfrm>
            <a:prstGeom prst="roundRect">
              <a:avLst/>
            </a:prstGeom>
            <a:solidFill>
              <a:srgbClr val="FDEB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1106031">
                <a:defRPr/>
              </a:pPr>
              <a:endParaRPr lang="fr-FR" sz="1452" b="1" i="1">
                <a:solidFill>
                  <a:prstClr val="black">
                    <a:lumMod val="65000"/>
                    <a:lumOff val="35000"/>
                  </a:prstClr>
                </a:solidFill>
                <a:latin typeface="Calibri"/>
              </a:endParaRPr>
            </a:p>
          </p:txBody>
        </p:sp>
        <p:sp>
          <p:nvSpPr>
            <p:cNvPr id="17" name="ZoneTexte 16">
              <a:extLst>
                <a:ext uri="{FF2B5EF4-FFF2-40B4-BE49-F238E27FC236}">
                  <a16:creationId xmlns:a16="http://schemas.microsoft.com/office/drawing/2014/main" id="{97368107-0B67-95D7-C312-FEBE090EAEE4}"/>
                </a:ext>
              </a:extLst>
            </p:cNvPr>
            <p:cNvSpPr txBox="1"/>
            <p:nvPr/>
          </p:nvSpPr>
          <p:spPr>
            <a:xfrm>
              <a:off x="4856045" y="1332460"/>
              <a:ext cx="2346852" cy="202706"/>
            </a:xfrm>
            <a:prstGeom prst="rect">
              <a:avLst/>
            </a:prstGeom>
            <a:noFill/>
          </p:spPr>
          <p:txBody>
            <a:bodyPr wrap="square" lIns="110604" tIns="55303" rIns="110604" bIns="55303" anchor="t">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defTabSz="1106031">
                <a:lnSpc>
                  <a:spcPts val="1331"/>
                </a:lnSpc>
                <a:defRPr/>
              </a:pPr>
              <a:r>
                <a:rPr lang="fr-FR" sz="1209" b="1" i="1" spc="31">
                  <a:solidFill>
                    <a:prstClr val="black">
                      <a:lumMod val="95000"/>
                      <a:lumOff val="5000"/>
                    </a:prstClr>
                  </a:solidFill>
                  <a:latin typeface="Raleway"/>
                </a:rPr>
                <a:t>Ouverture a</a:t>
              </a:r>
              <a:r>
                <a:rPr lang="fr-FR" sz="1209" b="1" i="1" spc="31" err="1">
                  <a:solidFill>
                    <a:prstClr val="black">
                      <a:lumMod val="95000"/>
                      <a:lumOff val="5000"/>
                    </a:prstClr>
                  </a:solidFill>
                  <a:latin typeface="Raleway"/>
                </a:rPr>
                <a:t>nnuelle</a:t>
              </a:r>
              <a:r>
                <a:rPr lang="fr-FR" sz="1209" b="1" i="1" spc="31">
                  <a:solidFill>
                    <a:prstClr val="black">
                      <a:lumMod val="95000"/>
                      <a:lumOff val="5000"/>
                    </a:prstClr>
                  </a:solidFill>
                  <a:latin typeface="Raleway"/>
                </a:rPr>
                <a:t> </a:t>
              </a:r>
              <a:endParaRPr lang="fr-FR" sz="2177">
                <a:solidFill>
                  <a:prstClr val="black">
                    <a:lumMod val="95000"/>
                    <a:lumOff val="5000"/>
                  </a:prstClr>
                </a:solidFill>
                <a:latin typeface="Calibri"/>
                <a:ea typeface="Calibri"/>
                <a:cs typeface="Calibri"/>
              </a:endParaRPr>
            </a:p>
          </p:txBody>
        </p:sp>
      </p:grpSp>
      <p:sp>
        <p:nvSpPr>
          <p:cNvPr id="6" name="Titre 2">
            <a:extLst>
              <a:ext uri="{FF2B5EF4-FFF2-40B4-BE49-F238E27FC236}">
                <a16:creationId xmlns:a16="http://schemas.microsoft.com/office/drawing/2014/main" id="{EBA4E3A6-7872-1CB7-13AC-B6861F9E0FAB}"/>
              </a:ext>
            </a:extLst>
          </p:cNvPr>
          <p:cNvSpPr>
            <a:spLocks noGrp="1"/>
          </p:cNvSpPr>
          <p:nvPr>
            <p:ph type="title"/>
          </p:nvPr>
        </p:nvSpPr>
        <p:spPr>
          <a:xfrm>
            <a:off x="989476" y="505289"/>
            <a:ext cx="11865872" cy="715947"/>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fr-FR" dirty="0"/>
              <a:t>THEMATIQUES APPEL A PROJETS - APPEL A CANDIDATURES ET ENVELOPPE BUDGETAIRE 2025</a:t>
            </a:r>
          </a:p>
        </p:txBody>
      </p:sp>
      <p:pic>
        <p:nvPicPr>
          <p:cNvPr id="2" name="Image 1">
            <a:extLst>
              <a:ext uri="{FF2B5EF4-FFF2-40B4-BE49-F238E27FC236}">
                <a16:creationId xmlns:a16="http://schemas.microsoft.com/office/drawing/2014/main" id="{3E6EFD06-A71C-3DE7-4BC8-70B84D3889DB}"/>
              </a:ext>
            </a:extLst>
          </p:cNvPr>
          <p:cNvPicPr>
            <a:picLocks noChangeAspect="1"/>
          </p:cNvPicPr>
          <p:nvPr/>
        </p:nvPicPr>
        <p:blipFill>
          <a:blip r:embed="rId3"/>
          <a:stretch>
            <a:fillRect/>
          </a:stretch>
        </p:blipFill>
        <p:spPr>
          <a:xfrm>
            <a:off x="13015858" y="387048"/>
            <a:ext cx="3187445" cy="914136"/>
          </a:xfrm>
          <a:prstGeom prst="rect">
            <a:avLst/>
          </a:prstGeom>
        </p:spPr>
      </p:pic>
      <p:grpSp>
        <p:nvGrpSpPr>
          <p:cNvPr id="3" name="Groupe 2">
            <a:extLst>
              <a:ext uri="{FF2B5EF4-FFF2-40B4-BE49-F238E27FC236}">
                <a16:creationId xmlns:a16="http://schemas.microsoft.com/office/drawing/2014/main" id="{BA015749-9C74-03AE-456E-4CA47E9A9E7E}"/>
              </a:ext>
            </a:extLst>
          </p:cNvPr>
          <p:cNvGrpSpPr/>
          <p:nvPr/>
        </p:nvGrpSpPr>
        <p:grpSpPr>
          <a:xfrm>
            <a:off x="12265678" y="5100291"/>
            <a:ext cx="1893065" cy="601592"/>
            <a:chOff x="6360185" y="1517609"/>
            <a:chExt cx="1361534" cy="724110"/>
          </a:xfrm>
        </p:grpSpPr>
        <p:sp>
          <p:nvSpPr>
            <p:cNvPr id="5" name="Freeform 5">
              <a:extLst>
                <a:ext uri="{FF2B5EF4-FFF2-40B4-BE49-F238E27FC236}">
                  <a16:creationId xmlns:a16="http://schemas.microsoft.com/office/drawing/2014/main" id="{A991942A-18A3-86FA-D4E6-870A9C089C06}"/>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7" name="ZoneTexte 5">
              <a:extLst>
                <a:ext uri="{FF2B5EF4-FFF2-40B4-BE49-F238E27FC236}">
                  <a16:creationId xmlns:a16="http://schemas.microsoft.com/office/drawing/2014/main" id="{E439CF8B-0B8B-C4C7-3649-6AFA5F4B87D0}"/>
                </a:ext>
              </a:extLst>
            </p:cNvPr>
            <p:cNvSpPr txBox="1"/>
            <p:nvPr/>
          </p:nvSpPr>
          <p:spPr>
            <a:xfrm>
              <a:off x="6360185" y="1698382"/>
              <a:ext cx="1179810" cy="543337"/>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effectLst/>
                  <a:uLnTx/>
                  <a:uFillTx/>
                  <a:latin typeface="Arial Black"/>
                  <a:ea typeface="+mn-ea"/>
                  <a:cs typeface="+mn-cs"/>
                </a:rPr>
                <a:t>1 M€</a:t>
              </a:r>
              <a:endParaRPr kumimoji="0" lang="fr-FR" sz="2133" b="0" i="0" u="none" strike="noStrike" kern="1200" cap="none" spc="0" normalizeH="0" baseline="0" noProof="0" dirty="0">
                <a:ln>
                  <a:noFill/>
                </a:ln>
                <a:effectLst/>
                <a:uLnTx/>
                <a:uFillTx/>
                <a:latin typeface="Arial Black"/>
                <a:ea typeface="+mn-ea"/>
                <a:cs typeface="+mn-cs"/>
              </a:endParaRPr>
            </a:p>
          </p:txBody>
        </p:sp>
        <p:pic>
          <p:nvPicPr>
            <p:cNvPr id="8" name="Graphique 7" descr="Pièces contour">
              <a:extLst>
                <a:ext uri="{FF2B5EF4-FFF2-40B4-BE49-F238E27FC236}">
                  <a16:creationId xmlns:a16="http://schemas.microsoft.com/office/drawing/2014/main" id="{F514B98E-99EF-7A50-D77A-1306344A8E2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8926" y="1517609"/>
              <a:ext cx="502793" cy="502793"/>
            </a:xfrm>
            <a:prstGeom prst="rect">
              <a:avLst/>
            </a:prstGeom>
          </p:spPr>
        </p:pic>
      </p:grpSp>
      <p:grpSp>
        <p:nvGrpSpPr>
          <p:cNvPr id="9" name="Groupe 8">
            <a:extLst>
              <a:ext uri="{FF2B5EF4-FFF2-40B4-BE49-F238E27FC236}">
                <a16:creationId xmlns:a16="http://schemas.microsoft.com/office/drawing/2014/main" id="{D2337DD5-C11B-83AE-8B25-1CD7121C03AA}"/>
              </a:ext>
            </a:extLst>
          </p:cNvPr>
          <p:cNvGrpSpPr/>
          <p:nvPr/>
        </p:nvGrpSpPr>
        <p:grpSpPr>
          <a:xfrm>
            <a:off x="12265678" y="3120516"/>
            <a:ext cx="1893065" cy="601592"/>
            <a:chOff x="6360185" y="1517609"/>
            <a:chExt cx="1361534" cy="724110"/>
          </a:xfrm>
        </p:grpSpPr>
        <p:sp>
          <p:nvSpPr>
            <p:cNvPr id="10" name="Freeform 5">
              <a:extLst>
                <a:ext uri="{FF2B5EF4-FFF2-40B4-BE49-F238E27FC236}">
                  <a16:creationId xmlns:a16="http://schemas.microsoft.com/office/drawing/2014/main" id="{28427C33-6213-941F-3C67-E8EFADFC724B}"/>
                </a:ext>
              </a:extLst>
            </p:cNvPr>
            <p:cNvSpPr/>
            <p:nvPr/>
          </p:nvSpPr>
          <p:spPr>
            <a:xfrm>
              <a:off x="7001719" y="1775879"/>
              <a:ext cx="720000" cy="261411"/>
            </a:xfrm>
            <a:custGeom>
              <a:avLst/>
              <a:gdLst/>
              <a:ahLst/>
              <a:cxnLst/>
              <a:rect l="l" t="t" r="r" b="b"/>
              <a:pathLst>
                <a:path w="4840081" h="443655">
                  <a:moveTo>
                    <a:pt x="0" y="0"/>
                  </a:moveTo>
                  <a:lnTo>
                    <a:pt x="4840081" y="0"/>
                  </a:lnTo>
                  <a:lnTo>
                    <a:pt x="4840081" y="443656"/>
                  </a:lnTo>
                  <a:lnTo>
                    <a:pt x="0" y="44365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schemeClr val="tx1"/>
                </a:solidFill>
                <a:effectLst/>
                <a:uLnTx/>
                <a:uFillTx/>
                <a:latin typeface="Calibri"/>
              </a:endParaRPr>
            </a:p>
          </p:txBody>
        </p:sp>
        <p:sp>
          <p:nvSpPr>
            <p:cNvPr id="11" name="ZoneTexte 5">
              <a:extLst>
                <a:ext uri="{FF2B5EF4-FFF2-40B4-BE49-F238E27FC236}">
                  <a16:creationId xmlns:a16="http://schemas.microsoft.com/office/drawing/2014/main" id="{8DAFA24C-9434-59A2-CE78-ED3DC84DC6CD}"/>
                </a:ext>
              </a:extLst>
            </p:cNvPr>
            <p:cNvSpPr txBox="1"/>
            <p:nvPr/>
          </p:nvSpPr>
          <p:spPr>
            <a:xfrm>
              <a:off x="6360185" y="1698382"/>
              <a:ext cx="1179810" cy="543337"/>
            </a:xfrm>
            <a:prstGeom prst="rect">
              <a:avLst/>
            </a:prstGeom>
            <a:noFill/>
          </p:spPr>
          <p:txBody>
            <a:bodyPr wrap="square">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133" b="1" i="0" u="none" strike="noStrike" kern="1200" cap="none" spc="0" normalizeH="0" baseline="0" noProof="0" dirty="0">
                  <a:ln>
                    <a:noFill/>
                  </a:ln>
                  <a:effectLst/>
                  <a:uLnTx/>
                  <a:uFillTx/>
                  <a:latin typeface="Arial Black"/>
                  <a:ea typeface="+mn-ea"/>
                  <a:cs typeface="+mn-cs"/>
                </a:rPr>
                <a:t>1 M€</a:t>
              </a:r>
              <a:endParaRPr kumimoji="0" lang="fr-FR" sz="2133" b="0" i="0" u="none" strike="noStrike" kern="1200" cap="none" spc="0" normalizeH="0" baseline="0" noProof="0" dirty="0">
                <a:ln>
                  <a:noFill/>
                </a:ln>
                <a:effectLst/>
                <a:uLnTx/>
                <a:uFillTx/>
                <a:latin typeface="Arial Black"/>
                <a:ea typeface="+mn-ea"/>
                <a:cs typeface="+mn-cs"/>
              </a:endParaRPr>
            </a:p>
          </p:txBody>
        </p:sp>
        <p:pic>
          <p:nvPicPr>
            <p:cNvPr id="12" name="Graphique 11" descr="Pièces contour">
              <a:extLst>
                <a:ext uri="{FF2B5EF4-FFF2-40B4-BE49-F238E27FC236}">
                  <a16:creationId xmlns:a16="http://schemas.microsoft.com/office/drawing/2014/main" id="{0CF53BE6-0A06-07D2-BD03-3CD1962F2C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8926" y="1517609"/>
              <a:ext cx="502793" cy="502793"/>
            </a:xfrm>
            <a:prstGeom prst="rect">
              <a:avLst/>
            </a:prstGeom>
          </p:spPr>
        </p:pic>
      </p:grpSp>
    </p:spTree>
    <p:extLst>
      <p:ext uri="{BB962C8B-B14F-4D97-AF65-F5344CB8AC3E}">
        <p14:creationId xmlns:p14="http://schemas.microsoft.com/office/powerpoint/2010/main" val="756911871"/>
      </p:ext>
    </p:extLst>
  </p:cSld>
  <p:clrMapOvr>
    <a:masterClrMapping/>
  </p:clrMapOvr>
  <mc:AlternateContent xmlns:mc="http://schemas.openxmlformats.org/markup-compatibility/2006">
    <mc:Choice xmlns:p15="http://schemas.microsoft.com/office/powerpoint/2012/main" Requires="p15">
      <p:transition spd="slow" advClick="0" advTm="9000">
        <p15:prstTrans prst="peelOff"/>
      </p:transition>
    </mc:Choice>
    <mc:Fallback>
      <p:transition spd="slow" advClick="0" advTm="9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47011-7108-2A5E-7301-7A3AE78E7757}"/>
              </a:ext>
            </a:extLst>
          </p:cNvPr>
          <p:cNvSpPr>
            <a:spLocks noGrp="1"/>
          </p:cNvSpPr>
          <p:nvPr>
            <p:ph type="ctrTitle"/>
          </p:nvPr>
        </p:nvSpPr>
        <p:spPr>
          <a:xfrm>
            <a:off x="1778270" y="3648805"/>
            <a:ext cx="12763231" cy="2092779"/>
          </a:xfrm>
        </p:spPr>
        <p:txBody>
          <a:bodyPr vert="horz" lIns="0" tIns="0" rIns="0" bIns="0" rtlCol="0" anchor="ctr">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fr-FR" sz="5850" dirty="0">
                <a:effectLst/>
                <a:latin typeface="Calibri"/>
                <a:ea typeface="Times New Roman" panose="02020603050405020304" pitchFamily="18" charset="0"/>
                <a:cs typeface="Calibri"/>
              </a:rPr>
              <a:t> </a:t>
            </a:r>
            <a:r>
              <a:rPr lang="fr-FR" sz="7900">
                <a:latin typeface="Arial Black"/>
                <a:ea typeface="Times New Roman" panose="02020603050405020304" pitchFamily="18" charset="0"/>
              </a:rPr>
              <a:t>III.</a:t>
            </a:r>
            <a:r>
              <a:rPr lang="fr-FR" sz="7900" dirty="0">
                <a:latin typeface="Arial Black"/>
                <a:ea typeface="Times New Roman" panose="02020603050405020304" pitchFamily="18" charset="0"/>
                <a:cs typeface="Calibri"/>
              </a:rPr>
              <a:t> </a:t>
            </a:r>
            <a:r>
              <a:rPr lang="fr-FR" sz="7100" dirty="0">
                <a:effectLst/>
                <a:latin typeface="Arial Black"/>
                <a:ea typeface="Times New Roman" panose="02020603050405020304" pitchFamily="18" charset="0"/>
                <a:cs typeface="Calibri"/>
              </a:rPr>
              <a:t>Calendrier 2025</a:t>
            </a:r>
            <a:br>
              <a:rPr lang="fr-FR" sz="7100" dirty="0">
                <a:latin typeface="Arial Black"/>
                <a:ea typeface="Times New Roman" panose="02020603050405020304" pitchFamily="18" charset="0"/>
              </a:rPr>
            </a:br>
            <a:br>
              <a:rPr lang="fr-FR" sz="5850" dirty="0">
                <a:latin typeface="Calibri" panose="020F0502020204030204" pitchFamily="34" charset="0"/>
                <a:ea typeface="Times New Roman" panose="02020603050405020304" pitchFamily="18" charset="0"/>
              </a:rPr>
            </a:br>
            <a:endParaRPr lang="en-US" dirty="0"/>
          </a:p>
        </p:txBody>
      </p:sp>
    </p:spTree>
    <p:extLst>
      <p:ext uri="{BB962C8B-B14F-4D97-AF65-F5344CB8AC3E}">
        <p14:creationId xmlns:p14="http://schemas.microsoft.com/office/powerpoint/2010/main" val="2318460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1tLKY5TsIsIV6DkosGL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hp6hmRHYIyOAAkS5Qce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47SXBtPwQR5G4kARoSW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vSZG1O7L8Ujy8qBJPVfLQ"/>
</p:tagLst>
</file>

<file path=ppt/theme/theme1.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2.xml><?xml version="1.0" encoding="utf-8"?>
<a:theme xmlns:a="http://schemas.openxmlformats.org/drawingml/2006/main" name="1_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3.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4.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5.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6.xml><?xml version="1.0" encoding="utf-8"?>
<a:theme xmlns:a="http://schemas.openxmlformats.org/drawingml/2006/main" name="Logo quadri">
  <a:themeElements>
    <a:clrScheme name="Custom 3">
      <a:dk1>
        <a:sysClr val="windowText" lastClr="000000"/>
      </a:dk1>
      <a:lt1>
        <a:sysClr val="window" lastClr="FFFFFF"/>
      </a:lt1>
      <a:dk2>
        <a:srgbClr val="FEED02"/>
      </a:dk2>
      <a:lt2>
        <a:srgbClr val="E7E6E6"/>
      </a:lt2>
      <a:accent1>
        <a:srgbClr val="A5A5A5"/>
      </a:accent1>
      <a:accent2>
        <a:srgbClr val="FFC000"/>
      </a:accent2>
      <a:accent3>
        <a:srgbClr val="7F7F7F"/>
      </a:accent3>
      <a:accent4>
        <a:srgbClr val="007382"/>
      </a:accent4>
      <a:accent5>
        <a:srgbClr val="5B9BD5"/>
      </a:accent5>
      <a:accent6>
        <a:srgbClr val="70AD47"/>
      </a:accent6>
      <a:hlink>
        <a:srgbClr val="0563C1"/>
      </a:hlink>
      <a:folHlink>
        <a:srgbClr val="954F72"/>
      </a:folHlink>
    </a:clrScheme>
    <a:fontScheme name="Custom 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BTP_WINLAB_MASQUE_PPT_OFFRE-DE-SERVICE_Template" id="{14E4FEA5-56D8-41B2-BFBE-A70448CD0C14}" vid="{F1174305-F800-4ABA-B499-3413B8934D9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DB19A061DE2648B887E36B1A666BDF" ma:contentTypeVersion="14" ma:contentTypeDescription="Crée un document." ma:contentTypeScope="" ma:versionID="21bcb821167f05932afd9a23c812f084">
  <xsd:schema xmlns:xsd="http://www.w3.org/2001/XMLSchema" xmlns:xs="http://www.w3.org/2001/XMLSchema" xmlns:p="http://schemas.microsoft.com/office/2006/metadata/properties" xmlns:ns2="cf0fea8e-bb4f-4b2f-af2d-5f87dafa973c" xmlns:ns3="3c33c1a1-bc78-4adc-9139-94b3c2897f73" targetNamespace="http://schemas.microsoft.com/office/2006/metadata/properties" ma:root="true" ma:fieldsID="c57a6fb2afe73381ba5f16e57606d4d1" ns2:_="" ns3:_="">
    <xsd:import namespace="cf0fea8e-bb4f-4b2f-af2d-5f87dafa973c"/>
    <xsd:import namespace="3c33c1a1-bc78-4adc-9139-94b3c2897f7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bjectDetectorVersions" minOccurs="0"/>
                <xsd:element ref="ns2:MediaLengthInSeconds" minOccurs="0"/>
                <xsd:element ref="ns2:MediaServiceGenerationTime" minOccurs="0"/>
                <xsd:element ref="ns2:MediaServiceEventHashCode" minOccurs="0"/>
                <xsd:element ref="ns2:MediaServiceSearchProperties" minOccurs="0"/>
                <xsd:element ref="ns2:lcf76f155ced4ddcb4097134ff3c332f"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0fea8e-bb4f-4b2f-af2d-5f87dafa97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lcf76f155ced4ddcb4097134ff3c332f" ma:index="17" nillable="true" ma:taxonomy="true" ma:internalName="lcf76f155ced4ddcb4097134ff3c332f" ma:taxonomyFieldName="MediaServiceImageTags" ma:displayName="Balises d’images" ma:readOnly="false" ma:fieldId="{5cf76f15-5ced-4ddc-b409-7134ff3c332f}" ma:taxonomyMulti="true" ma:sspId="42c8cb3d-9cd8-4abd-b294-ac0c74a83d0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33c1a1-bc78-4adc-9139-94b3c2897f73" elementFormDefault="qualified">
    <xsd:import namespace="http://schemas.microsoft.com/office/2006/documentManagement/types"/>
    <xsd:import namespace="http://schemas.microsoft.com/office/infopath/2007/PartnerControls"/>
    <xsd:element name="SharedWithUsers" ma:index="2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cf0fea8e-bb4f-4b2f-af2d-5f87dafa973c" xsi:nil="true"/>
    <lcf76f155ced4ddcb4097134ff3c332f xmlns="cf0fea8e-bb4f-4b2f-af2d-5f87dafa973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AC70DF-95B2-4256-BF4E-C8C20321C5EA}">
  <ds:schemaRefs>
    <ds:schemaRef ds:uri="3c33c1a1-bc78-4adc-9139-94b3c2897f73"/>
    <ds:schemaRef ds:uri="cf0fea8e-bb4f-4b2f-af2d-5f87dafa97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F7BE441-E130-4B10-ADA9-5A8C2E28F7D4}">
  <ds:schemaRefs>
    <ds:schemaRef ds:uri="http://schemas.microsoft.com/office/infopath/2007/PartnerControls"/>
    <ds:schemaRef ds:uri="http://www.w3.org/XML/1998/namespace"/>
    <ds:schemaRef ds:uri="http://purl.org/dc/elements/1.1/"/>
    <ds:schemaRef ds:uri="http://purl.org/dc/terms/"/>
    <ds:schemaRef ds:uri="http://schemas.microsoft.com/office/2006/documentManagement/types"/>
    <ds:schemaRef ds:uri="http://schemas.microsoft.com/office/2006/metadata/properties"/>
    <ds:schemaRef ds:uri="http://purl.org/dc/dcmitype/"/>
    <ds:schemaRef ds:uri="http://schemas.openxmlformats.org/package/2006/metadata/core-properties"/>
    <ds:schemaRef ds:uri="3c33c1a1-bc78-4adc-9139-94b3c2897f73"/>
    <ds:schemaRef ds:uri="cf0fea8e-bb4f-4b2f-af2d-5f87dafa973c"/>
  </ds:schemaRefs>
</ds:datastoreItem>
</file>

<file path=customXml/itemProps3.xml><?xml version="1.0" encoding="utf-8"?>
<ds:datastoreItem xmlns:ds="http://schemas.openxmlformats.org/officeDocument/2006/customXml" ds:itemID="{6DE60842-F330-4D26-99DC-456D2213D18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901</Words>
  <Application>Microsoft Office PowerPoint</Application>
  <PresentationFormat>Custom</PresentationFormat>
  <Paragraphs>412</Paragraphs>
  <Slides>28</Slides>
  <Notes>21</Notes>
  <HiddenSlides>1</HiddenSlides>
  <MMClips>0</MMClips>
  <ScaleCrop>false</ScaleCrop>
  <HeadingPairs>
    <vt:vector size="4" baseType="variant">
      <vt:variant>
        <vt:lpstr>Theme</vt:lpstr>
      </vt:variant>
      <vt:variant>
        <vt:i4>6</vt:i4>
      </vt:variant>
      <vt:variant>
        <vt:lpstr>Slide Titles</vt:lpstr>
      </vt:variant>
      <vt:variant>
        <vt:i4>28</vt:i4>
      </vt:variant>
    </vt:vector>
  </HeadingPairs>
  <TitlesOfParts>
    <vt:vector size="34" baseType="lpstr">
      <vt:lpstr>Logo quadri</vt:lpstr>
      <vt:lpstr>1_Logo quadri</vt:lpstr>
      <vt:lpstr>Logo quadri</vt:lpstr>
      <vt:lpstr>Logo quadri</vt:lpstr>
      <vt:lpstr>Logo quadri</vt:lpstr>
      <vt:lpstr>Logo quadri</vt:lpstr>
      <vt:lpstr>Appels à projets et Appels à candidatures  2025  –  Webinaire 17 janvier 2025 </vt:lpstr>
      <vt:lpstr>SOMMAIRE</vt:lpstr>
      <vt:lpstr>PowerPoint Presentation</vt:lpstr>
      <vt:lpstr>PowerPoint Presentation</vt:lpstr>
      <vt:lpstr>PowerPoint Presentation</vt:lpstr>
      <vt:lpstr>THEMATIQUES APPEL A PROJETS - APPEL A CANDIDATURES ET ENVELOPPE BUDGETAIRE 2025</vt:lpstr>
      <vt:lpstr>THEMATIQUES APPEL A PROJETS - APPEL A CANDIDATURES ET ENVELOPPE BUDGETAIRE 2025</vt:lpstr>
      <vt:lpstr>THEMATIQUES APPEL A PROJETS - APPEL A CANDIDATURES ET ENVELOPPE BUDGETAIRE 2025</vt:lpstr>
      <vt:lpstr> III. Calendrier 2025  </vt:lpstr>
      <vt:lpstr>Calendrier des échéances</vt:lpstr>
      <vt:lpstr>PowerPoint Presentation</vt:lpstr>
      <vt:lpstr>Appels à projets VS. Appels à candidatures</vt:lpstr>
      <vt:lpstr>Synthèse des éléments fondamentaux des différents dispositifs</vt:lpstr>
      <vt:lpstr>Synthèse des éléments fondamentaux des différents dispositifs</vt:lpstr>
      <vt:lpstr>Dépenses éligibles et inéligibles à financement</vt:lpstr>
      <vt:lpstr>Dépenses éligibles et inéligibles à financement</vt:lpstr>
      <vt:lpstr>Dépenses éligibles et inéligibles à financement</vt:lpstr>
      <vt:lpstr>Dépenses éligibles et inéligibles à financement</vt:lpstr>
      <vt:lpstr>PowerPoint Presentation</vt:lpstr>
      <vt:lpstr>Attendus du CCCA-BTP dans les dossiers </vt:lpstr>
      <vt:lpstr>Processus de sélection des projets</vt:lpstr>
      <vt:lpstr>Les évolutions du processus de sélection</vt:lpstr>
      <vt:lpstr>Les évolutions du processus de suivi de projet et candidature</vt:lpstr>
      <vt:lpstr>La structuration de la plateforme</vt:lpstr>
      <vt:lpstr>PowerPoint Presentation</vt:lpstr>
      <vt:lpstr>Principales actualités de la Direction des Appels à Projets et Expérimentat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 APPELS À PROJETS AU CCCA-BTP</dc:title>
  <dc:creator>ARNOULD Astou</dc:creator>
  <cp:lastModifiedBy>LEGUERNEY Alexis</cp:lastModifiedBy>
  <cp:revision>33</cp:revision>
  <cp:lastPrinted>2024-01-24T07:42:01Z</cp:lastPrinted>
  <dcterms:created xsi:type="dcterms:W3CDTF">2021-02-22T07:56:57Z</dcterms:created>
  <dcterms:modified xsi:type="dcterms:W3CDTF">2025-03-19T10:0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DB19A061DE2648B887E36B1A666BDF</vt:lpwstr>
  </property>
  <property fmtid="{D5CDD505-2E9C-101B-9397-08002B2CF9AE}" pid="3" name="Order">
    <vt:r8>495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